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modernComment_7FFFF994_F6614EE.xml" ContentType="application/vnd.ms-powerpoint.comment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omments/modernComment_7FFFF97F_FA255C4A.xml" ContentType="application/vnd.ms-powerpoint.comments+xml"/>
  <Override PartName="/ppt/notesSlides/notesSlide2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comments/modernComment_7FFFF9A1_198E508E.xml" ContentType="application/vnd.ms-powerpoint.comments+xml"/>
  <Override PartName="/ppt/notesSlides/notesSlide2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2" r:id="rId4"/>
    <p:sldMasterId id="2147483758" r:id="rId5"/>
  </p:sldMasterIdLst>
  <p:notesMasterIdLst>
    <p:notesMasterId r:id="rId43"/>
  </p:notesMasterIdLst>
  <p:sldIdLst>
    <p:sldId id="2147469281" r:id="rId6"/>
    <p:sldId id="2076137815" r:id="rId7"/>
    <p:sldId id="2147469287" r:id="rId8"/>
    <p:sldId id="2147469202" r:id="rId9"/>
    <p:sldId id="2147482005" r:id="rId10"/>
    <p:sldId id="2147482024" r:id="rId11"/>
    <p:sldId id="2147469057" r:id="rId12"/>
    <p:sldId id="2147483042" r:id="rId13"/>
    <p:sldId id="2147483043" r:id="rId14"/>
    <p:sldId id="2147482004" r:id="rId15"/>
    <p:sldId id="2147482019" r:id="rId16"/>
    <p:sldId id="265" r:id="rId17"/>
    <p:sldId id="2147482082" r:id="rId18"/>
    <p:sldId id="2147482027" r:id="rId19"/>
    <p:sldId id="2147483138" r:id="rId20"/>
    <p:sldId id="2147480052" r:id="rId21"/>
    <p:sldId id="2147483041" r:id="rId22"/>
    <p:sldId id="2147137599" r:id="rId23"/>
    <p:sldId id="2147482022" r:id="rId24"/>
    <p:sldId id="2147482014" r:id="rId25"/>
    <p:sldId id="2147482007" r:id="rId26"/>
    <p:sldId id="2147482021" r:id="rId27"/>
    <p:sldId id="2147469215" r:id="rId28"/>
    <p:sldId id="2147469265" r:id="rId29"/>
    <p:sldId id="2147481996" r:id="rId30"/>
    <p:sldId id="10474" r:id="rId31"/>
    <p:sldId id="2147482018" r:id="rId32"/>
    <p:sldId id="2147481999" r:id="rId33"/>
    <p:sldId id="2147482015" r:id="rId34"/>
    <p:sldId id="2147481979" r:id="rId35"/>
    <p:sldId id="2147481981" r:id="rId36"/>
    <p:sldId id="2147481983" r:id="rId37"/>
    <p:sldId id="2147469247" r:id="rId38"/>
    <p:sldId id="2147482023" r:id="rId39"/>
    <p:sldId id="2147482016" r:id="rId40"/>
    <p:sldId id="2147482017" r:id="rId41"/>
    <p:sldId id="2147469286" r:id="rId42"/>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0DC1D62-F95E-4283-87EE-F528831C2D2C}">
          <p14:sldIdLst>
            <p14:sldId id="2147469281"/>
            <p14:sldId id="2076137815"/>
            <p14:sldId id="2147469287"/>
          </p14:sldIdLst>
        </p14:section>
        <p14:section name="Introduction" id="{A7295B25-A503-4E5A-BB7B-0201B15EC4BB}">
          <p14:sldIdLst>
            <p14:sldId id="2147469202"/>
            <p14:sldId id="2147482005"/>
            <p14:sldId id="2147482024"/>
          </p14:sldIdLst>
        </p14:section>
        <p14:section name="People" id="{A43149D1-2EAF-46E4-A927-77965A149D78}">
          <p14:sldIdLst>
            <p14:sldId id="2147469057"/>
            <p14:sldId id="2147483042"/>
            <p14:sldId id="2147483043"/>
            <p14:sldId id="2147482004"/>
            <p14:sldId id="2147482019"/>
            <p14:sldId id="265"/>
            <p14:sldId id="2147482082"/>
            <p14:sldId id="2147482027"/>
            <p14:sldId id="2147483138"/>
            <p14:sldId id="2147480052"/>
            <p14:sldId id="2147483041"/>
            <p14:sldId id="2147137599"/>
          </p14:sldIdLst>
        </p14:section>
        <p14:section name="Outils" id="{79F800E6-F125-4042-B8AA-1238C9C49752}">
          <p14:sldIdLst>
            <p14:sldId id="2147482022"/>
            <p14:sldId id="2147482014"/>
            <p14:sldId id="2147482007"/>
          </p14:sldIdLst>
        </p14:section>
        <p14:section name="Scenarios &amp; Processes" id="{FDDF7F01-D792-4701-BE6B-D48731A55946}">
          <p14:sldIdLst>
            <p14:sldId id="2147482021"/>
            <p14:sldId id="2147469215"/>
            <p14:sldId id="2147469265"/>
            <p14:sldId id="2147481996"/>
            <p14:sldId id="10474"/>
            <p14:sldId id="2147482018"/>
            <p14:sldId id="2147481999"/>
            <p14:sldId id="2147482015"/>
            <p14:sldId id="2147481979"/>
            <p14:sldId id="2147481981"/>
            <p14:sldId id="2147481983"/>
            <p14:sldId id="2147469247"/>
          </p14:sldIdLst>
        </p14:section>
        <p14:section name="Annexes" id="{AAE10E73-5E63-47B7-BFCB-00445F2335FC}">
          <p14:sldIdLst>
            <p14:sldId id="2147482023"/>
            <p14:sldId id="2147482016"/>
            <p14:sldId id="2147482017"/>
            <p14:sldId id="2147469286"/>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9FAA70B-65FD-3D72-E8B4-2C7FA47F2F3F}" name="Stéphanie Chatagner" initials="SC" userId="S::stephanie.chatagner@avanade.com::43a90851-419b-46ca-ab03-9ac21f8b019f" providerId="AD"/>
  <p188:author id="{19B4276E-A2C6-C52D-41DA-4F4554A5A10D}" name="CHATAGNER Stephanie (Externe)" initials="CS(" userId="S::stephanie.chatagner-ext@vc-partner.net::6bce638a-ff22-4fdc-bdcc-a3ede131b393" providerId="AD"/>
  <p188:author id="{1ED63474-F6C4-033E-C8FC-AD97D1F939E0}" name="BRET Pierre" initials="BP" userId="S::pierre.bret@vinci-construction.com::3c262e90-eaeb-4858-8462-9ff6f0ba68c6" providerId="AD"/>
  <p188:author id="{DAB2EC99-919C-5ADE-9FFA-3B6008FB0757}" name="Camille VANEENOGE" initials="CV" userId="Camille VANEENOGE" providerId="None"/>
  <p188:author id="{CE1DF8BF-5B4D-6A9C-FF4E-4245DFC63A0E}" name="VANEENOGE Camille" initials="VC" userId="VANEENOGE Camille" providerId="None"/>
  <p188:author id="{BCBD2DC4-7336-ABE4-044B-53877AF61DFE}" name="VERMONT Olivier" initials="VO" userId="S::olivier.vermont@vinci-construction.com::634f67f3-c7f5-4fef-a3da-f29c37e9e44b" providerId="AD"/>
  <p188:author id="{3610CEC5-6587-8A9B-6E09-F1B65E003579}" name="PERSOZ Christophe" initials="PC" userId="S::christophe.persoz@vinci-construction.com::3d528581-6bb6-4b37-8a8c-d9671d7b7875" providerId="AD"/>
  <p188:author id="{EAB7B0C9-CB4F-DE3A-A282-92CFE7513109}" name="Thomas MARENCIC" initials="TM" userId="S::thomas.marencic@avanade.com::311041e6-165e-4441-8a6f-ecd1fba92656" providerId="AD"/>
  <p188:author id="{F27054D2-5526-DE38-2589-91083FD1A3B9}" name="COIGNET Alexis" initials="CA" userId="S::alexis.coignet@vinci-construction.com::76ea5e1a-bc88-4802-bf9d-ac1355beb253" providerId="AD"/>
  <p188:author id="{081847EF-17AB-4F4C-895E-4ECF3FDBCD94}" name="VANEENOGE Camille" initials="CV" userId="S::camille.vaneenoge@vinci-construction.com::6e7f4196-225c-4d88-a65f-4b95462c5fbf" providerId="AD"/>
  <p188:author id="{719228F0-C416-5C08-BF22-19E509F80659}" name="Stéphanie Chatagner" initials="SC" userId="S::stephanie.chatagner_avanade.com#ext#@vincic.onmicrosoft.com::413dce0f-1b71-4edd-8872-aae39c2f786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D7D6"/>
    <a:srgbClr val="A6D5F0"/>
    <a:srgbClr val="FF8DA0"/>
    <a:srgbClr val="7FD2D0"/>
    <a:srgbClr val="FFBFCA"/>
    <a:srgbClr val="F1C93B"/>
    <a:srgbClr val="86D5A6"/>
    <a:srgbClr val="00D0CB"/>
    <a:srgbClr val="FF5570"/>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DC0B673-1D00-40F6-8206-3D924DB4A114}" v="5" dt="2025-01-31T18:33:15.15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Style moyen 1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FD0F851-EC5A-4D38-B0AD-8093EC10F338}" styleName="Style léger 1 - Accentuation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Style clair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9DCAF9ED-07DC-4A11-8D7F-57B35C25682E}" styleName="Style moyen 1 - Accentuation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4" d="100"/>
          <a:sy n="64" d="100"/>
        </p:scale>
        <p:origin x="724" y="2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tableStyles" Target="tableStyles.xml"/><Relationship Id="rId50" Type="http://schemas.microsoft.com/office/2018/10/relationships/authors" Targe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microsoft.com/office/2016/11/relationships/changesInfo" Target="changesInfos/changesInfo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ET Pierre" userId="3c262e90-eaeb-4858-8462-9ff6f0ba68c6" providerId="ADAL" clId="{1D590FF6-E992-466A-864B-7E618D5BB98D}"/>
    <pc:docChg chg="addSld delSld modSld modSection">
      <pc:chgData name="BRET Pierre" userId="3c262e90-eaeb-4858-8462-9ff6f0ba68c6" providerId="ADAL" clId="{1D590FF6-E992-466A-864B-7E618D5BB98D}" dt="2024-09-03T13:48:42.511" v="19"/>
      <pc:docMkLst>
        <pc:docMk/>
      </pc:docMkLst>
      <pc:sldChg chg="addSp modSp">
        <pc:chgData name="BRET Pierre" userId="3c262e90-eaeb-4858-8462-9ff6f0ba68c6" providerId="ADAL" clId="{1D590FF6-E992-466A-864B-7E618D5BB98D}" dt="2024-09-03T13:47:56.618" v="3"/>
        <pc:sldMkLst>
          <pc:docMk/>
          <pc:sldMk cId="1867449557" sldId="2147469131"/>
        </pc:sldMkLst>
      </pc:sldChg>
      <pc:sldChg chg="del">
        <pc:chgData name="BRET Pierre" userId="3c262e90-eaeb-4858-8462-9ff6f0ba68c6" providerId="ADAL" clId="{1D590FF6-E992-466A-864B-7E618D5BB98D}" dt="2024-09-03T10:01:20.580" v="2" actId="47"/>
        <pc:sldMkLst>
          <pc:docMk/>
          <pc:sldMk cId="2528676621" sldId="2147469252"/>
        </pc:sldMkLst>
      </pc:sldChg>
      <pc:sldChg chg="add delCm">
        <pc:chgData name="BRET Pierre" userId="3c262e90-eaeb-4858-8462-9ff6f0ba68c6" providerId="ADAL" clId="{1D590FF6-E992-466A-864B-7E618D5BB98D}" dt="2024-09-03T13:48:22.808" v="11"/>
        <pc:sldMkLst>
          <pc:docMk/>
          <pc:sldMk cId="3340189546" sldId="2147482003"/>
        </pc:sldMkLst>
        <pc:extLst>
          <p:ext xmlns:p="http://schemas.openxmlformats.org/presentationml/2006/main" uri="{D6D511B9-2390-475A-947B-AFAB55BFBCF1}">
            <pc226:cmChg xmlns:pc226="http://schemas.microsoft.com/office/powerpoint/2022/06/main/command" chg="del">
              <pc226:chgData name="BRET Pierre" userId="3c262e90-eaeb-4858-8462-9ff6f0ba68c6" providerId="ADAL" clId="{1D590FF6-E992-466A-864B-7E618D5BB98D}" dt="2024-09-03T13:48:18.753" v="8"/>
              <pc2:cmMkLst xmlns:pc2="http://schemas.microsoft.com/office/powerpoint/2019/9/main/command">
                <pc:docMk/>
                <pc:sldMk cId="3340189546" sldId="2147482003"/>
                <pc2:cmMk id="{41C1E103-4871-4381-8A2B-49C402C1574D}"/>
              </pc2:cmMkLst>
            </pc226:cmChg>
            <pc226:cmChg xmlns:pc226="http://schemas.microsoft.com/office/powerpoint/2022/06/main/command" chg="del">
              <pc226:chgData name="BRET Pierre" userId="3c262e90-eaeb-4858-8462-9ff6f0ba68c6" providerId="ADAL" clId="{1D590FF6-E992-466A-864B-7E618D5BB98D}" dt="2024-09-03T13:48:19.275" v="9"/>
              <pc2:cmMkLst xmlns:pc2="http://schemas.microsoft.com/office/powerpoint/2019/9/main/command">
                <pc:docMk/>
                <pc:sldMk cId="3340189546" sldId="2147482003"/>
                <pc2:cmMk id="{162D4C50-C815-4824-98B0-B8C2482E70D4}"/>
              </pc2:cmMkLst>
            </pc226:cmChg>
            <pc226:cmChg xmlns:pc226="http://schemas.microsoft.com/office/powerpoint/2022/06/main/command" chg="del">
              <pc226:chgData name="BRET Pierre" userId="3c262e90-eaeb-4858-8462-9ff6f0ba68c6" providerId="ADAL" clId="{1D590FF6-E992-466A-864B-7E618D5BB98D}" dt="2024-09-03T13:48:19.893" v="10"/>
              <pc2:cmMkLst xmlns:pc2="http://schemas.microsoft.com/office/powerpoint/2019/9/main/command">
                <pc:docMk/>
                <pc:sldMk cId="3340189546" sldId="2147482003"/>
                <pc2:cmMk id="{49923E57-27E8-4FDD-AAA3-F8CF054F3B3F}"/>
              </pc2:cmMkLst>
            </pc226:cmChg>
            <pc226:cmChg xmlns:pc226="http://schemas.microsoft.com/office/powerpoint/2022/06/main/command" chg="del">
              <pc226:chgData name="BRET Pierre" userId="3c262e90-eaeb-4858-8462-9ff6f0ba68c6" providerId="ADAL" clId="{1D590FF6-E992-466A-864B-7E618D5BB98D}" dt="2024-09-03T13:48:22.808" v="11"/>
              <pc2:cmMkLst xmlns:pc2="http://schemas.microsoft.com/office/powerpoint/2019/9/main/command">
                <pc:docMk/>
                <pc:sldMk cId="3340189546" sldId="2147482003"/>
                <pc2:cmMk id="{E6783559-ABBD-4B9E-93CD-22EC5954B8ED}"/>
              </pc2:cmMkLst>
            </pc226:cmChg>
          </p:ext>
        </pc:extLst>
      </pc:sldChg>
      <pc:sldChg chg="add">
        <pc:chgData name="BRET Pierre" userId="3c262e90-eaeb-4858-8462-9ff6f0ba68c6" providerId="ADAL" clId="{1D590FF6-E992-466A-864B-7E618D5BB98D}" dt="2024-09-03T09:58:21.179" v="0"/>
        <pc:sldMkLst>
          <pc:docMk/>
          <pc:sldMk cId="258348270" sldId="2147482004"/>
        </pc:sldMkLst>
      </pc:sldChg>
      <pc:sldChg chg="delCm modCm">
        <pc:chgData name="BRET Pierre" userId="3c262e90-eaeb-4858-8462-9ff6f0ba68c6" providerId="ADAL" clId="{1D590FF6-E992-466A-864B-7E618D5BB98D}" dt="2024-09-03T13:48:16.232" v="7"/>
        <pc:sldMkLst>
          <pc:docMk/>
          <pc:sldMk cId="980070838" sldId="2147482006"/>
        </pc:sldMkLst>
        <pc:extLst>
          <p:ext xmlns:p="http://schemas.openxmlformats.org/presentationml/2006/main" uri="{D6D511B9-2390-475A-947B-AFAB55BFBCF1}">
            <pc226:cmChg xmlns:pc226="http://schemas.microsoft.com/office/powerpoint/2022/06/main/command" chg="del mod">
              <pc226:chgData name="BRET Pierre" userId="3c262e90-eaeb-4858-8462-9ff6f0ba68c6" providerId="ADAL" clId="{1D590FF6-E992-466A-864B-7E618D5BB98D}" dt="2024-09-03T13:48:15.377" v="6"/>
              <pc2:cmMkLst xmlns:pc2="http://schemas.microsoft.com/office/powerpoint/2019/9/main/command">
                <pc:docMk/>
                <pc:sldMk cId="980070838" sldId="2147482006"/>
                <pc2:cmMk id="{1AC9031B-99A7-4A58-82F2-7AE4EE16346B}"/>
              </pc2:cmMkLst>
            </pc226:cmChg>
            <pc226:cmChg xmlns:pc226="http://schemas.microsoft.com/office/powerpoint/2022/06/main/command" chg="del">
              <pc226:chgData name="BRET Pierre" userId="3c262e90-eaeb-4858-8462-9ff6f0ba68c6" providerId="ADAL" clId="{1D590FF6-E992-466A-864B-7E618D5BB98D}" dt="2024-09-03T13:48:16.232" v="7"/>
              <pc2:cmMkLst xmlns:pc2="http://schemas.microsoft.com/office/powerpoint/2019/9/main/command">
                <pc:docMk/>
                <pc:sldMk cId="980070838" sldId="2147482006"/>
                <pc2:cmMk id="{412DBCFE-33D6-4900-988E-25295F888D4B}"/>
              </pc2:cmMkLst>
            </pc226:cmChg>
          </p:ext>
        </pc:extLst>
      </pc:sldChg>
      <pc:sldChg chg="delCm">
        <pc:chgData name="BRET Pierre" userId="3c262e90-eaeb-4858-8462-9ff6f0ba68c6" providerId="ADAL" clId="{1D590FF6-E992-466A-864B-7E618D5BB98D}" dt="2024-09-03T13:48:29.793" v="13"/>
        <pc:sldMkLst>
          <pc:docMk/>
          <pc:sldMk cId="1039753401" sldId="2147482007"/>
        </pc:sldMkLst>
        <pc:extLst>
          <p:ext xmlns:p="http://schemas.openxmlformats.org/presentationml/2006/main" uri="{D6D511B9-2390-475A-947B-AFAB55BFBCF1}">
            <pc226:cmChg xmlns:pc226="http://schemas.microsoft.com/office/powerpoint/2022/06/main/command" chg="del">
              <pc226:chgData name="BRET Pierre" userId="3c262e90-eaeb-4858-8462-9ff6f0ba68c6" providerId="ADAL" clId="{1D590FF6-E992-466A-864B-7E618D5BB98D}" dt="2024-09-03T13:48:29.793" v="13"/>
              <pc2:cmMkLst xmlns:pc2="http://schemas.microsoft.com/office/powerpoint/2019/9/main/command">
                <pc:docMk/>
                <pc:sldMk cId="1039753401" sldId="2147482007"/>
                <pc2:cmMk id="{98F09B07-A9A6-48A0-97E3-F1D6FD71D523}"/>
              </pc2:cmMkLst>
            </pc226:cmChg>
            <pc226:cmChg xmlns:pc226="http://schemas.microsoft.com/office/powerpoint/2022/06/main/command" chg="del">
              <pc226:chgData name="BRET Pierre" userId="3c262e90-eaeb-4858-8462-9ff6f0ba68c6" providerId="ADAL" clId="{1D590FF6-E992-466A-864B-7E618D5BB98D}" dt="2024-09-03T13:48:28.926" v="12"/>
              <pc2:cmMkLst xmlns:pc2="http://schemas.microsoft.com/office/powerpoint/2019/9/main/command">
                <pc:docMk/>
                <pc:sldMk cId="1039753401" sldId="2147482007"/>
                <pc2:cmMk id="{5C432493-8803-48A0-AB9A-938653B86437}"/>
              </pc2:cmMkLst>
            </pc226:cmChg>
          </p:ext>
        </pc:extLst>
      </pc:sldChg>
      <pc:sldChg chg="delCm modCm">
        <pc:chgData name="BRET Pierre" userId="3c262e90-eaeb-4858-8462-9ff6f0ba68c6" providerId="ADAL" clId="{1D590FF6-E992-466A-864B-7E618D5BB98D}" dt="2024-09-03T13:48:42.511" v="19"/>
        <pc:sldMkLst>
          <pc:docMk/>
          <pc:sldMk cId="3302271320" sldId="2147482018"/>
        </pc:sldMkLst>
        <pc:extLst>
          <p:ext xmlns:p="http://schemas.openxmlformats.org/presentationml/2006/main" uri="{D6D511B9-2390-475A-947B-AFAB55BFBCF1}">
            <pc226:cmChg xmlns:pc226="http://schemas.microsoft.com/office/powerpoint/2022/06/main/command" chg="del">
              <pc226:chgData name="BRET Pierre" userId="3c262e90-eaeb-4858-8462-9ff6f0ba68c6" providerId="ADAL" clId="{1D590FF6-E992-466A-864B-7E618D5BB98D}" dt="2024-09-03T13:48:37.168" v="14"/>
              <pc2:cmMkLst xmlns:pc2="http://schemas.microsoft.com/office/powerpoint/2019/9/main/command">
                <pc:docMk/>
                <pc:sldMk cId="3302271320" sldId="2147482018"/>
                <pc2:cmMk id="{ACCC0F04-239D-44E0-A056-D0EAAEF9C022}"/>
              </pc2:cmMkLst>
            </pc226:cmChg>
            <pc226:cmChg xmlns:pc226="http://schemas.microsoft.com/office/powerpoint/2022/06/main/command" chg="del">
              <pc226:chgData name="BRET Pierre" userId="3c262e90-eaeb-4858-8462-9ff6f0ba68c6" providerId="ADAL" clId="{1D590FF6-E992-466A-864B-7E618D5BB98D}" dt="2024-09-03T13:48:40.508" v="18"/>
              <pc2:cmMkLst xmlns:pc2="http://schemas.microsoft.com/office/powerpoint/2019/9/main/command">
                <pc:docMk/>
                <pc:sldMk cId="3302271320" sldId="2147482018"/>
                <pc2:cmMk id="{4AB25421-900D-40CE-A260-A85A31431B92}"/>
              </pc2:cmMkLst>
            </pc226:cmChg>
            <pc226:cmChg xmlns:pc226="http://schemas.microsoft.com/office/powerpoint/2022/06/main/command" chg="del">
              <pc226:chgData name="BRET Pierre" userId="3c262e90-eaeb-4858-8462-9ff6f0ba68c6" providerId="ADAL" clId="{1D590FF6-E992-466A-864B-7E618D5BB98D}" dt="2024-09-03T13:48:42.511" v="19"/>
              <pc2:cmMkLst xmlns:pc2="http://schemas.microsoft.com/office/powerpoint/2019/9/main/command">
                <pc:docMk/>
                <pc:sldMk cId="3302271320" sldId="2147482018"/>
                <pc2:cmMk id="{96BFDDA4-F70E-4B3D-9CC8-18504ADF6DBF}"/>
              </pc2:cmMkLst>
            </pc226:cmChg>
            <pc226:cmChg xmlns:pc226="http://schemas.microsoft.com/office/powerpoint/2022/06/main/command" chg="del mod">
              <pc226:chgData name="BRET Pierre" userId="3c262e90-eaeb-4858-8462-9ff6f0ba68c6" providerId="ADAL" clId="{1D590FF6-E992-466A-864B-7E618D5BB98D}" dt="2024-09-03T13:48:39.689" v="17"/>
              <pc2:cmMkLst xmlns:pc2="http://schemas.microsoft.com/office/powerpoint/2019/9/main/command">
                <pc:docMk/>
                <pc:sldMk cId="3302271320" sldId="2147482018"/>
                <pc2:cmMk id="{FDE373A7-6357-45BD-B215-EC7DFF24BEB8}"/>
              </pc2:cmMkLst>
            </pc226:cmChg>
            <pc226:cmChg xmlns:pc226="http://schemas.microsoft.com/office/powerpoint/2022/06/main/command" chg="del">
              <pc226:chgData name="BRET Pierre" userId="3c262e90-eaeb-4858-8462-9ff6f0ba68c6" providerId="ADAL" clId="{1D590FF6-E992-466A-864B-7E618D5BB98D}" dt="2024-09-03T13:48:37.669" v="15"/>
              <pc2:cmMkLst xmlns:pc2="http://schemas.microsoft.com/office/powerpoint/2019/9/main/command">
                <pc:docMk/>
                <pc:sldMk cId="3302271320" sldId="2147482018"/>
                <pc2:cmMk id="{F54A63AA-A1F8-4E2B-9134-22CA1E3912DE}"/>
              </pc2:cmMkLst>
            </pc226:cmChg>
          </p:ext>
        </pc:extLst>
      </pc:sldChg>
      <pc:sldChg chg="add">
        <pc:chgData name="BRET Pierre" userId="3c262e90-eaeb-4858-8462-9ff6f0ba68c6" providerId="ADAL" clId="{1D590FF6-E992-466A-864B-7E618D5BB98D}" dt="2024-09-03T09:58:21.179" v="0"/>
        <pc:sldMkLst>
          <pc:docMk/>
          <pc:sldMk cId="3509200503" sldId="2147482019"/>
        </pc:sldMkLst>
      </pc:sldChg>
      <pc:sldChg chg="addSp modSp add">
        <pc:chgData name="BRET Pierre" userId="3c262e90-eaeb-4858-8462-9ff6f0ba68c6" providerId="ADAL" clId="{1D590FF6-E992-466A-864B-7E618D5BB98D}" dt="2024-09-03T13:47:58.514" v="4"/>
        <pc:sldMkLst>
          <pc:docMk/>
          <pc:sldMk cId="187400645" sldId="2147482024"/>
        </pc:sldMkLst>
      </pc:sldChg>
      <pc:sldMasterChg chg="delSldLayout">
        <pc:chgData name="BRET Pierre" userId="3c262e90-eaeb-4858-8462-9ff6f0ba68c6" providerId="ADAL" clId="{1D590FF6-E992-466A-864B-7E618D5BB98D}" dt="2024-09-03T10:01:20.580" v="2" actId="47"/>
        <pc:sldMasterMkLst>
          <pc:docMk/>
          <pc:sldMasterMk cId="2839617956" sldId="2147483787"/>
        </pc:sldMasterMkLst>
        <pc:sldLayoutChg chg="del">
          <pc:chgData name="BRET Pierre" userId="3c262e90-eaeb-4858-8462-9ff6f0ba68c6" providerId="ADAL" clId="{1D590FF6-E992-466A-864B-7E618D5BB98D}" dt="2024-09-03T10:01:20.580" v="2" actId="47"/>
          <pc:sldLayoutMkLst>
            <pc:docMk/>
            <pc:sldMasterMk cId="2839617956" sldId="2147483787"/>
            <pc:sldLayoutMk cId="1844603722" sldId="2147483778"/>
          </pc:sldLayoutMkLst>
        </pc:sldLayoutChg>
      </pc:sldMasterChg>
    </pc:docChg>
  </pc:docChgLst>
  <pc:docChgLst>
    <pc:chgData name="BRET Pierre" userId="3c262e90-eaeb-4858-8462-9ff6f0ba68c6" providerId="ADAL" clId="{F8014BEC-48F3-4228-92CC-5AD44DEF751E}"/>
    <pc:docChg chg="undo custSel addSld delSld modSld sldOrd modMainMaster addSection modSection">
      <pc:chgData name="BRET Pierre" userId="3c262e90-eaeb-4858-8462-9ff6f0ba68c6" providerId="ADAL" clId="{F8014BEC-48F3-4228-92CC-5AD44DEF751E}" dt="2023-12-06T18:15:46.890" v="344" actId="47"/>
      <pc:docMkLst>
        <pc:docMk/>
      </pc:docMkLst>
      <pc:sldChg chg="addSp delSp modSp mod modClrScheme chgLayout">
        <pc:chgData name="BRET Pierre" userId="3c262e90-eaeb-4858-8462-9ff6f0ba68c6" providerId="ADAL" clId="{F8014BEC-48F3-4228-92CC-5AD44DEF751E}" dt="2023-12-06T15:15:23.403" v="139" actId="20577"/>
        <pc:sldMkLst>
          <pc:docMk/>
          <pc:sldMk cId="2631057792" sldId="2076137815"/>
        </pc:sldMkLst>
      </pc:sldChg>
      <pc:sldChg chg="addSp delSp modSp mod modClrScheme modShow chgLayout">
        <pc:chgData name="BRET Pierre" userId="3c262e90-eaeb-4858-8462-9ff6f0ba68c6" providerId="ADAL" clId="{F8014BEC-48F3-4228-92CC-5AD44DEF751E}" dt="2023-12-06T09:14:27.918" v="18" actId="729"/>
        <pc:sldMkLst>
          <pc:docMk/>
          <pc:sldMk cId="1716985175" sldId="2147326867"/>
        </pc:sldMkLst>
      </pc:sldChg>
      <pc:sldChg chg="add del">
        <pc:chgData name="BRET Pierre" userId="3c262e90-eaeb-4858-8462-9ff6f0ba68c6" providerId="ADAL" clId="{F8014BEC-48F3-4228-92CC-5AD44DEF751E}" dt="2023-12-06T18:15:37.455" v="341" actId="47"/>
        <pc:sldMkLst>
          <pc:docMk/>
          <pc:sldMk cId="461991279" sldId="2147326869"/>
        </pc:sldMkLst>
      </pc:sldChg>
      <pc:sldChg chg="add ord">
        <pc:chgData name="BRET Pierre" userId="3c262e90-eaeb-4858-8462-9ff6f0ba68c6" providerId="ADAL" clId="{F8014BEC-48F3-4228-92CC-5AD44DEF751E}" dt="2023-12-06T18:15:42.506" v="343"/>
        <pc:sldMkLst>
          <pc:docMk/>
          <pc:sldMk cId="772362737" sldId="2147326870"/>
        </pc:sldMkLst>
      </pc:sldChg>
      <pc:sldChg chg="modSp del">
        <pc:chgData name="BRET Pierre" userId="3c262e90-eaeb-4858-8462-9ff6f0ba68c6" providerId="ADAL" clId="{F8014BEC-48F3-4228-92CC-5AD44DEF751E}" dt="2023-12-06T09:17:33.144" v="56" actId="47"/>
        <pc:sldMkLst>
          <pc:docMk/>
          <pc:sldMk cId="604372831" sldId="2147469057"/>
        </pc:sldMkLst>
      </pc:sldChg>
      <pc:sldChg chg="modSp mod modClrScheme chgLayout">
        <pc:chgData name="BRET Pierre" userId="3c262e90-eaeb-4858-8462-9ff6f0ba68c6" providerId="ADAL" clId="{F8014BEC-48F3-4228-92CC-5AD44DEF751E}" dt="2023-12-06T09:16:36.936" v="35" actId="1076"/>
        <pc:sldMkLst>
          <pc:docMk/>
          <pc:sldMk cId="3192763856" sldId="2147469087"/>
        </pc:sldMkLst>
      </pc:sldChg>
      <pc:sldChg chg="modSp mod modShow">
        <pc:chgData name="BRET Pierre" userId="3c262e90-eaeb-4858-8462-9ff6f0ba68c6" providerId="ADAL" clId="{F8014BEC-48F3-4228-92CC-5AD44DEF751E}" dt="2023-12-06T15:23:52.166" v="332" actId="729"/>
        <pc:sldMkLst>
          <pc:docMk/>
          <pc:sldMk cId="2972058130" sldId="2147469095"/>
        </pc:sldMkLst>
      </pc:sldChg>
      <pc:sldChg chg="modSp mod modShow">
        <pc:chgData name="BRET Pierre" userId="3c262e90-eaeb-4858-8462-9ff6f0ba68c6" providerId="ADAL" clId="{F8014BEC-48F3-4228-92CC-5AD44DEF751E}" dt="2023-12-06T15:23:54.233" v="333" actId="729"/>
        <pc:sldMkLst>
          <pc:docMk/>
          <pc:sldMk cId="3241130360" sldId="2147469112"/>
        </pc:sldMkLst>
      </pc:sldChg>
      <pc:sldChg chg="modSp mod modShow">
        <pc:chgData name="BRET Pierre" userId="3c262e90-eaeb-4858-8462-9ff6f0ba68c6" providerId="ADAL" clId="{F8014BEC-48F3-4228-92CC-5AD44DEF751E}" dt="2023-12-06T15:17:53.310" v="149" actId="729"/>
        <pc:sldMkLst>
          <pc:docMk/>
          <pc:sldMk cId="3119294515" sldId="2147469115"/>
        </pc:sldMkLst>
      </pc:sldChg>
      <pc:sldChg chg="modSp mod modShow">
        <pc:chgData name="BRET Pierre" userId="3c262e90-eaeb-4858-8462-9ff6f0ba68c6" providerId="ADAL" clId="{F8014BEC-48F3-4228-92CC-5AD44DEF751E}" dt="2023-12-06T15:23:58.690" v="334" actId="729"/>
        <pc:sldMkLst>
          <pc:docMk/>
          <pc:sldMk cId="1312330934" sldId="2147469122"/>
        </pc:sldMkLst>
      </pc:sldChg>
      <pc:sldChg chg="modSp mod modShow">
        <pc:chgData name="BRET Pierre" userId="3c262e90-eaeb-4858-8462-9ff6f0ba68c6" providerId="ADAL" clId="{F8014BEC-48F3-4228-92CC-5AD44DEF751E}" dt="2023-12-06T15:16:01.620" v="141" actId="729"/>
        <pc:sldMkLst>
          <pc:docMk/>
          <pc:sldMk cId="1867449557" sldId="2147469131"/>
        </pc:sldMkLst>
      </pc:sldChg>
      <pc:sldChg chg="mod modShow">
        <pc:chgData name="BRET Pierre" userId="3c262e90-eaeb-4858-8462-9ff6f0ba68c6" providerId="ADAL" clId="{F8014BEC-48F3-4228-92CC-5AD44DEF751E}" dt="2023-12-06T15:16:54.070" v="144" actId="729"/>
        <pc:sldMkLst>
          <pc:docMk/>
          <pc:sldMk cId="2433366989" sldId="2147469201"/>
        </pc:sldMkLst>
      </pc:sldChg>
      <pc:sldChg chg="modSp del">
        <pc:chgData name="BRET Pierre" userId="3c262e90-eaeb-4858-8462-9ff6f0ba68c6" providerId="ADAL" clId="{F8014BEC-48F3-4228-92CC-5AD44DEF751E}" dt="2023-12-06T09:17:15.226" v="53" actId="47"/>
        <pc:sldMkLst>
          <pc:docMk/>
          <pc:sldMk cId="875313532" sldId="2147469202"/>
        </pc:sldMkLst>
      </pc:sldChg>
      <pc:sldChg chg="modSp mod modShow">
        <pc:chgData name="BRET Pierre" userId="3c262e90-eaeb-4858-8462-9ff6f0ba68c6" providerId="ADAL" clId="{F8014BEC-48F3-4228-92CC-5AD44DEF751E}" dt="2023-12-06T15:16:24.399" v="143" actId="729"/>
        <pc:sldMkLst>
          <pc:docMk/>
          <pc:sldMk cId="2917112952" sldId="2147469204"/>
        </pc:sldMkLst>
      </pc:sldChg>
      <pc:sldChg chg="modSp mod modShow">
        <pc:chgData name="BRET Pierre" userId="3c262e90-eaeb-4858-8462-9ff6f0ba68c6" providerId="ADAL" clId="{F8014BEC-48F3-4228-92CC-5AD44DEF751E}" dt="2023-12-06T15:18:19.118" v="151" actId="729"/>
        <pc:sldMkLst>
          <pc:docMk/>
          <pc:sldMk cId="756621096" sldId="2147469205"/>
        </pc:sldMkLst>
      </pc:sldChg>
      <pc:sldChg chg="modSp">
        <pc:chgData name="BRET Pierre" userId="3c262e90-eaeb-4858-8462-9ff6f0ba68c6" providerId="ADAL" clId="{F8014BEC-48F3-4228-92CC-5AD44DEF751E}" dt="2023-12-06T09:11:26.851" v="4"/>
        <pc:sldMkLst>
          <pc:docMk/>
          <pc:sldMk cId="1832773" sldId="2147469209"/>
        </pc:sldMkLst>
      </pc:sldChg>
      <pc:sldChg chg="modSp mod modShow">
        <pc:chgData name="BRET Pierre" userId="3c262e90-eaeb-4858-8462-9ff6f0ba68c6" providerId="ADAL" clId="{F8014BEC-48F3-4228-92CC-5AD44DEF751E}" dt="2023-12-06T15:17:41.003" v="145" actId="729"/>
        <pc:sldMkLst>
          <pc:docMk/>
          <pc:sldMk cId="1578203440" sldId="2147469214"/>
        </pc:sldMkLst>
      </pc:sldChg>
      <pc:sldChg chg="modSp mod modShow">
        <pc:chgData name="BRET Pierre" userId="3c262e90-eaeb-4858-8462-9ff6f0ba68c6" providerId="ADAL" clId="{F8014BEC-48F3-4228-92CC-5AD44DEF751E}" dt="2023-12-06T15:17:45.413" v="147" actId="729"/>
        <pc:sldMkLst>
          <pc:docMk/>
          <pc:sldMk cId="1859233551" sldId="2147469215"/>
        </pc:sldMkLst>
      </pc:sldChg>
      <pc:sldChg chg="mod modShow">
        <pc:chgData name="BRET Pierre" userId="3c262e90-eaeb-4858-8462-9ff6f0ba68c6" providerId="ADAL" clId="{F8014BEC-48F3-4228-92CC-5AD44DEF751E}" dt="2023-12-06T09:17:37.048" v="57" actId="729"/>
        <pc:sldMkLst>
          <pc:docMk/>
          <pc:sldMk cId="3937719075" sldId="2147469217"/>
        </pc:sldMkLst>
      </pc:sldChg>
      <pc:sldChg chg="mod modShow">
        <pc:chgData name="BRET Pierre" userId="3c262e90-eaeb-4858-8462-9ff6f0ba68c6" providerId="ADAL" clId="{F8014BEC-48F3-4228-92CC-5AD44DEF751E}" dt="2023-12-06T09:17:44.849" v="58" actId="729"/>
        <pc:sldMkLst>
          <pc:docMk/>
          <pc:sldMk cId="1451093172" sldId="2147469218"/>
        </pc:sldMkLst>
      </pc:sldChg>
      <pc:sldChg chg="mod modShow">
        <pc:chgData name="BRET Pierre" userId="3c262e90-eaeb-4858-8462-9ff6f0ba68c6" providerId="ADAL" clId="{F8014BEC-48F3-4228-92CC-5AD44DEF751E}" dt="2023-12-06T15:22:51.506" v="326" actId="729"/>
        <pc:sldMkLst>
          <pc:docMk/>
          <pc:sldMk cId="1723624365" sldId="2147469222"/>
        </pc:sldMkLst>
      </pc:sldChg>
      <pc:sldChg chg="mod modShow">
        <pc:chgData name="BRET Pierre" userId="3c262e90-eaeb-4858-8462-9ff6f0ba68c6" providerId="ADAL" clId="{F8014BEC-48F3-4228-92CC-5AD44DEF751E}" dt="2023-12-06T15:22:51.506" v="326" actId="729"/>
        <pc:sldMkLst>
          <pc:docMk/>
          <pc:sldMk cId="1949532902" sldId="2147469223"/>
        </pc:sldMkLst>
      </pc:sldChg>
      <pc:sldChg chg="mod modShow">
        <pc:chgData name="BRET Pierre" userId="3c262e90-eaeb-4858-8462-9ff6f0ba68c6" providerId="ADAL" clId="{F8014BEC-48F3-4228-92CC-5AD44DEF751E}" dt="2023-12-06T15:22:51.506" v="326" actId="729"/>
        <pc:sldMkLst>
          <pc:docMk/>
          <pc:sldMk cId="3536625796" sldId="2147469228"/>
        </pc:sldMkLst>
      </pc:sldChg>
      <pc:sldChg chg="modSp">
        <pc:chgData name="BRET Pierre" userId="3c262e90-eaeb-4858-8462-9ff6f0ba68c6" providerId="ADAL" clId="{F8014BEC-48F3-4228-92CC-5AD44DEF751E}" dt="2023-12-06T09:11:26.851" v="4"/>
        <pc:sldMkLst>
          <pc:docMk/>
          <pc:sldMk cId="92527006" sldId="2147469229"/>
        </pc:sldMkLst>
      </pc:sldChg>
      <pc:sldChg chg="modSp mod modShow">
        <pc:chgData name="BRET Pierre" userId="3c262e90-eaeb-4858-8462-9ff6f0ba68c6" providerId="ADAL" clId="{F8014BEC-48F3-4228-92CC-5AD44DEF751E}" dt="2023-12-06T09:17:52.040" v="60" actId="729"/>
        <pc:sldMkLst>
          <pc:docMk/>
          <pc:sldMk cId="3934546814" sldId="2147469230"/>
        </pc:sldMkLst>
      </pc:sldChg>
      <pc:sldChg chg="modSp">
        <pc:chgData name="BRET Pierre" userId="3c262e90-eaeb-4858-8462-9ff6f0ba68c6" providerId="ADAL" clId="{F8014BEC-48F3-4228-92CC-5AD44DEF751E}" dt="2023-12-06T09:11:26.851" v="4"/>
        <pc:sldMkLst>
          <pc:docMk/>
          <pc:sldMk cId="4175321075" sldId="2147469233"/>
        </pc:sldMkLst>
      </pc:sldChg>
      <pc:sldChg chg="modSp">
        <pc:chgData name="BRET Pierre" userId="3c262e90-eaeb-4858-8462-9ff6f0ba68c6" providerId="ADAL" clId="{F8014BEC-48F3-4228-92CC-5AD44DEF751E}" dt="2023-12-06T09:11:26.851" v="4"/>
        <pc:sldMkLst>
          <pc:docMk/>
          <pc:sldMk cId="137568215" sldId="2147469234"/>
        </pc:sldMkLst>
      </pc:sldChg>
      <pc:sldChg chg="modSp">
        <pc:chgData name="BRET Pierre" userId="3c262e90-eaeb-4858-8462-9ff6f0ba68c6" providerId="ADAL" clId="{F8014BEC-48F3-4228-92CC-5AD44DEF751E}" dt="2023-12-06T09:11:26.851" v="4"/>
        <pc:sldMkLst>
          <pc:docMk/>
          <pc:sldMk cId="1014251268" sldId="2147469236"/>
        </pc:sldMkLst>
      </pc:sldChg>
      <pc:sldChg chg="modSp">
        <pc:chgData name="BRET Pierre" userId="3c262e90-eaeb-4858-8462-9ff6f0ba68c6" providerId="ADAL" clId="{F8014BEC-48F3-4228-92CC-5AD44DEF751E}" dt="2023-12-06T09:11:26.851" v="4"/>
        <pc:sldMkLst>
          <pc:docMk/>
          <pc:sldMk cId="2862034825" sldId="2147469237"/>
        </pc:sldMkLst>
      </pc:sldChg>
      <pc:sldChg chg="modSp">
        <pc:chgData name="BRET Pierre" userId="3c262e90-eaeb-4858-8462-9ff6f0ba68c6" providerId="ADAL" clId="{F8014BEC-48F3-4228-92CC-5AD44DEF751E}" dt="2023-12-06T09:11:26.851" v="4"/>
        <pc:sldMkLst>
          <pc:docMk/>
          <pc:sldMk cId="1863786756" sldId="2147469240"/>
        </pc:sldMkLst>
      </pc:sldChg>
      <pc:sldChg chg="modSp">
        <pc:chgData name="BRET Pierre" userId="3c262e90-eaeb-4858-8462-9ff6f0ba68c6" providerId="ADAL" clId="{F8014BEC-48F3-4228-92CC-5AD44DEF751E}" dt="2023-12-06T09:11:26.851" v="4"/>
        <pc:sldMkLst>
          <pc:docMk/>
          <pc:sldMk cId="297916462" sldId="2147469243"/>
        </pc:sldMkLst>
      </pc:sldChg>
      <pc:sldChg chg="modSp mod modShow">
        <pc:chgData name="BRET Pierre" userId="3c262e90-eaeb-4858-8462-9ff6f0ba68c6" providerId="ADAL" clId="{F8014BEC-48F3-4228-92CC-5AD44DEF751E}" dt="2023-12-06T09:17:47.041" v="59" actId="729"/>
        <pc:sldMkLst>
          <pc:docMk/>
          <pc:sldMk cId="1717254701" sldId="2147469247"/>
        </pc:sldMkLst>
      </pc:sldChg>
      <pc:sldChg chg="del mod ord modShow">
        <pc:chgData name="BRET Pierre" userId="3c262e90-eaeb-4858-8462-9ff6f0ba68c6" providerId="ADAL" clId="{F8014BEC-48F3-4228-92CC-5AD44DEF751E}" dt="2023-12-06T18:15:46.890" v="344" actId="47"/>
        <pc:sldMkLst>
          <pc:docMk/>
          <pc:sldMk cId="2528676621" sldId="2147469252"/>
        </pc:sldMkLst>
      </pc:sldChg>
      <pc:sldChg chg="mod modShow">
        <pc:chgData name="BRET Pierre" userId="3c262e90-eaeb-4858-8462-9ff6f0ba68c6" providerId="ADAL" clId="{F8014BEC-48F3-4228-92CC-5AD44DEF751E}" dt="2023-12-06T15:23:39.091" v="331" actId="729"/>
        <pc:sldMkLst>
          <pc:docMk/>
          <pc:sldMk cId="2705986338" sldId="2147469253"/>
        </pc:sldMkLst>
      </pc:sldChg>
      <pc:sldChg chg="modSp">
        <pc:chgData name="BRET Pierre" userId="3c262e90-eaeb-4858-8462-9ff6f0ba68c6" providerId="ADAL" clId="{F8014BEC-48F3-4228-92CC-5AD44DEF751E}" dt="2023-12-06T09:11:26.851" v="4"/>
        <pc:sldMkLst>
          <pc:docMk/>
          <pc:sldMk cId="906830166" sldId="2147469254"/>
        </pc:sldMkLst>
      </pc:sldChg>
      <pc:sldChg chg="mod modShow">
        <pc:chgData name="BRET Pierre" userId="3c262e90-eaeb-4858-8462-9ff6f0ba68c6" providerId="ADAL" clId="{F8014BEC-48F3-4228-92CC-5AD44DEF751E}" dt="2023-12-06T15:22:51.506" v="326" actId="729"/>
        <pc:sldMkLst>
          <pc:docMk/>
          <pc:sldMk cId="1030784313" sldId="2147469255"/>
        </pc:sldMkLst>
      </pc:sldChg>
      <pc:sldChg chg="modSp">
        <pc:chgData name="BRET Pierre" userId="3c262e90-eaeb-4858-8462-9ff6f0ba68c6" providerId="ADAL" clId="{F8014BEC-48F3-4228-92CC-5AD44DEF751E}" dt="2023-12-06T09:11:26.851" v="4"/>
        <pc:sldMkLst>
          <pc:docMk/>
          <pc:sldMk cId="2105868698" sldId="2147469259"/>
        </pc:sldMkLst>
      </pc:sldChg>
      <pc:sldChg chg="modSp">
        <pc:chgData name="BRET Pierre" userId="3c262e90-eaeb-4858-8462-9ff6f0ba68c6" providerId="ADAL" clId="{F8014BEC-48F3-4228-92CC-5AD44DEF751E}" dt="2023-12-06T09:11:26.851" v="4"/>
        <pc:sldMkLst>
          <pc:docMk/>
          <pc:sldMk cId="2853590062" sldId="2147469262"/>
        </pc:sldMkLst>
      </pc:sldChg>
      <pc:sldChg chg="mod modShow">
        <pc:chgData name="BRET Pierre" userId="3c262e90-eaeb-4858-8462-9ff6f0ba68c6" providerId="ADAL" clId="{F8014BEC-48F3-4228-92CC-5AD44DEF751E}" dt="2023-12-06T15:22:51.506" v="326" actId="729"/>
        <pc:sldMkLst>
          <pc:docMk/>
          <pc:sldMk cId="1632319133" sldId="2147469264"/>
        </pc:sldMkLst>
      </pc:sldChg>
      <pc:sldChg chg="modSp mod modShow">
        <pc:chgData name="BRET Pierre" userId="3c262e90-eaeb-4858-8462-9ff6f0ba68c6" providerId="ADAL" clId="{F8014BEC-48F3-4228-92CC-5AD44DEF751E}" dt="2023-12-06T15:17:43.309" v="146" actId="729"/>
        <pc:sldMkLst>
          <pc:docMk/>
          <pc:sldMk cId="1876804831" sldId="2147469265"/>
        </pc:sldMkLst>
      </pc:sldChg>
      <pc:sldChg chg="modSp">
        <pc:chgData name="BRET Pierre" userId="3c262e90-eaeb-4858-8462-9ff6f0ba68c6" providerId="ADAL" clId="{F8014BEC-48F3-4228-92CC-5AD44DEF751E}" dt="2023-12-06T09:11:26.851" v="4"/>
        <pc:sldMkLst>
          <pc:docMk/>
          <pc:sldMk cId="596036060" sldId="2147469269"/>
        </pc:sldMkLst>
      </pc:sldChg>
      <pc:sldChg chg="modSp">
        <pc:chgData name="BRET Pierre" userId="3c262e90-eaeb-4858-8462-9ff6f0ba68c6" providerId="ADAL" clId="{F8014BEC-48F3-4228-92CC-5AD44DEF751E}" dt="2023-12-06T09:11:26.851" v="4"/>
        <pc:sldMkLst>
          <pc:docMk/>
          <pc:sldMk cId="27772628" sldId="2147469270"/>
        </pc:sldMkLst>
      </pc:sldChg>
      <pc:sldChg chg="modSp">
        <pc:chgData name="BRET Pierre" userId="3c262e90-eaeb-4858-8462-9ff6f0ba68c6" providerId="ADAL" clId="{F8014BEC-48F3-4228-92CC-5AD44DEF751E}" dt="2023-12-06T09:11:26.851" v="4"/>
        <pc:sldMkLst>
          <pc:docMk/>
          <pc:sldMk cId="1552375756" sldId="2147469272"/>
        </pc:sldMkLst>
      </pc:sldChg>
      <pc:sldChg chg="modSp">
        <pc:chgData name="BRET Pierre" userId="3c262e90-eaeb-4858-8462-9ff6f0ba68c6" providerId="ADAL" clId="{F8014BEC-48F3-4228-92CC-5AD44DEF751E}" dt="2023-12-06T09:11:26.851" v="4"/>
        <pc:sldMkLst>
          <pc:docMk/>
          <pc:sldMk cId="483041667" sldId="2147469276"/>
        </pc:sldMkLst>
      </pc:sldChg>
      <pc:sldChg chg="modSp">
        <pc:chgData name="BRET Pierre" userId="3c262e90-eaeb-4858-8462-9ff6f0ba68c6" providerId="ADAL" clId="{F8014BEC-48F3-4228-92CC-5AD44DEF751E}" dt="2023-12-06T09:11:26.851" v="4"/>
        <pc:sldMkLst>
          <pc:docMk/>
          <pc:sldMk cId="2139053399" sldId="2147469279"/>
        </pc:sldMkLst>
      </pc:sldChg>
      <pc:sldChg chg="addSp delSp modSp new mod ord modClrScheme modShow chgLayout">
        <pc:chgData name="BRET Pierre" userId="3c262e90-eaeb-4858-8462-9ff6f0ba68c6" providerId="ADAL" clId="{F8014BEC-48F3-4228-92CC-5AD44DEF751E}" dt="2023-12-06T15:15:59.462" v="140" actId="729"/>
        <pc:sldMkLst>
          <pc:docMk/>
          <pc:sldMk cId="2459436980" sldId="2147469280"/>
        </pc:sldMkLst>
      </pc:sldChg>
      <pc:sldChg chg="addSp modSp new mod modClrScheme chgLayout">
        <pc:chgData name="BRET Pierre" userId="3c262e90-eaeb-4858-8462-9ff6f0ba68c6" providerId="ADAL" clId="{F8014BEC-48F3-4228-92CC-5AD44DEF751E}" dt="2023-12-06T09:14:19.624" v="17" actId="20577"/>
        <pc:sldMkLst>
          <pc:docMk/>
          <pc:sldMk cId="2217602409" sldId="2147469281"/>
        </pc:sldMkLst>
      </pc:sldChg>
      <pc:sldChg chg="modSp add mod">
        <pc:chgData name="BRET Pierre" userId="3c262e90-eaeb-4858-8462-9ff6f0ba68c6" providerId="ADAL" clId="{F8014BEC-48F3-4228-92CC-5AD44DEF751E}" dt="2023-12-06T09:18:44.633" v="74" actId="20577"/>
        <pc:sldMkLst>
          <pc:docMk/>
          <pc:sldMk cId="2894980669" sldId="2147469282"/>
        </pc:sldMkLst>
      </pc:sldChg>
      <pc:sldChg chg="add del">
        <pc:chgData name="BRET Pierre" userId="3c262e90-eaeb-4858-8462-9ff6f0ba68c6" providerId="ADAL" clId="{F8014BEC-48F3-4228-92CC-5AD44DEF751E}" dt="2023-12-06T15:22:56.079" v="327" actId="47"/>
        <pc:sldMkLst>
          <pc:docMk/>
          <pc:sldMk cId="2671138152" sldId="2147469283"/>
        </pc:sldMkLst>
      </pc:sldChg>
      <pc:sldChg chg="add del mod modShow">
        <pc:chgData name="BRET Pierre" userId="3c262e90-eaeb-4858-8462-9ff6f0ba68c6" providerId="ADAL" clId="{F8014BEC-48F3-4228-92CC-5AD44DEF751E}" dt="2023-12-06T15:23:11.116" v="328" actId="47"/>
        <pc:sldMkLst>
          <pc:docMk/>
          <pc:sldMk cId="1536947393" sldId="2147469284"/>
        </pc:sldMkLst>
      </pc:sldChg>
      <pc:sldChg chg="add del">
        <pc:chgData name="BRET Pierre" userId="3c262e90-eaeb-4858-8462-9ff6f0ba68c6" providerId="ADAL" clId="{F8014BEC-48F3-4228-92CC-5AD44DEF751E}" dt="2023-12-06T15:24:01.549" v="335" actId="47"/>
        <pc:sldMkLst>
          <pc:docMk/>
          <pc:sldMk cId="2406416170" sldId="2147469285"/>
        </pc:sldMkLst>
      </pc:sldChg>
      <pc:sldChg chg="modSp add mod">
        <pc:chgData name="BRET Pierre" userId="3c262e90-eaeb-4858-8462-9ff6f0ba68c6" providerId="ADAL" clId="{F8014BEC-48F3-4228-92CC-5AD44DEF751E}" dt="2023-12-06T09:18:31.475" v="72" actId="20577"/>
        <pc:sldMkLst>
          <pc:docMk/>
          <pc:sldMk cId="649732189" sldId="2147469286"/>
        </pc:sldMkLst>
      </pc:sldChg>
      <pc:sldChg chg="addSp modSp new mod">
        <pc:chgData name="BRET Pierre" userId="3c262e90-eaeb-4858-8462-9ff6f0ba68c6" providerId="ADAL" clId="{F8014BEC-48F3-4228-92CC-5AD44DEF751E}" dt="2023-12-06T15:19:46.187" v="311" actId="20577"/>
        <pc:sldMkLst>
          <pc:docMk/>
          <pc:sldMk cId="3897447519" sldId="2147469287"/>
        </pc:sldMkLst>
      </pc:sldChg>
      <pc:sldChg chg="add">
        <pc:chgData name="BRET Pierre" userId="3c262e90-eaeb-4858-8462-9ff6f0ba68c6" providerId="ADAL" clId="{F8014BEC-48F3-4228-92CC-5AD44DEF751E}" dt="2023-12-06T15:22:16.692" v="324"/>
        <pc:sldMkLst>
          <pc:docMk/>
          <pc:sldMk cId="505188205" sldId="2147469288"/>
        </pc:sldMkLst>
      </pc:sldChg>
      <pc:sldChg chg="new del">
        <pc:chgData name="BRET Pierre" userId="3c262e90-eaeb-4858-8462-9ff6f0ba68c6" providerId="ADAL" clId="{F8014BEC-48F3-4228-92CC-5AD44DEF751E}" dt="2023-12-06T15:20:04.140" v="313" actId="47"/>
        <pc:sldMkLst>
          <pc:docMk/>
          <pc:sldMk cId="713787894" sldId="2147469288"/>
        </pc:sldMkLst>
      </pc:sldChg>
      <pc:sldChg chg="new del">
        <pc:chgData name="BRET Pierre" userId="3c262e90-eaeb-4858-8462-9ff6f0ba68c6" providerId="ADAL" clId="{F8014BEC-48F3-4228-92CC-5AD44DEF751E}" dt="2023-12-06T15:20:41.992" v="323" actId="47"/>
        <pc:sldMkLst>
          <pc:docMk/>
          <pc:sldMk cId="2146608592" sldId="2147469288"/>
        </pc:sldMkLst>
      </pc:sldChg>
      <pc:sldChg chg="add">
        <pc:chgData name="BRET Pierre" userId="3c262e90-eaeb-4858-8462-9ff6f0ba68c6" providerId="ADAL" clId="{F8014BEC-48F3-4228-92CC-5AD44DEF751E}" dt="2023-12-06T15:22:16.692" v="324"/>
        <pc:sldMkLst>
          <pc:docMk/>
          <pc:sldMk cId="1893851666" sldId="2147469289"/>
        </pc:sldMkLst>
      </pc:sldChg>
      <pc:sldChg chg="add">
        <pc:chgData name="BRET Pierre" userId="3c262e90-eaeb-4858-8462-9ff6f0ba68c6" providerId="ADAL" clId="{F8014BEC-48F3-4228-92CC-5AD44DEF751E}" dt="2023-12-06T15:22:32.962" v="325"/>
        <pc:sldMkLst>
          <pc:docMk/>
          <pc:sldMk cId="4090274451" sldId="2147469290"/>
        </pc:sldMkLst>
      </pc:sldChg>
      <pc:sldChg chg="add delCm">
        <pc:chgData name="BRET Pierre" userId="3c262e90-eaeb-4858-8462-9ff6f0ba68c6" providerId="ADAL" clId="{F8014BEC-48F3-4228-92CC-5AD44DEF751E}" dt="2023-12-06T15:23:30.069" v="330"/>
        <pc:sldMkLst>
          <pc:docMk/>
          <pc:sldMk cId="913351391" sldId="2147469291"/>
        </pc:sldMkLst>
      </pc:sldChg>
      <pc:sldChg chg="add">
        <pc:chgData name="BRET Pierre" userId="3c262e90-eaeb-4858-8462-9ff6f0ba68c6" providerId="ADAL" clId="{F8014BEC-48F3-4228-92CC-5AD44DEF751E}" dt="2023-12-06T15:24:33.417" v="336"/>
        <pc:sldMkLst>
          <pc:docMk/>
          <pc:sldMk cId="2267118433" sldId="2147469292"/>
        </pc:sldMkLst>
      </pc:sldChg>
      <pc:sldMasterChg chg="addSp">
        <pc:chgData name="BRET Pierre" userId="3c262e90-eaeb-4858-8462-9ff6f0ba68c6" providerId="ADAL" clId="{F8014BEC-48F3-4228-92CC-5AD44DEF751E}" dt="2023-12-06T09:11:26.851" v="4"/>
        <pc:sldMasterMkLst>
          <pc:docMk/>
          <pc:sldMasterMk cId="477976261" sldId="2147483781"/>
        </pc:sldMasterMkLst>
      </pc:sldMasterChg>
    </pc:docChg>
  </pc:docChgLst>
  <pc:docChgLst>
    <pc:chgData name="de Limerville, Charles" userId="7faa99f4-4d95-4223-bfee-fcc787c8a201" providerId="ADAL" clId="{C6746A16-79EA-4467-ACDA-6D00F3CC97C8}"/>
    <pc:docChg chg="undo custSel addSld delSld modSld sldOrd modSection">
      <pc:chgData name="de Limerville, Charles" userId="7faa99f4-4d95-4223-bfee-fcc787c8a201" providerId="ADAL" clId="{C6746A16-79EA-4467-ACDA-6D00F3CC97C8}" dt="2022-12-16T09:20:00.334" v="454"/>
      <pc:docMkLst>
        <pc:docMk/>
      </pc:docMkLst>
      <pc:sldChg chg="addSp modSp mod">
        <pc:chgData name="de Limerville, Charles" userId="7faa99f4-4d95-4223-bfee-fcc787c8a201" providerId="ADAL" clId="{C6746A16-79EA-4467-ACDA-6D00F3CC97C8}" dt="2022-12-05T10:14:00.526" v="77" actId="14100"/>
        <pc:sldMkLst>
          <pc:docMk/>
          <pc:sldMk cId="2161283367" sldId="2147375478"/>
        </pc:sldMkLst>
      </pc:sldChg>
      <pc:sldChg chg="addSp modSp mod">
        <pc:chgData name="de Limerville, Charles" userId="7faa99f4-4d95-4223-bfee-fcc787c8a201" providerId="ADAL" clId="{C6746A16-79EA-4467-ACDA-6D00F3CC97C8}" dt="2022-12-05T10:37:59.845" v="359" actId="14100"/>
        <pc:sldMkLst>
          <pc:docMk/>
          <pc:sldMk cId="2603625157" sldId="2147469194"/>
        </pc:sldMkLst>
      </pc:sldChg>
      <pc:sldChg chg="ord">
        <pc:chgData name="de Limerville, Charles" userId="7faa99f4-4d95-4223-bfee-fcc787c8a201" providerId="ADAL" clId="{C6746A16-79EA-4467-ACDA-6D00F3CC97C8}" dt="2022-12-05T10:34:56.627" v="286"/>
        <pc:sldMkLst>
          <pc:docMk/>
          <pc:sldMk cId="2433366989" sldId="2147469201"/>
        </pc:sldMkLst>
      </pc:sldChg>
      <pc:sldChg chg="del">
        <pc:chgData name="de Limerville, Charles" userId="7faa99f4-4d95-4223-bfee-fcc787c8a201" providerId="ADAL" clId="{C6746A16-79EA-4467-ACDA-6D00F3CC97C8}" dt="2022-12-05T10:30:30.992" v="261" actId="47"/>
        <pc:sldMkLst>
          <pc:docMk/>
          <pc:sldMk cId="3980371301" sldId="2147469203"/>
        </pc:sldMkLst>
      </pc:sldChg>
      <pc:sldChg chg="addSp delSp modSp mod">
        <pc:chgData name="de Limerville, Charles" userId="7faa99f4-4d95-4223-bfee-fcc787c8a201" providerId="ADAL" clId="{C6746A16-79EA-4467-ACDA-6D00F3CC97C8}" dt="2022-12-05T10:32:52.490" v="276" actId="478"/>
        <pc:sldMkLst>
          <pc:docMk/>
          <pc:sldMk cId="2917112952" sldId="2147469204"/>
        </pc:sldMkLst>
      </pc:sldChg>
      <pc:sldChg chg="addSp modSp add mod modShow">
        <pc:chgData name="de Limerville, Charles" userId="7faa99f4-4d95-4223-bfee-fcc787c8a201" providerId="ADAL" clId="{C6746A16-79EA-4467-ACDA-6D00F3CC97C8}" dt="2022-12-05T10:16:57.346" v="125" actId="14100"/>
        <pc:sldMkLst>
          <pc:docMk/>
          <pc:sldMk cId="1708213307" sldId="2147469210"/>
        </pc:sldMkLst>
      </pc:sldChg>
      <pc:sldChg chg="addSp modSp new mod">
        <pc:chgData name="de Limerville, Charles" userId="7faa99f4-4d95-4223-bfee-fcc787c8a201" providerId="ADAL" clId="{C6746A16-79EA-4467-ACDA-6D00F3CC97C8}" dt="2022-12-05T10:23:57.941" v="235" actId="20577"/>
        <pc:sldMkLst>
          <pc:docMk/>
          <pc:sldMk cId="3952049955" sldId="2147469211"/>
        </pc:sldMkLst>
      </pc:sldChg>
      <pc:sldChg chg="addSp delSp modSp new mod modClrScheme chgLayout">
        <pc:chgData name="de Limerville, Charles" userId="7faa99f4-4d95-4223-bfee-fcc787c8a201" providerId="ADAL" clId="{C6746A16-79EA-4467-ACDA-6D00F3CC97C8}" dt="2022-12-05T10:25:54.902" v="260" actId="20577"/>
        <pc:sldMkLst>
          <pc:docMk/>
          <pc:sldMk cId="3137162437" sldId="2147469212"/>
        </pc:sldMkLst>
      </pc:sldChg>
      <pc:sldChg chg="addSp delSp modSp new mod modClrScheme chgLayout">
        <pc:chgData name="de Limerville, Charles" userId="7faa99f4-4d95-4223-bfee-fcc787c8a201" providerId="ADAL" clId="{C6746A16-79EA-4467-ACDA-6D00F3CC97C8}" dt="2022-12-05T10:34:23.775" v="284" actId="20577"/>
        <pc:sldMkLst>
          <pc:docMk/>
          <pc:sldMk cId="1982229707" sldId="2147469213"/>
        </pc:sldMkLst>
      </pc:sldChg>
      <pc:sldChg chg="modSp mod">
        <pc:chgData name="de Limerville, Charles" userId="7faa99f4-4d95-4223-bfee-fcc787c8a201" providerId="ADAL" clId="{C6746A16-79EA-4467-ACDA-6D00F3CC97C8}" dt="2022-12-16T07:39:36.794" v="361" actId="20577"/>
        <pc:sldMkLst>
          <pc:docMk/>
          <pc:sldMk cId="3937719075" sldId="2147469217"/>
        </pc:sldMkLst>
      </pc:sldChg>
      <pc:sldChg chg="modSp mod">
        <pc:chgData name="de Limerville, Charles" userId="7faa99f4-4d95-4223-bfee-fcc787c8a201" providerId="ADAL" clId="{C6746A16-79EA-4467-ACDA-6D00F3CC97C8}" dt="2022-12-16T09:19:56.243" v="453" actId="20577"/>
        <pc:sldMkLst>
          <pc:docMk/>
          <pc:sldMk cId="200622586" sldId="2147469273"/>
        </pc:sldMkLst>
      </pc:sldChg>
      <pc:sldChg chg="addSp delSp modSp mod">
        <pc:chgData name="de Limerville, Charles" userId="7faa99f4-4d95-4223-bfee-fcc787c8a201" providerId="ADAL" clId="{C6746A16-79EA-4467-ACDA-6D00F3CC97C8}" dt="2022-12-16T09:20:00.334" v="454"/>
        <pc:sldMkLst>
          <pc:docMk/>
          <pc:sldMk cId="704760206" sldId="2147469275"/>
        </pc:sldMkLst>
      </pc:sldChg>
    </pc:docChg>
  </pc:docChgLst>
  <pc:docChgLst>
    <pc:chgData name="COIGNET Alexis" userId="76ea5e1a-bc88-4802-bf9d-ac1355beb253" providerId="ADAL" clId="{C3137FFD-784B-4699-BFBE-CDA4537DB1A6}"/>
    <pc:docChg chg="undo custSel modSld">
      <pc:chgData name="COIGNET Alexis" userId="76ea5e1a-bc88-4802-bf9d-ac1355beb253" providerId="ADAL" clId="{C3137FFD-784B-4699-BFBE-CDA4537DB1A6}" dt="2025-01-20T08:47:21.852" v="231" actId="20577"/>
      <pc:docMkLst>
        <pc:docMk/>
      </pc:docMkLst>
      <pc:sldChg chg="addSp delSp modSp mod">
        <pc:chgData name="COIGNET Alexis" userId="76ea5e1a-bc88-4802-bf9d-ac1355beb253" providerId="ADAL" clId="{C3137FFD-784B-4699-BFBE-CDA4537DB1A6}" dt="2025-01-20T08:47:21.852" v="231" actId="20577"/>
        <pc:sldMkLst>
          <pc:docMk/>
          <pc:sldMk cId="2625374015" sldId="2147483138"/>
        </pc:sldMkLst>
        <pc:spChg chg="add mod topLvl">
          <ac:chgData name="COIGNET Alexis" userId="76ea5e1a-bc88-4802-bf9d-ac1355beb253" providerId="ADAL" clId="{C3137FFD-784B-4699-BFBE-CDA4537DB1A6}" dt="2025-01-14T10:06:09.444" v="174" actId="20577"/>
          <ac:spMkLst>
            <pc:docMk/>
            <pc:sldMk cId="2625374015" sldId="2147483138"/>
            <ac:spMk id="38" creationId="{3E7B0B60-54B1-B989-1C93-62A72C265B4B}"/>
          </ac:spMkLst>
        </pc:spChg>
        <pc:spChg chg="mod topLvl">
          <ac:chgData name="COIGNET Alexis" userId="76ea5e1a-bc88-4802-bf9d-ac1355beb253" providerId="ADAL" clId="{C3137FFD-784B-4699-BFBE-CDA4537DB1A6}" dt="2025-01-14T10:05:55.746" v="170" actId="165"/>
          <ac:spMkLst>
            <pc:docMk/>
            <pc:sldMk cId="2625374015" sldId="2147483138"/>
            <ac:spMk id="46" creationId="{CC0B92A6-992D-9CE9-AE4C-EE68404132DB}"/>
          </ac:spMkLst>
        </pc:spChg>
        <pc:spChg chg="mod">
          <ac:chgData name="COIGNET Alexis" userId="76ea5e1a-bc88-4802-bf9d-ac1355beb253" providerId="ADAL" clId="{C3137FFD-784B-4699-BFBE-CDA4537DB1A6}" dt="2025-01-09T14:43:04.748" v="87" actId="478"/>
          <ac:spMkLst>
            <pc:docMk/>
            <pc:sldMk cId="2625374015" sldId="2147483138"/>
            <ac:spMk id="55" creationId="{338A5624-628F-08AD-BBFB-5A95BE0766D0}"/>
          </ac:spMkLst>
        </pc:spChg>
        <pc:spChg chg="mod">
          <ac:chgData name="COIGNET Alexis" userId="76ea5e1a-bc88-4802-bf9d-ac1355beb253" providerId="ADAL" clId="{C3137FFD-784B-4699-BFBE-CDA4537DB1A6}" dt="2025-01-09T14:43:04.748" v="87" actId="478"/>
          <ac:spMkLst>
            <pc:docMk/>
            <pc:sldMk cId="2625374015" sldId="2147483138"/>
            <ac:spMk id="61" creationId="{C264CC8D-4991-2017-7A7C-F617B5EAB8B7}"/>
          </ac:spMkLst>
        </pc:spChg>
        <pc:spChg chg="mod">
          <ac:chgData name="COIGNET Alexis" userId="76ea5e1a-bc88-4802-bf9d-ac1355beb253" providerId="ADAL" clId="{C3137FFD-784B-4699-BFBE-CDA4537DB1A6}" dt="2025-01-09T14:43:04.748" v="87" actId="478"/>
          <ac:spMkLst>
            <pc:docMk/>
            <pc:sldMk cId="2625374015" sldId="2147483138"/>
            <ac:spMk id="63" creationId="{E8FE1EAF-CF04-3BDA-C2E7-535EF06B9E5A}"/>
          </ac:spMkLst>
        </pc:spChg>
        <pc:spChg chg="mod">
          <ac:chgData name="COIGNET Alexis" userId="76ea5e1a-bc88-4802-bf9d-ac1355beb253" providerId="ADAL" clId="{C3137FFD-784B-4699-BFBE-CDA4537DB1A6}" dt="2025-01-14T10:07:17.191" v="187" actId="478"/>
          <ac:spMkLst>
            <pc:docMk/>
            <pc:sldMk cId="2625374015" sldId="2147483138"/>
            <ac:spMk id="76" creationId="{809FE5E8-9514-807A-BAE5-220F6030F7DB}"/>
          </ac:spMkLst>
        </pc:spChg>
        <pc:spChg chg="mod">
          <ac:chgData name="COIGNET Alexis" userId="76ea5e1a-bc88-4802-bf9d-ac1355beb253" providerId="ADAL" clId="{C3137FFD-784B-4699-BFBE-CDA4537DB1A6}" dt="2025-01-20T08:47:21.852" v="231" actId="20577"/>
          <ac:spMkLst>
            <pc:docMk/>
            <pc:sldMk cId="2625374015" sldId="2147483138"/>
            <ac:spMk id="78" creationId="{45F0EBF1-B3C3-00D9-C323-D662BD29DCA1}"/>
          </ac:spMkLst>
        </pc:spChg>
        <pc:spChg chg="mod">
          <ac:chgData name="COIGNET Alexis" userId="76ea5e1a-bc88-4802-bf9d-ac1355beb253" providerId="ADAL" clId="{C3137FFD-784B-4699-BFBE-CDA4537DB1A6}" dt="2025-01-14T10:07:17.191" v="187" actId="478"/>
          <ac:spMkLst>
            <pc:docMk/>
            <pc:sldMk cId="2625374015" sldId="2147483138"/>
            <ac:spMk id="80" creationId="{B7E8F16A-5A91-7B1E-14C9-A8A32CB11974}"/>
          </ac:spMkLst>
        </pc:spChg>
        <pc:spChg chg="mod topLvl">
          <ac:chgData name="COIGNET Alexis" userId="76ea5e1a-bc88-4802-bf9d-ac1355beb253" providerId="ADAL" clId="{C3137FFD-784B-4699-BFBE-CDA4537DB1A6}" dt="2025-01-14T10:06:05.312" v="172" actId="164"/>
          <ac:spMkLst>
            <pc:docMk/>
            <pc:sldMk cId="2625374015" sldId="2147483138"/>
            <ac:spMk id="100" creationId="{3076A10B-7809-A227-17DE-463989894988}"/>
          </ac:spMkLst>
        </pc:spChg>
        <pc:spChg chg="mod topLvl">
          <ac:chgData name="COIGNET Alexis" userId="76ea5e1a-bc88-4802-bf9d-ac1355beb253" providerId="ADAL" clId="{C3137FFD-784B-4699-BFBE-CDA4537DB1A6}" dt="2025-01-14T10:06:05.312" v="172" actId="164"/>
          <ac:spMkLst>
            <pc:docMk/>
            <pc:sldMk cId="2625374015" sldId="2147483138"/>
            <ac:spMk id="101" creationId="{A84FF81C-31DF-B7DA-AFFC-D27FF40D2750}"/>
          </ac:spMkLst>
        </pc:spChg>
        <pc:spChg chg="mod topLvl">
          <ac:chgData name="COIGNET Alexis" userId="76ea5e1a-bc88-4802-bf9d-ac1355beb253" providerId="ADAL" clId="{C3137FFD-784B-4699-BFBE-CDA4537DB1A6}" dt="2025-01-14T10:06:05.312" v="172" actId="164"/>
          <ac:spMkLst>
            <pc:docMk/>
            <pc:sldMk cId="2625374015" sldId="2147483138"/>
            <ac:spMk id="102" creationId="{F0B5010A-D982-24B3-6B50-F27697F66649}"/>
          </ac:spMkLst>
        </pc:spChg>
        <pc:spChg chg="mod">
          <ac:chgData name="COIGNET Alexis" userId="76ea5e1a-bc88-4802-bf9d-ac1355beb253" providerId="ADAL" clId="{C3137FFD-784B-4699-BFBE-CDA4537DB1A6}" dt="2025-01-09T14:42:23.766" v="66" actId="12788"/>
          <ac:spMkLst>
            <pc:docMk/>
            <pc:sldMk cId="2625374015" sldId="2147483138"/>
            <ac:spMk id="123" creationId="{14C3DAF1-53E5-CB3E-4CFF-AF88FA745B9D}"/>
          </ac:spMkLst>
        </pc:spChg>
        <pc:spChg chg="mod">
          <ac:chgData name="COIGNET Alexis" userId="76ea5e1a-bc88-4802-bf9d-ac1355beb253" providerId="ADAL" clId="{C3137FFD-784B-4699-BFBE-CDA4537DB1A6}" dt="2025-01-09T14:42:23.766" v="66" actId="12788"/>
          <ac:spMkLst>
            <pc:docMk/>
            <pc:sldMk cId="2625374015" sldId="2147483138"/>
            <ac:spMk id="126" creationId="{6EEAEAA6-11DE-1160-F471-C42BAF26795B}"/>
          </ac:spMkLst>
        </pc:spChg>
        <pc:spChg chg="mod">
          <ac:chgData name="COIGNET Alexis" userId="76ea5e1a-bc88-4802-bf9d-ac1355beb253" providerId="ADAL" clId="{C3137FFD-784B-4699-BFBE-CDA4537DB1A6}" dt="2025-01-09T14:42:23.766" v="66" actId="12788"/>
          <ac:spMkLst>
            <pc:docMk/>
            <pc:sldMk cId="2625374015" sldId="2147483138"/>
            <ac:spMk id="127" creationId="{005F5C17-D9BA-03A2-CA8C-2AE5911D4259}"/>
          </ac:spMkLst>
        </pc:spChg>
        <pc:spChg chg="add del mod">
          <ac:chgData name="COIGNET Alexis" userId="76ea5e1a-bc88-4802-bf9d-ac1355beb253" providerId="ADAL" clId="{C3137FFD-784B-4699-BFBE-CDA4537DB1A6}" dt="2025-01-14T10:08:39.642" v="224" actId="21"/>
          <ac:spMkLst>
            <pc:docMk/>
            <pc:sldMk cId="2625374015" sldId="2147483138"/>
            <ac:spMk id="3079" creationId="{88FD5112-F87D-A360-2FD3-117BF791B13F}"/>
          </ac:spMkLst>
        </pc:spChg>
        <pc:spChg chg="mod topLvl">
          <ac:chgData name="COIGNET Alexis" userId="76ea5e1a-bc88-4802-bf9d-ac1355beb253" providerId="ADAL" clId="{C3137FFD-784B-4699-BFBE-CDA4537DB1A6}" dt="2025-01-13T13:40:12.064" v="159" actId="164"/>
          <ac:spMkLst>
            <pc:docMk/>
            <pc:sldMk cId="2625374015" sldId="2147483138"/>
            <ac:spMk id="3125" creationId="{AF533890-7DDD-6B16-E607-A2304B6E9101}"/>
          </ac:spMkLst>
        </pc:spChg>
        <pc:spChg chg="mod topLvl">
          <ac:chgData name="COIGNET Alexis" userId="76ea5e1a-bc88-4802-bf9d-ac1355beb253" providerId="ADAL" clId="{C3137FFD-784B-4699-BFBE-CDA4537DB1A6}" dt="2025-01-13T13:40:12.064" v="159" actId="164"/>
          <ac:spMkLst>
            <pc:docMk/>
            <pc:sldMk cId="2625374015" sldId="2147483138"/>
            <ac:spMk id="3128" creationId="{19D6497A-DAE0-98F1-BD86-4ED9A9960D02}"/>
          </ac:spMkLst>
        </pc:spChg>
        <pc:spChg chg="mod topLvl">
          <ac:chgData name="COIGNET Alexis" userId="76ea5e1a-bc88-4802-bf9d-ac1355beb253" providerId="ADAL" clId="{C3137FFD-784B-4699-BFBE-CDA4537DB1A6}" dt="2025-01-13T13:40:12.064" v="159" actId="164"/>
          <ac:spMkLst>
            <pc:docMk/>
            <pc:sldMk cId="2625374015" sldId="2147483138"/>
            <ac:spMk id="3129" creationId="{2D03BA9A-827A-3575-B363-C629D75633A2}"/>
          </ac:spMkLst>
        </pc:spChg>
        <pc:spChg chg="mod">
          <ac:chgData name="COIGNET Alexis" userId="76ea5e1a-bc88-4802-bf9d-ac1355beb253" providerId="ADAL" clId="{C3137FFD-784B-4699-BFBE-CDA4537DB1A6}" dt="2025-01-09T14:43:04.748" v="87" actId="478"/>
          <ac:spMkLst>
            <pc:docMk/>
            <pc:sldMk cId="2625374015" sldId="2147483138"/>
            <ac:spMk id="3136" creationId="{12706B83-F4E6-62C7-B455-5EE374DA7B88}"/>
          </ac:spMkLst>
        </pc:spChg>
        <pc:spChg chg="add mod">
          <ac:chgData name="COIGNET Alexis" userId="76ea5e1a-bc88-4802-bf9d-ac1355beb253" providerId="ADAL" clId="{C3137FFD-784B-4699-BFBE-CDA4537DB1A6}" dt="2025-01-09T14:45:18.465" v="120" actId="1076"/>
          <ac:spMkLst>
            <pc:docMk/>
            <pc:sldMk cId="2625374015" sldId="2147483138"/>
            <ac:spMk id="3143" creationId="{651D1327-C702-453F-1315-95B163FAF801}"/>
          </ac:spMkLst>
        </pc:spChg>
        <pc:spChg chg="mod">
          <ac:chgData name="COIGNET Alexis" userId="76ea5e1a-bc88-4802-bf9d-ac1355beb253" providerId="ADAL" clId="{C3137FFD-784B-4699-BFBE-CDA4537DB1A6}" dt="2025-01-14T10:08:30.537" v="222" actId="1076"/>
          <ac:spMkLst>
            <pc:docMk/>
            <pc:sldMk cId="2625374015" sldId="2147483138"/>
            <ac:spMk id="3145" creationId="{36AD5CD7-6620-CA8A-902B-6D68462020E4}"/>
          </ac:spMkLst>
        </pc:spChg>
        <pc:spChg chg="add mod">
          <ac:chgData name="COIGNET Alexis" userId="76ea5e1a-bc88-4802-bf9d-ac1355beb253" providerId="ADAL" clId="{C3137FFD-784B-4699-BFBE-CDA4537DB1A6}" dt="2025-01-09T14:49:55.901" v="123" actId="6549"/>
          <ac:spMkLst>
            <pc:docMk/>
            <pc:sldMk cId="2625374015" sldId="2147483138"/>
            <ac:spMk id="3146" creationId="{5FAEEDBE-5DC8-497F-D2AF-E3E87BBF8808}"/>
          </ac:spMkLst>
        </pc:spChg>
        <pc:spChg chg="mod">
          <ac:chgData name="COIGNET Alexis" userId="76ea5e1a-bc88-4802-bf9d-ac1355beb253" providerId="ADAL" clId="{C3137FFD-784B-4699-BFBE-CDA4537DB1A6}" dt="2025-01-14T10:08:30.537" v="222" actId="1076"/>
          <ac:spMkLst>
            <pc:docMk/>
            <pc:sldMk cId="2625374015" sldId="2147483138"/>
            <ac:spMk id="3147" creationId="{74B7D2C1-336D-68C1-BB6D-410FFD5A7EA4}"/>
          </ac:spMkLst>
        </pc:spChg>
        <pc:spChg chg="mod">
          <ac:chgData name="COIGNET Alexis" userId="76ea5e1a-bc88-4802-bf9d-ac1355beb253" providerId="ADAL" clId="{C3137FFD-784B-4699-BFBE-CDA4537DB1A6}" dt="2025-01-14T10:08:30.537" v="222" actId="1076"/>
          <ac:spMkLst>
            <pc:docMk/>
            <pc:sldMk cId="2625374015" sldId="2147483138"/>
            <ac:spMk id="3149" creationId="{17D80644-AD6B-ADAB-FAF4-0C286EE79B0F}"/>
          </ac:spMkLst>
        </pc:spChg>
        <pc:spChg chg="add mod">
          <ac:chgData name="COIGNET Alexis" userId="76ea5e1a-bc88-4802-bf9d-ac1355beb253" providerId="ADAL" clId="{C3137FFD-784B-4699-BFBE-CDA4537DB1A6}" dt="2025-01-14T10:08:47.884" v="227" actId="1076"/>
          <ac:spMkLst>
            <pc:docMk/>
            <pc:sldMk cId="2625374015" sldId="2147483138"/>
            <ac:spMk id="3150" creationId="{9EA5E5C5-9F04-FC5C-67FC-88018C4388FF}"/>
          </ac:spMkLst>
        </pc:spChg>
        <pc:spChg chg="mod topLvl">
          <ac:chgData name="COIGNET Alexis" userId="76ea5e1a-bc88-4802-bf9d-ac1355beb253" providerId="ADAL" clId="{C3137FFD-784B-4699-BFBE-CDA4537DB1A6}" dt="2025-01-14T10:06:05.312" v="172" actId="164"/>
          <ac:spMkLst>
            <pc:docMk/>
            <pc:sldMk cId="2625374015" sldId="2147483138"/>
            <ac:spMk id="3158" creationId="{37648684-AB82-9407-461B-02844ACA61A0}"/>
          </ac:spMkLst>
        </pc:spChg>
        <pc:spChg chg="mod">
          <ac:chgData name="COIGNET Alexis" userId="76ea5e1a-bc88-4802-bf9d-ac1355beb253" providerId="ADAL" clId="{C3137FFD-784B-4699-BFBE-CDA4537DB1A6}" dt="2025-01-09T14:42:23.766" v="66" actId="12788"/>
          <ac:spMkLst>
            <pc:docMk/>
            <pc:sldMk cId="2625374015" sldId="2147483138"/>
            <ac:spMk id="3179" creationId="{59AECF1C-8288-9184-3650-121B6562C01D}"/>
          </ac:spMkLst>
        </pc:spChg>
        <pc:grpChg chg="add mod">
          <ac:chgData name="COIGNET Alexis" userId="76ea5e1a-bc88-4802-bf9d-ac1355beb253" providerId="ADAL" clId="{C3137FFD-784B-4699-BFBE-CDA4537DB1A6}" dt="2025-01-13T13:40:12.064" v="159" actId="164"/>
          <ac:grpSpMkLst>
            <pc:docMk/>
            <pc:sldMk cId="2625374015" sldId="2147483138"/>
            <ac:grpSpMk id="37" creationId="{AD67E01C-2BD8-128C-2BBC-CB3ED4B12864}"/>
          </ac:grpSpMkLst>
        </pc:grpChg>
        <pc:grpChg chg="add mod">
          <ac:chgData name="COIGNET Alexis" userId="76ea5e1a-bc88-4802-bf9d-ac1355beb253" providerId="ADAL" clId="{C3137FFD-784B-4699-BFBE-CDA4537DB1A6}" dt="2025-01-09T14:44:34.304" v="114" actId="164"/>
          <ac:grpSpMkLst>
            <pc:docMk/>
            <pc:sldMk cId="2625374015" sldId="2147483138"/>
            <ac:grpSpMk id="52" creationId="{AE6BFB1C-084E-5642-DFF8-2B5376AD425C}"/>
          </ac:grpSpMkLst>
        </pc:grpChg>
        <pc:grpChg chg="add mod">
          <ac:chgData name="COIGNET Alexis" userId="76ea5e1a-bc88-4802-bf9d-ac1355beb253" providerId="ADAL" clId="{C3137FFD-784B-4699-BFBE-CDA4537DB1A6}" dt="2025-01-14T10:06:05.312" v="172" actId="164"/>
          <ac:grpSpMkLst>
            <pc:docMk/>
            <pc:sldMk cId="2625374015" sldId="2147483138"/>
            <ac:grpSpMk id="58" creationId="{FA42EB98-F4CE-7733-8331-590F967EE93C}"/>
          </ac:grpSpMkLst>
        </pc:grpChg>
        <pc:grpChg chg="mod">
          <ac:chgData name="COIGNET Alexis" userId="76ea5e1a-bc88-4802-bf9d-ac1355beb253" providerId="ADAL" clId="{C3137FFD-784B-4699-BFBE-CDA4537DB1A6}" dt="2025-01-09T14:42:23.766" v="66" actId="12788"/>
          <ac:grpSpMkLst>
            <pc:docMk/>
            <pc:sldMk cId="2625374015" sldId="2147483138"/>
            <ac:grpSpMk id="81" creationId="{E9AABAC4-BCC3-2A1E-B331-3BAFC84ED48E}"/>
          </ac:grpSpMkLst>
        </pc:grpChg>
        <pc:grpChg chg="mod">
          <ac:chgData name="COIGNET Alexis" userId="76ea5e1a-bc88-4802-bf9d-ac1355beb253" providerId="ADAL" clId="{C3137FFD-784B-4699-BFBE-CDA4537DB1A6}" dt="2025-01-14T10:07:17.191" v="187" actId="478"/>
          <ac:grpSpMkLst>
            <pc:docMk/>
            <pc:sldMk cId="2625374015" sldId="2147483138"/>
            <ac:grpSpMk id="82" creationId="{70E0872D-F2BE-F5DC-3501-D3274EFE22DC}"/>
          </ac:grpSpMkLst>
        </pc:grpChg>
        <pc:grpChg chg="add mod">
          <ac:chgData name="COIGNET Alexis" userId="76ea5e1a-bc88-4802-bf9d-ac1355beb253" providerId="ADAL" clId="{C3137FFD-784B-4699-BFBE-CDA4537DB1A6}" dt="2025-01-09T14:44:34.304" v="114" actId="164"/>
          <ac:grpSpMkLst>
            <pc:docMk/>
            <pc:sldMk cId="2625374015" sldId="2147483138"/>
            <ac:grpSpMk id="3139" creationId="{DC736EBA-8870-99FD-5787-C1A80E7C5855}"/>
          </ac:grpSpMkLst>
        </pc:grpChg>
        <pc:grpChg chg="add mod">
          <ac:chgData name="COIGNET Alexis" userId="76ea5e1a-bc88-4802-bf9d-ac1355beb253" providerId="ADAL" clId="{C3137FFD-784B-4699-BFBE-CDA4537DB1A6}" dt="2025-01-14T10:08:30.537" v="222" actId="1076"/>
          <ac:grpSpMkLst>
            <pc:docMk/>
            <pc:sldMk cId="2625374015" sldId="2147483138"/>
            <ac:grpSpMk id="3144" creationId="{2959D569-275C-1D9F-D917-E385DDEF612B}"/>
          </ac:grpSpMkLst>
        </pc:grpChg>
        <pc:picChg chg="add mod modCrop">
          <ac:chgData name="COIGNET Alexis" userId="76ea5e1a-bc88-4802-bf9d-ac1355beb253" providerId="ADAL" clId="{C3137FFD-784B-4699-BFBE-CDA4537DB1A6}" dt="2025-01-13T13:40:12.064" v="159" actId="164"/>
          <ac:picMkLst>
            <pc:docMk/>
            <pc:sldMk cId="2625374015" sldId="2147483138"/>
            <ac:picMk id="4" creationId="{21E27AC5-2065-E347-B352-9EFA1625CAB5}"/>
          </ac:picMkLst>
        </pc:picChg>
        <pc:picChg chg="mod topLvl">
          <ac:chgData name="COIGNET Alexis" userId="76ea5e1a-bc88-4802-bf9d-ac1355beb253" providerId="ADAL" clId="{C3137FFD-784B-4699-BFBE-CDA4537DB1A6}" dt="2025-01-14T10:06:05.312" v="172" actId="164"/>
          <ac:picMkLst>
            <pc:docMk/>
            <pc:sldMk cId="2625374015" sldId="2147483138"/>
            <ac:picMk id="33" creationId="{AD8D0727-65DF-E37A-75C9-90AA5CAB9CFB}"/>
          </ac:picMkLst>
        </pc:picChg>
        <pc:picChg chg="mod">
          <ac:chgData name="COIGNET Alexis" userId="76ea5e1a-bc88-4802-bf9d-ac1355beb253" providerId="ADAL" clId="{C3137FFD-784B-4699-BFBE-CDA4537DB1A6}" dt="2025-01-09T14:42:23.766" v="66" actId="12788"/>
          <ac:picMkLst>
            <pc:docMk/>
            <pc:sldMk cId="2625374015" sldId="2147483138"/>
            <ac:picMk id="125" creationId="{9F632AB2-EC1A-5176-A14D-84130C778FEA}"/>
          </ac:picMkLst>
        </pc:picChg>
        <pc:picChg chg="mod topLvl">
          <ac:chgData name="COIGNET Alexis" userId="76ea5e1a-bc88-4802-bf9d-ac1355beb253" providerId="ADAL" clId="{C3137FFD-784B-4699-BFBE-CDA4537DB1A6}" dt="2025-01-14T10:06:05.312" v="172" actId="164"/>
          <ac:picMkLst>
            <pc:docMk/>
            <pc:sldMk cId="2625374015" sldId="2147483138"/>
            <ac:picMk id="3074" creationId="{B880BCFA-3DBA-A3F0-30B6-19F1A4BA9B4F}"/>
          </ac:picMkLst>
        </pc:picChg>
        <pc:picChg chg="add mod modCrop">
          <ac:chgData name="COIGNET Alexis" userId="76ea5e1a-bc88-4802-bf9d-ac1355beb253" providerId="ADAL" clId="{C3137FFD-784B-4699-BFBE-CDA4537DB1A6}" dt="2025-01-09T14:44:34.304" v="114" actId="164"/>
          <ac:picMkLst>
            <pc:docMk/>
            <pc:sldMk cId="2625374015" sldId="2147483138"/>
            <ac:picMk id="3138" creationId="{F53E3496-01D8-AC1C-F422-473122264280}"/>
          </ac:picMkLst>
        </pc:picChg>
        <pc:picChg chg="add mod modCrop">
          <ac:chgData name="COIGNET Alexis" userId="76ea5e1a-bc88-4802-bf9d-ac1355beb253" providerId="ADAL" clId="{C3137FFD-784B-4699-BFBE-CDA4537DB1A6}" dt="2025-01-14T10:07:22.710" v="209" actId="1036"/>
          <ac:picMkLst>
            <pc:docMk/>
            <pc:sldMk cId="2625374015" sldId="2147483138"/>
            <ac:picMk id="3141" creationId="{DA8C0150-F379-A8C8-3A58-FE1B417D6FD4}"/>
          </ac:picMkLst>
        </pc:picChg>
        <pc:picChg chg="mod">
          <ac:chgData name="COIGNET Alexis" userId="76ea5e1a-bc88-4802-bf9d-ac1355beb253" providerId="ADAL" clId="{C3137FFD-784B-4699-BFBE-CDA4537DB1A6}" dt="2025-01-14T10:08:30.537" v="222" actId="1076"/>
          <ac:picMkLst>
            <pc:docMk/>
            <pc:sldMk cId="2625374015" sldId="2147483138"/>
            <ac:picMk id="3148" creationId="{E7C40E3B-57C2-C1BC-DEE5-334E8F17E379}"/>
          </ac:picMkLst>
        </pc:picChg>
        <pc:cxnChg chg="mod">
          <ac:chgData name="COIGNET Alexis" userId="76ea5e1a-bc88-4802-bf9d-ac1355beb253" providerId="ADAL" clId="{C3137FFD-784B-4699-BFBE-CDA4537DB1A6}" dt="2025-01-09T14:42:23.766" v="66" actId="12788"/>
          <ac:cxnSpMkLst>
            <pc:docMk/>
            <pc:sldMk cId="2625374015" sldId="2147483138"/>
            <ac:cxnSpMk id="3086" creationId="{D53B157C-F0A8-6529-A2AB-AE8632C6FBE4}"/>
          </ac:cxnSpMkLst>
        </pc:cxnChg>
        <pc:cxnChg chg="add del mod">
          <ac:chgData name="COIGNET Alexis" userId="76ea5e1a-bc88-4802-bf9d-ac1355beb253" providerId="ADAL" clId="{C3137FFD-784B-4699-BFBE-CDA4537DB1A6}" dt="2025-01-14T10:08:39.642" v="224" actId="21"/>
          <ac:cxnSpMkLst>
            <pc:docMk/>
            <pc:sldMk cId="2625374015" sldId="2147483138"/>
            <ac:cxnSpMk id="3099" creationId="{23464252-47C5-A23E-FC27-271D04290A9C}"/>
          </ac:cxnSpMkLst>
        </pc:cxnChg>
        <pc:cxnChg chg="add mod">
          <ac:chgData name="COIGNET Alexis" userId="76ea5e1a-bc88-4802-bf9d-ac1355beb253" providerId="ADAL" clId="{C3137FFD-784B-4699-BFBE-CDA4537DB1A6}" dt="2025-01-09T14:45:18.465" v="120" actId="1076"/>
          <ac:cxnSpMkLst>
            <pc:docMk/>
            <pc:sldMk cId="2625374015" sldId="2147483138"/>
            <ac:cxnSpMk id="3140" creationId="{869CBA01-E8A4-4A42-892D-985C58103AAB}"/>
          </ac:cxnSpMkLst>
        </pc:cxnChg>
        <pc:cxnChg chg="add mod">
          <ac:chgData name="COIGNET Alexis" userId="76ea5e1a-bc88-4802-bf9d-ac1355beb253" providerId="ADAL" clId="{C3137FFD-784B-4699-BFBE-CDA4537DB1A6}" dt="2025-01-14T10:09:23.185" v="229" actId="14100"/>
          <ac:cxnSpMkLst>
            <pc:docMk/>
            <pc:sldMk cId="2625374015" sldId="2147483138"/>
            <ac:cxnSpMk id="3151" creationId="{16F7FD7B-2415-7688-11A2-A8388DF321B8}"/>
          </ac:cxnSpMkLst>
        </pc:cxnChg>
      </pc:sldChg>
    </pc:docChg>
  </pc:docChgLst>
  <pc:docChgLst>
    <pc:chgData name="Stéphanie Chatagner" userId="43a90851-419b-46ca-ab03-9ac21f8b019f" providerId="ADAL" clId="{33658D7A-77E3-4FDE-97A6-5D77EA1A725F}"/>
    <pc:docChg chg="undo redo custSel addSld delSld modSld sldOrd modSection">
      <pc:chgData name="Stéphanie Chatagner" userId="43a90851-419b-46ca-ab03-9ac21f8b019f" providerId="ADAL" clId="{33658D7A-77E3-4FDE-97A6-5D77EA1A725F}" dt="2022-12-20T16:27:34.372" v="26699" actId="20577"/>
      <pc:docMkLst>
        <pc:docMk/>
      </pc:docMkLst>
      <pc:sldChg chg="modSp add del mod">
        <pc:chgData name="Stéphanie Chatagner" userId="43a90851-419b-46ca-ab03-9ac21f8b019f" providerId="ADAL" clId="{33658D7A-77E3-4FDE-97A6-5D77EA1A725F}" dt="2022-12-12T20:09:24.378" v="20974" actId="2696"/>
        <pc:sldMkLst>
          <pc:docMk/>
          <pc:sldMk cId="3678818485" sldId="298"/>
        </pc:sldMkLst>
      </pc:sldChg>
      <pc:sldChg chg="modSp add del mod">
        <pc:chgData name="Stéphanie Chatagner" userId="43a90851-419b-46ca-ab03-9ac21f8b019f" providerId="ADAL" clId="{33658D7A-77E3-4FDE-97A6-5D77EA1A725F}" dt="2022-12-08T07:41:23.233" v="9745" actId="2696"/>
        <pc:sldMkLst>
          <pc:docMk/>
          <pc:sldMk cId="4077703197" sldId="407"/>
        </pc:sldMkLst>
      </pc:sldChg>
      <pc:sldChg chg="delSp modSp add del">
        <pc:chgData name="Stéphanie Chatagner" userId="43a90851-419b-46ca-ab03-9ac21f8b019f" providerId="ADAL" clId="{33658D7A-77E3-4FDE-97A6-5D77EA1A725F}" dt="2022-12-07T12:22:41.740" v="7379" actId="2696"/>
        <pc:sldMkLst>
          <pc:docMk/>
          <pc:sldMk cId="1998472185" sldId="2146847495"/>
        </pc:sldMkLst>
      </pc:sldChg>
      <pc:sldChg chg="modSp del mod">
        <pc:chgData name="Stéphanie Chatagner" userId="43a90851-419b-46ca-ab03-9ac21f8b019f" providerId="ADAL" clId="{33658D7A-77E3-4FDE-97A6-5D77EA1A725F}" dt="2022-12-06T16:16:49.182" v="5864" actId="2696"/>
        <pc:sldMkLst>
          <pc:docMk/>
          <pc:sldMk cId="2161283367" sldId="2147375478"/>
        </pc:sldMkLst>
      </pc:sldChg>
      <pc:sldChg chg="addSp delSp modSp mod">
        <pc:chgData name="Stéphanie Chatagner" userId="43a90851-419b-46ca-ab03-9ac21f8b019f" providerId="ADAL" clId="{33658D7A-77E3-4FDE-97A6-5D77EA1A725F}" dt="2022-12-08T16:24:58.936" v="12398" actId="20577"/>
        <pc:sldMkLst>
          <pc:docMk/>
          <pc:sldMk cId="3564186676" sldId="2147375479"/>
        </pc:sldMkLst>
      </pc:sldChg>
      <pc:sldChg chg="addSp delSp modSp mod">
        <pc:chgData name="Stéphanie Chatagner" userId="43a90851-419b-46ca-ab03-9ac21f8b019f" providerId="ADAL" clId="{33658D7A-77E3-4FDE-97A6-5D77EA1A725F}" dt="2022-12-08T14:17:37.900" v="12270" actId="207"/>
        <pc:sldMkLst>
          <pc:docMk/>
          <pc:sldMk cId="1200302629" sldId="2147375483"/>
        </pc:sldMkLst>
      </pc:sldChg>
      <pc:sldChg chg="delSp mod">
        <pc:chgData name="Stéphanie Chatagner" userId="43a90851-419b-46ca-ab03-9ac21f8b019f" providerId="ADAL" clId="{33658D7A-77E3-4FDE-97A6-5D77EA1A725F}" dt="2022-12-12T17:26:54.371" v="20190" actId="478"/>
        <pc:sldMkLst>
          <pc:docMk/>
          <pc:sldMk cId="604372831" sldId="2147469057"/>
        </pc:sldMkLst>
      </pc:sldChg>
      <pc:sldChg chg="addSp delSp modSp mod modClrScheme chgLayout">
        <pc:chgData name="Stéphanie Chatagner" userId="43a90851-419b-46ca-ab03-9ac21f8b019f" providerId="ADAL" clId="{33658D7A-77E3-4FDE-97A6-5D77EA1A725F}" dt="2022-12-16T17:00:43.116" v="26509" actId="700"/>
        <pc:sldMkLst>
          <pc:docMk/>
          <pc:sldMk cId="3558143222" sldId="2147469082"/>
        </pc:sldMkLst>
      </pc:sldChg>
      <pc:sldChg chg="modSp mod">
        <pc:chgData name="Stéphanie Chatagner" userId="43a90851-419b-46ca-ab03-9ac21f8b019f" providerId="ADAL" clId="{33658D7A-77E3-4FDE-97A6-5D77EA1A725F}" dt="2022-12-16T11:04:04.866" v="24476" actId="20577"/>
        <pc:sldMkLst>
          <pc:docMk/>
          <pc:sldMk cId="3192763856" sldId="2147469087"/>
        </pc:sldMkLst>
      </pc:sldChg>
      <pc:sldChg chg="add del mod modShow">
        <pc:chgData name="Stéphanie Chatagner" userId="43a90851-419b-46ca-ab03-9ac21f8b019f" providerId="ADAL" clId="{33658D7A-77E3-4FDE-97A6-5D77EA1A725F}" dt="2022-12-16T10:05:49.350" v="23925" actId="2696"/>
        <pc:sldMkLst>
          <pc:docMk/>
          <pc:sldMk cId="817872428" sldId="2147469103"/>
        </pc:sldMkLst>
      </pc:sldChg>
      <pc:sldChg chg="modSp add del mod">
        <pc:chgData name="Stéphanie Chatagner" userId="43a90851-419b-46ca-ab03-9ac21f8b019f" providerId="ADAL" clId="{33658D7A-77E3-4FDE-97A6-5D77EA1A725F}" dt="2022-12-08T17:01:42.637" v="12463" actId="2696"/>
        <pc:sldMkLst>
          <pc:docMk/>
          <pc:sldMk cId="1917964465" sldId="2147469104"/>
        </pc:sldMkLst>
      </pc:sldChg>
      <pc:sldChg chg="modSp add del">
        <pc:chgData name="Stéphanie Chatagner" userId="43a90851-419b-46ca-ab03-9ac21f8b019f" providerId="ADAL" clId="{33658D7A-77E3-4FDE-97A6-5D77EA1A725F}" dt="2022-12-08T17:01:42.637" v="12463" actId="2696"/>
        <pc:sldMkLst>
          <pc:docMk/>
          <pc:sldMk cId="1100371029" sldId="2147469105"/>
        </pc:sldMkLst>
      </pc:sldChg>
      <pc:sldChg chg="addSp delSp mod modCm">
        <pc:chgData name="Stéphanie Chatagner" userId="43a90851-419b-46ca-ab03-9ac21f8b019f" providerId="ADAL" clId="{33658D7A-77E3-4FDE-97A6-5D77EA1A725F}" dt="2022-12-16T09:37:34.432" v="23729"/>
        <pc:sldMkLst>
          <pc:docMk/>
          <pc:sldMk cId="3241130360" sldId="2147469112"/>
        </pc:sldMkLst>
      </pc:sldChg>
      <pc:sldChg chg="modSp mod modCm">
        <pc:chgData name="Stéphanie Chatagner" userId="43a90851-419b-46ca-ab03-9ac21f8b019f" providerId="ADAL" clId="{33658D7A-77E3-4FDE-97A6-5D77EA1A725F}" dt="2022-12-16T10:47:40.008" v="24299" actId="208"/>
        <pc:sldMkLst>
          <pc:docMk/>
          <pc:sldMk cId="1312330934" sldId="2147469122"/>
        </pc:sldMkLst>
      </pc:sldChg>
      <pc:sldChg chg="modSp add del">
        <pc:chgData name="Stéphanie Chatagner" userId="43a90851-419b-46ca-ab03-9ac21f8b019f" providerId="ADAL" clId="{33658D7A-77E3-4FDE-97A6-5D77EA1A725F}" dt="2022-12-08T17:45:26.930" v="12610" actId="2696"/>
        <pc:sldMkLst>
          <pc:docMk/>
          <pc:sldMk cId="1299154118" sldId="2147469124"/>
        </pc:sldMkLst>
      </pc:sldChg>
      <pc:sldChg chg="modSp add del">
        <pc:chgData name="Stéphanie Chatagner" userId="43a90851-419b-46ca-ab03-9ac21f8b019f" providerId="ADAL" clId="{33658D7A-77E3-4FDE-97A6-5D77EA1A725F}" dt="2022-12-08T17:45:26.930" v="12610" actId="2696"/>
        <pc:sldMkLst>
          <pc:docMk/>
          <pc:sldMk cId="1662819439" sldId="2147469125"/>
        </pc:sldMkLst>
      </pc:sldChg>
      <pc:sldChg chg="addSp modSp add del mod modShow">
        <pc:chgData name="Stéphanie Chatagner" userId="43a90851-419b-46ca-ab03-9ac21f8b019f" providerId="ADAL" clId="{33658D7A-77E3-4FDE-97A6-5D77EA1A725F}" dt="2022-12-06T16:17:13.653" v="5865" actId="2696"/>
        <pc:sldMkLst>
          <pc:docMk/>
          <pc:sldMk cId="2413300759" sldId="2147469163"/>
        </pc:sldMkLst>
      </pc:sldChg>
      <pc:sldChg chg="addSp modSp mod">
        <pc:chgData name="Stéphanie Chatagner" userId="43a90851-419b-46ca-ab03-9ac21f8b019f" providerId="ADAL" clId="{33658D7A-77E3-4FDE-97A6-5D77EA1A725F}" dt="2022-12-16T10:41:17.667" v="24218" actId="552"/>
        <pc:sldMkLst>
          <pc:docMk/>
          <pc:sldMk cId="2433366989" sldId="2147469201"/>
        </pc:sldMkLst>
      </pc:sldChg>
      <pc:sldChg chg="delSp mod">
        <pc:chgData name="Stéphanie Chatagner" userId="43a90851-419b-46ca-ab03-9ac21f8b019f" providerId="ADAL" clId="{33658D7A-77E3-4FDE-97A6-5D77EA1A725F}" dt="2022-12-12T16:41:28.943" v="19728" actId="478"/>
        <pc:sldMkLst>
          <pc:docMk/>
          <pc:sldMk cId="875313532" sldId="2147469202"/>
        </pc:sldMkLst>
      </pc:sldChg>
      <pc:sldChg chg="addSp delSp modSp mod ord">
        <pc:chgData name="Stéphanie Chatagner" userId="43a90851-419b-46ca-ab03-9ac21f8b019f" providerId="ADAL" clId="{33658D7A-77E3-4FDE-97A6-5D77EA1A725F}" dt="2022-12-05T16:54:19.695" v="421" actId="1076"/>
        <pc:sldMkLst>
          <pc:docMk/>
          <pc:sldMk cId="2945063928" sldId="2147469208"/>
        </pc:sldMkLst>
      </pc:sldChg>
      <pc:sldChg chg="modSp mod ord modShow">
        <pc:chgData name="Stéphanie Chatagner" userId="43a90851-419b-46ca-ab03-9ac21f8b019f" providerId="ADAL" clId="{33658D7A-77E3-4FDE-97A6-5D77EA1A725F}" dt="2022-12-16T10:43:49.803" v="24244" actId="14100"/>
        <pc:sldMkLst>
          <pc:docMk/>
          <pc:sldMk cId="1832773" sldId="2147469209"/>
        </pc:sldMkLst>
      </pc:sldChg>
      <pc:sldChg chg="addSp delSp modSp mod modShow">
        <pc:chgData name="Stéphanie Chatagner" userId="43a90851-419b-46ca-ab03-9ac21f8b019f" providerId="ADAL" clId="{33658D7A-77E3-4FDE-97A6-5D77EA1A725F}" dt="2022-12-07T15:37:16.851" v="9026" actId="1076"/>
        <pc:sldMkLst>
          <pc:docMk/>
          <pc:sldMk cId="1708213307" sldId="2147469210"/>
        </pc:sldMkLst>
      </pc:sldChg>
      <pc:sldChg chg="addSp delSp modSp del mod modShow">
        <pc:chgData name="Stéphanie Chatagner" userId="43a90851-419b-46ca-ab03-9ac21f8b019f" providerId="ADAL" clId="{33658D7A-77E3-4FDE-97A6-5D77EA1A725F}" dt="2022-12-08T07:41:23.233" v="9745" actId="2696"/>
        <pc:sldMkLst>
          <pc:docMk/>
          <pc:sldMk cId="3952049955" sldId="2147469211"/>
        </pc:sldMkLst>
      </pc:sldChg>
      <pc:sldChg chg="addSp modSp mod">
        <pc:chgData name="Stéphanie Chatagner" userId="43a90851-419b-46ca-ab03-9ac21f8b019f" providerId="ADAL" clId="{33658D7A-77E3-4FDE-97A6-5D77EA1A725F}" dt="2022-12-12T11:21:00.954" v="17291" actId="20577"/>
        <pc:sldMkLst>
          <pc:docMk/>
          <pc:sldMk cId="1982229707" sldId="2147469213"/>
        </pc:sldMkLst>
      </pc:sldChg>
      <pc:sldChg chg="addSp delSp modSp mod ord">
        <pc:chgData name="Stéphanie Chatagner" userId="43a90851-419b-46ca-ab03-9ac21f8b019f" providerId="ADAL" clId="{33658D7A-77E3-4FDE-97A6-5D77EA1A725F}" dt="2022-12-16T17:10:22.989" v="26679" actId="1038"/>
        <pc:sldMkLst>
          <pc:docMk/>
          <pc:sldMk cId="1578203440" sldId="2147469214"/>
        </pc:sldMkLst>
      </pc:sldChg>
      <pc:sldChg chg="delSp modSp new mod modShow">
        <pc:chgData name="Stéphanie Chatagner" userId="43a90851-419b-46ca-ab03-9ac21f8b019f" providerId="ADAL" clId="{33658D7A-77E3-4FDE-97A6-5D77EA1A725F}" dt="2022-12-05T17:27:19.712" v="449" actId="729"/>
        <pc:sldMkLst>
          <pc:docMk/>
          <pc:sldMk cId="1645854935" sldId="2147469216"/>
        </pc:sldMkLst>
      </pc:sldChg>
      <pc:sldChg chg="addSp delSp modSp mod">
        <pc:chgData name="Stéphanie Chatagner" userId="43a90851-419b-46ca-ab03-9ac21f8b019f" providerId="ADAL" clId="{33658D7A-77E3-4FDE-97A6-5D77EA1A725F}" dt="2022-12-16T11:04:51.937" v="24480" actId="20577"/>
        <pc:sldMkLst>
          <pc:docMk/>
          <pc:sldMk cId="3937719075" sldId="2147469217"/>
        </pc:sldMkLst>
      </pc:sldChg>
      <pc:sldChg chg="addSp delSp modSp mod">
        <pc:chgData name="Stéphanie Chatagner" userId="43a90851-419b-46ca-ab03-9ac21f8b019f" providerId="ADAL" clId="{33658D7A-77E3-4FDE-97A6-5D77EA1A725F}" dt="2022-12-16T11:05:34.560" v="24484" actId="20577"/>
        <pc:sldMkLst>
          <pc:docMk/>
          <pc:sldMk cId="1451093172" sldId="2147469218"/>
        </pc:sldMkLst>
      </pc:sldChg>
      <pc:sldChg chg="addSp delSp modSp mod">
        <pc:chgData name="Stéphanie Chatagner" userId="43a90851-419b-46ca-ab03-9ac21f8b019f" providerId="ADAL" clId="{33658D7A-77E3-4FDE-97A6-5D77EA1A725F}" dt="2022-12-16T09:06:44.369" v="23348" actId="552"/>
        <pc:sldMkLst>
          <pc:docMk/>
          <pc:sldMk cId="454162624" sldId="2147469219"/>
        </pc:sldMkLst>
      </pc:sldChg>
      <pc:sldChg chg="addSp delSp modSp del mod">
        <pc:chgData name="Stéphanie Chatagner" userId="43a90851-419b-46ca-ab03-9ac21f8b019f" providerId="ADAL" clId="{33658D7A-77E3-4FDE-97A6-5D77EA1A725F}" dt="2022-12-06T12:46:32.070" v="2239" actId="2696"/>
        <pc:sldMkLst>
          <pc:docMk/>
          <pc:sldMk cId="954557141" sldId="2147469220"/>
        </pc:sldMkLst>
      </pc:sldChg>
      <pc:sldChg chg="add del ord">
        <pc:chgData name="Stéphanie Chatagner" userId="43a90851-419b-46ca-ab03-9ac21f8b019f" providerId="ADAL" clId="{33658D7A-77E3-4FDE-97A6-5D77EA1A725F}" dt="2022-12-06T14:56:16.379" v="3767" actId="2696"/>
        <pc:sldMkLst>
          <pc:docMk/>
          <pc:sldMk cId="1867560956" sldId="2147469221"/>
        </pc:sldMkLst>
      </pc:sldChg>
      <pc:sldChg chg="addSp delSp modSp mod ord modNotesTx">
        <pc:chgData name="Stéphanie Chatagner" userId="43a90851-419b-46ca-ab03-9ac21f8b019f" providerId="ADAL" clId="{33658D7A-77E3-4FDE-97A6-5D77EA1A725F}" dt="2022-12-16T15:23:46.986" v="26348" actId="20577"/>
        <pc:sldMkLst>
          <pc:docMk/>
          <pc:sldMk cId="1723624365" sldId="2147469222"/>
        </pc:sldMkLst>
      </pc:sldChg>
      <pc:sldChg chg="addSp delSp modSp mod">
        <pc:chgData name="Stéphanie Chatagner" userId="43a90851-419b-46ca-ab03-9ac21f8b019f" providerId="ADAL" clId="{33658D7A-77E3-4FDE-97A6-5D77EA1A725F}" dt="2022-12-09T17:15:08.258" v="15138" actId="164"/>
        <pc:sldMkLst>
          <pc:docMk/>
          <pc:sldMk cId="1949532902" sldId="2147469223"/>
        </pc:sldMkLst>
      </pc:sldChg>
      <pc:sldChg chg="addSp delSp modSp add del mod modClrScheme modAnim modShow chgLayout modNotesTx">
        <pc:chgData name="Stéphanie Chatagner" userId="43a90851-419b-46ca-ab03-9ac21f8b019f" providerId="ADAL" clId="{33658D7A-77E3-4FDE-97A6-5D77EA1A725F}" dt="2022-12-16T15:23:23.179" v="26347" actId="20577"/>
        <pc:sldMkLst>
          <pc:docMk/>
          <pc:sldMk cId="1007324685" sldId="2147469225"/>
        </pc:sldMkLst>
      </pc:sldChg>
      <pc:sldChg chg="addSp delSp modSp new del mod ord modShow">
        <pc:chgData name="Stéphanie Chatagner" userId="43a90851-419b-46ca-ab03-9ac21f8b019f" providerId="ADAL" clId="{33658D7A-77E3-4FDE-97A6-5D77EA1A725F}" dt="2022-12-06T14:56:02.262" v="3765" actId="2696"/>
        <pc:sldMkLst>
          <pc:docMk/>
          <pc:sldMk cId="3258600264" sldId="2147469226"/>
        </pc:sldMkLst>
      </pc:sldChg>
      <pc:sldChg chg="addSp delSp modSp add del mod ord modShow">
        <pc:chgData name="Stéphanie Chatagner" userId="43a90851-419b-46ca-ab03-9ac21f8b019f" providerId="ADAL" clId="{33658D7A-77E3-4FDE-97A6-5D77EA1A725F}" dt="2022-12-06T13:18:34.641" v="2671" actId="2696"/>
        <pc:sldMkLst>
          <pc:docMk/>
          <pc:sldMk cId="3733731725" sldId="2147469227"/>
        </pc:sldMkLst>
      </pc:sldChg>
      <pc:sldChg chg="new del">
        <pc:chgData name="Stéphanie Chatagner" userId="43a90851-419b-46ca-ab03-9ac21f8b019f" providerId="ADAL" clId="{33658D7A-77E3-4FDE-97A6-5D77EA1A725F}" dt="2022-12-06T12:40:02.843" v="2181" actId="2696"/>
        <pc:sldMkLst>
          <pc:docMk/>
          <pc:sldMk cId="3284020057" sldId="2147469228"/>
        </pc:sldMkLst>
      </pc:sldChg>
      <pc:sldChg chg="addSp delSp modSp add mod">
        <pc:chgData name="Stéphanie Chatagner" userId="43a90851-419b-46ca-ab03-9ac21f8b019f" providerId="ADAL" clId="{33658D7A-77E3-4FDE-97A6-5D77EA1A725F}" dt="2022-12-20T16:27:34.372" v="26699" actId="20577"/>
        <pc:sldMkLst>
          <pc:docMk/>
          <pc:sldMk cId="3536625796" sldId="2147469228"/>
        </pc:sldMkLst>
      </pc:sldChg>
      <pc:sldChg chg="addSp delSp modSp mod">
        <pc:chgData name="Stéphanie Chatagner" userId="43a90851-419b-46ca-ab03-9ac21f8b019f" providerId="ADAL" clId="{33658D7A-77E3-4FDE-97A6-5D77EA1A725F}" dt="2022-12-16T17:15:15.905" v="26698" actId="255"/>
        <pc:sldMkLst>
          <pc:docMk/>
          <pc:sldMk cId="92527006" sldId="2147469229"/>
        </pc:sldMkLst>
      </pc:sldChg>
      <pc:sldChg chg="addSp delSp modSp add mod modShow">
        <pc:chgData name="Stéphanie Chatagner" userId="43a90851-419b-46ca-ab03-9ac21f8b019f" providerId="ADAL" clId="{33658D7A-77E3-4FDE-97A6-5D77EA1A725F}" dt="2022-12-06T14:56:30.583" v="3769"/>
        <pc:sldMkLst>
          <pc:docMk/>
          <pc:sldMk cId="3901947206" sldId="2147469229"/>
        </pc:sldMkLst>
      </pc:sldChg>
      <pc:sldChg chg="addSp delSp modSp add mod">
        <pc:chgData name="Stéphanie Chatagner" userId="43a90851-419b-46ca-ab03-9ac21f8b019f" providerId="ADAL" clId="{33658D7A-77E3-4FDE-97A6-5D77EA1A725F}" dt="2022-12-16T17:15:10.281" v="26697" actId="255"/>
        <pc:sldMkLst>
          <pc:docMk/>
          <pc:sldMk cId="3934546814" sldId="2147469230"/>
        </pc:sldMkLst>
      </pc:sldChg>
      <pc:sldChg chg="addSp delSp modSp new del mod modShow">
        <pc:chgData name="Stéphanie Chatagner" userId="43a90851-419b-46ca-ab03-9ac21f8b019f" providerId="ADAL" clId="{33658D7A-77E3-4FDE-97A6-5D77EA1A725F}" dt="2022-12-07T15:58:36.050" v="9286" actId="2696"/>
        <pc:sldMkLst>
          <pc:docMk/>
          <pc:sldMk cId="598516158" sldId="2147469231"/>
        </pc:sldMkLst>
      </pc:sldChg>
      <pc:sldChg chg="addSp delSp modSp add mod">
        <pc:chgData name="Stéphanie Chatagner" userId="43a90851-419b-46ca-ab03-9ac21f8b019f" providerId="ADAL" clId="{33658D7A-77E3-4FDE-97A6-5D77EA1A725F}" dt="2022-12-08T18:52:53.650" v="13114" actId="6549"/>
        <pc:sldMkLst>
          <pc:docMk/>
          <pc:sldMk cId="1602959095" sldId="2147469232"/>
        </pc:sldMkLst>
      </pc:sldChg>
      <pc:sldChg chg="addSp delSp modSp add mod modCm">
        <pc:chgData name="Stéphanie Chatagner" userId="43a90851-419b-46ca-ab03-9ac21f8b019f" providerId="ADAL" clId="{33658D7A-77E3-4FDE-97A6-5D77EA1A725F}" dt="2022-12-16T16:54:48.272" v="26502" actId="20577"/>
        <pc:sldMkLst>
          <pc:docMk/>
          <pc:sldMk cId="4175321075" sldId="2147469233"/>
        </pc:sldMkLst>
      </pc:sldChg>
      <pc:sldChg chg="addSp delSp modSp add mod modCm">
        <pc:chgData name="Stéphanie Chatagner" userId="43a90851-419b-46ca-ab03-9ac21f8b019f" providerId="ADAL" clId="{33658D7A-77E3-4FDE-97A6-5D77EA1A725F}" dt="2022-12-16T16:55:16.920" v="26507" actId="20577"/>
        <pc:sldMkLst>
          <pc:docMk/>
          <pc:sldMk cId="137568215" sldId="2147469234"/>
        </pc:sldMkLst>
      </pc:sldChg>
      <pc:sldChg chg="addSp delSp modSp add del mod">
        <pc:chgData name="Stéphanie Chatagner" userId="43a90851-419b-46ca-ab03-9ac21f8b019f" providerId="ADAL" clId="{33658D7A-77E3-4FDE-97A6-5D77EA1A725F}" dt="2022-12-16T13:19:49.564" v="25998" actId="2696"/>
        <pc:sldMkLst>
          <pc:docMk/>
          <pc:sldMk cId="560806068" sldId="2147469235"/>
        </pc:sldMkLst>
      </pc:sldChg>
      <pc:sldChg chg="addSp delSp modSp add mod modNotesTx">
        <pc:chgData name="Stéphanie Chatagner" userId="43a90851-419b-46ca-ab03-9ac21f8b019f" providerId="ADAL" clId="{33658D7A-77E3-4FDE-97A6-5D77EA1A725F}" dt="2022-12-16T15:30:00.816" v="26349"/>
        <pc:sldMkLst>
          <pc:docMk/>
          <pc:sldMk cId="1014251268" sldId="2147469236"/>
        </pc:sldMkLst>
      </pc:sldChg>
      <pc:sldChg chg="addSp delSp modSp add mod">
        <pc:chgData name="Stéphanie Chatagner" userId="43a90851-419b-46ca-ab03-9ac21f8b019f" providerId="ADAL" clId="{33658D7A-77E3-4FDE-97A6-5D77EA1A725F}" dt="2022-12-16T13:20:11.443" v="26002" actId="478"/>
        <pc:sldMkLst>
          <pc:docMk/>
          <pc:sldMk cId="2862034825" sldId="2147469237"/>
        </pc:sldMkLst>
      </pc:sldChg>
      <pc:sldChg chg="addSp delSp modSp add del mod modShow">
        <pc:chgData name="Stéphanie Chatagner" userId="43a90851-419b-46ca-ab03-9ac21f8b019f" providerId="ADAL" clId="{33658D7A-77E3-4FDE-97A6-5D77EA1A725F}" dt="2022-12-16T08:01:37.301" v="23306" actId="2696"/>
        <pc:sldMkLst>
          <pc:docMk/>
          <pc:sldMk cId="2150747149" sldId="2147469238"/>
        </pc:sldMkLst>
      </pc:sldChg>
      <pc:sldChg chg="new del">
        <pc:chgData name="Stéphanie Chatagner" userId="43a90851-419b-46ca-ab03-9ac21f8b019f" providerId="ADAL" clId="{33658D7A-77E3-4FDE-97A6-5D77EA1A725F}" dt="2022-12-07T16:36:17.943" v="9539" actId="680"/>
        <pc:sldMkLst>
          <pc:docMk/>
          <pc:sldMk cId="3733701777" sldId="2147469239"/>
        </pc:sldMkLst>
      </pc:sldChg>
      <pc:sldChg chg="addSp delSp modSp new mod ord">
        <pc:chgData name="Stéphanie Chatagner" userId="43a90851-419b-46ca-ab03-9ac21f8b019f" providerId="ADAL" clId="{33658D7A-77E3-4FDE-97A6-5D77EA1A725F}" dt="2022-12-08T16:31:04.732" v="12440" actId="255"/>
        <pc:sldMkLst>
          <pc:docMk/>
          <pc:sldMk cId="4014796270" sldId="2147469239"/>
        </pc:sldMkLst>
      </pc:sldChg>
      <pc:sldChg chg="addSp modSp mod modNotesTx">
        <pc:chgData name="Stéphanie Chatagner" userId="43a90851-419b-46ca-ab03-9ac21f8b019f" providerId="ADAL" clId="{33658D7A-77E3-4FDE-97A6-5D77EA1A725F}" dt="2022-12-16T15:36:07.449" v="26350" actId="20577"/>
        <pc:sldMkLst>
          <pc:docMk/>
          <pc:sldMk cId="1863786756" sldId="2147469240"/>
        </pc:sldMkLst>
      </pc:sldChg>
      <pc:sldChg chg="addSp delSp modSp mod">
        <pc:chgData name="Stéphanie Chatagner" userId="43a90851-419b-46ca-ab03-9ac21f8b019f" providerId="ADAL" clId="{33658D7A-77E3-4FDE-97A6-5D77EA1A725F}" dt="2022-12-08T09:02:11.243" v="11126" actId="1076"/>
        <pc:sldMkLst>
          <pc:docMk/>
          <pc:sldMk cId="2868521996" sldId="2147469245"/>
        </pc:sldMkLst>
      </pc:sldChg>
      <pc:sldChg chg="addSp delSp modSp new add del mod ord modShow">
        <pc:chgData name="Stéphanie Chatagner" userId="43a90851-419b-46ca-ab03-9ac21f8b019f" providerId="ADAL" clId="{33658D7A-77E3-4FDE-97A6-5D77EA1A725F}" dt="2022-12-08T16:21:50.455" v="12374" actId="478"/>
        <pc:sldMkLst>
          <pc:docMk/>
          <pc:sldMk cId="232541513" sldId="2147469246"/>
        </pc:sldMkLst>
      </pc:sldChg>
      <pc:sldChg chg="add del">
        <pc:chgData name="Stéphanie Chatagner" userId="43a90851-419b-46ca-ab03-9ac21f8b019f" providerId="ADAL" clId="{33658D7A-77E3-4FDE-97A6-5D77EA1A725F}" dt="2022-12-08T08:39:01.282" v="10733"/>
        <pc:sldMkLst>
          <pc:docMk/>
          <pc:sldMk cId="2552657606" sldId="2147469246"/>
        </pc:sldMkLst>
      </pc:sldChg>
      <pc:sldChg chg="addSp delSp modSp mod">
        <pc:chgData name="Stéphanie Chatagner" userId="43a90851-419b-46ca-ab03-9ac21f8b019f" providerId="ADAL" clId="{33658D7A-77E3-4FDE-97A6-5D77EA1A725F}" dt="2022-12-16T17:01:45.848" v="26510" actId="167"/>
        <pc:sldMkLst>
          <pc:docMk/>
          <pc:sldMk cId="1717254701" sldId="2147469247"/>
        </pc:sldMkLst>
      </pc:sldChg>
      <pc:sldChg chg="addSp delSp modSp">
        <pc:chgData name="Stéphanie Chatagner" userId="43a90851-419b-46ca-ab03-9ac21f8b019f" providerId="ADAL" clId="{33658D7A-77E3-4FDE-97A6-5D77EA1A725F}" dt="2022-12-08T10:32:48.225" v="11319" actId="478"/>
        <pc:sldMkLst>
          <pc:docMk/>
          <pc:sldMk cId="2230640638" sldId="2147469248"/>
        </pc:sldMkLst>
      </pc:sldChg>
      <pc:sldChg chg="addSp modSp add mod modShow">
        <pc:chgData name="Stéphanie Chatagner" userId="43a90851-419b-46ca-ab03-9ac21f8b019f" providerId="ADAL" clId="{33658D7A-77E3-4FDE-97A6-5D77EA1A725F}" dt="2022-12-08T16:21:12.956" v="12372" actId="729"/>
        <pc:sldMkLst>
          <pc:docMk/>
          <pc:sldMk cId="3263479812" sldId="2147469249"/>
        </pc:sldMkLst>
      </pc:sldChg>
      <pc:sldChg chg="addSp delSp modSp add del mod modShow">
        <pc:chgData name="Stéphanie Chatagner" userId="43a90851-419b-46ca-ab03-9ac21f8b019f" providerId="ADAL" clId="{33658D7A-77E3-4FDE-97A6-5D77EA1A725F}" dt="2022-12-16T08:02:37.324" v="23307" actId="2696"/>
        <pc:sldMkLst>
          <pc:docMk/>
          <pc:sldMk cId="1789244579" sldId="2147469250"/>
        </pc:sldMkLst>
      </pc:sldChg>
      <pc:sldChg chg="add del mod modShow">
        <pc:chgData name="Stéphanie Chatagner" userId="43a90851-419b-46ca-ab03-9ac21f8b019f" providerId="ADAL" clId="{33658D7A-77E3-4FDE-97A6-5D77EA1A725F}" dt="2022-12-16T10:05:49.350" v="23925" actId="2696"/>
        <pc:sldMkLst>
          <pc:docMk/>
          <pc:sldMk cId="889753685" sldId="2147469251"/>
        </pc:sldMkLst>
      </pc:sldChg>
      <pc:sldChg chg="addSp modSp mod modCm">
        <pc:chgData name="Stéphanie Chatagner" userId="43a90851-419b-46ca-ab03-9ac21f8b019f" providerId="ADAL" clId="{33658D7A-77E3-4FDE-97A6-5D77EA1A725F}" dt="2022-12-16T11:03:24.904" v="24463" actId="20577"/>
        <pc:sldMkLst>
          <pc:docMk/>
          <pc:sldMk cId="2528676621" sldId="2147469252"/>
        </pc:sldMkLst>
      </pc:sldChg>
      <pc:sldChg chg="addSp delSp modSp mod">
        <pc:chgData name="Stéphanie Chatagner" userId="43a90851-419b-46ca-ab03-9ac21f8b019f" providerId="ADAL" clId="{33658D7A-77E3-4FDE-97A6-5D77EA1A725F}" dt="2022-12-13T09:01:50.949" v="22076" actId="207"/>
        <pc:sldMkLst>
          <pc:docMk/>
          <pc:sldMk cId="2705986338" sldId="2147469253"/>
        </pc:sldMkLst>
      </pc:sldChg>
      <pc:sldChg chg="addSp delSp modSp mod modNotesTx">
        <pc:chgData name="Stéphanie Chatagner" userId="43a90851-419b-46ca-ab03-9ac21f8b019f" providerId="ADAL" clId="{33658D7A-77E3-4FDE-97A6-5D77EA1A725F}" dt="2022-12-16T15:37:28.954" v="26351" actId="20577"/>
        <pc:sldMkLst>
          <pc:docMk/>
          <pc:sldMk cId="906830166" sldId="2147469254"/>
        </pc:sldMkLst>
      </pc:sldChg>
      <pc:sldChg chg="addSp delSp modSp new del mod modShow">
        <pc:chgData name="Stéphanie Chatagner" userId="43a90851-419b-46ca-ab03-9ac21f8b019f" providerId="ADAL" clId="{33658D7A-77E3-4FDE-97A6-5D77EA1A725F}" dt="2022-12-09T09:01:48.947" v="13409" actId="2696"/>
        <pc:sldMkLst>
          <pc:docMk/>
          <pc:sldMk cId="3117385052" sldId="2147469254"/>
        </pc:sldMkLst>
      </pc:sldChg>
      <pc:sldChg chg="addSp delSp modSp mod">
        <pc:chgData name="Stéphanie Chatagner" userId="43a90851-419b-46ca-ab03-9ac21f8b019f" providerId="ADAL" clId="{33658D7A-77E3-4FDE-97A6-5D77EA1A725F}" dt="2022-12-16T17:02:57.675" v="26513" actId="12788"/>
        <pc:sldMkLst>
          <pc:docMk/>
          <pc:sldMk cId="1030784313" sldId="2147469255"/>
        </pc:sldMkLst>
      </pc:sldChg>
      <pc:sldChg chg="addSp modSp mod modNotesTx">
        <pc:chgData name="Stéphanie Chatagner" userId="43a90851-419b-46ca-ab03-9ac21f8b019f" providerId="ADAL" clId="{33658D7A-77E3-4FDE-97A6-5D77EA1A725F}" dt="2022-12-13T09:30:00.475" v="22169" actId="20577"/>
        <pc:sldMkLst>
          <pc:docMk/>
          <pc:sldMk cId="2318514869" sldId="2147469258"/>
        </pc:sldMkLst>
      </pc:sldChg>
      <pc:sldChg chg="addSp delSp modSp mod modClrScheme modCm chgLayout">
        <pc:chgData name="Stéphanie Chatagner" userId="43a90851-419b-46ca-ab03-9ac21f8b019f" providerId="ADAL" clId="{33658D7A-77E3-4FDE-97A6-5D77EA1A725F}" dt="2022-12-16T17:11:39.900" v="26693" actId="20577"/>
        <pc:sldMkLst>
          <pc:docMk/>
          <pc:sldMk cId="2105868698" sldId="2147469259"/>
        </pc:sldMkLst>
      </pc:sldChg>
      <pc:sldChg chg="addSp modSp del mod modShow">
        <pc:chgData name="Stéphanie Chatagner" userId="43a90851-419b-46ca-ab03-9ac21f8b019f" providerId="ADAL" clId="{33658D7A-77E3-4FDE-97A6-5D77EA1A725F}" dt="2022-12-12T16:10:40.503" v="18994" actId="2696"/>
        <pc:sldMkLst>
          <pc:docMk/>
          <pc:sldMk cId="3426460793" sldId="2147469260"/>
        </pc:sldMkLst>
      </pc:sldChg>
      <pc:sldChg chg="addSp modSp">
        <pc:chgData name="Stéphanie Chatagner" userId="43a90851-419b-46ca-ab03-9ac21f8b019f" providerId="ADAL" clId="{33658D7A-77E3-4FDE-97A6-5D77EA1A725F}" dt="2022-12-12T20:24:18.573" v="21290"/>
        <pc:sldMkLst>
          <pc:docMk/>
          <pc:sldMk cId="3129492785" sldId="2147469261"/>
        </pc:sldMkLst>
      </pc:sldChg>
      <pc:sldChg chg="addSp delSp modSp mod">
        <pc:chgData name="Stéphanie Chatagner" userId="43a90851-419b-46ca-ab03-9ac21f8b019f" providerId="ADAL" clId="{33658D7A-77E3-4FDE-97A6-5D77EA1A725F}" dt="2022-12-16T13:08:04.454" v="25893" actId="20577"/>
        <pc:sldMkLst>
          <pc:docMk/>
          <pc:sldMk cId="2853590062" sldId="2147469262"/>
        </pc:sldMkLst>
      </pc:sldChg>
      <pc:sldChg chg="addSp modSp mod modShow modNotesTx">
        <pc:chgData name="Stéphanie Chatagner" userId="43a90851-419b-46ca-ab03-9ac21f8b019f" providerId="ADAL" clId="{33658D7A-77E3-4FDE-97A6-5D77EA1A725F}" dt="2022-12-16T16:53:29.757" v="26497"/>
        <pc:sldMkLst>
          <pc:docMk/>
          <pc:sldMk cId="1450007021" sldId="2147469263"/>
        </pc:sldMkLst>
      </pc:sldChg>
      <pc:sldChg chg="addSp delSp modSp add mod">
        <pc:chgData name="Stéphanie Chatagner" userId="43a90851-419b-46ca-ab03-9ac21f8b019f" providerId="ADAL" clId="{33658D7A-77E3-4FDE-97A6-5D77EA1A725F}" dt="2022-12-16T17:02:42.474" v="26511" actId="12788"/>
        <pc:sldMkLst>
          <pc:docMk/>
          <pc:sldMk cId="1632319133" sldId="2147469264"/>
        </pc:sldMkLst>
      </pc:sldChg>
      <pc:sldChg chg="add del">
        <pc:chgData name="Stéphanie Chatagner" userId="43a90851-419b-46ca-ab03-9ac21f8b019f" providerId="ADAL" clId="{33658D7A-77E3-4FDE-97A6-5D77EA1A725F}" dt="2022-12-12T08:32:43.237" v="16603"/>
        <pc:sldMkLst>
          <pc:docMk/>
          <pc:sldMk cId="2569110430" sldId="2147469264"/>
        </pc:sldMkLst>
      </pc:sldChg>
      <pc:sldChg chg="addSp delSp modSp add mod ord modCm">
        <pc:chgData name="Stéphanie Chatagner" userId="43a90851-419b-46ca-ab03-9ac21f8b019f" providerId="ADAL" clId="{33658D7A-77E3-4FDE-97A6-5D77EA1A725F}" dt="2022-12-16T17:10:52.193" v="26686" actId="1038"/>
        <pc:sldMkLst>
          <pc:docMk/>
          <pc:sldMk cId="1876804831" sldId="2147469265"/>
        </pc:sldMkLst>
      </pc:sldChg>
      <pc:sldChg chg="modSp add mod modNotesTx">
        <pc:chgData name="Stéphanie Chatagner" userId="43a90851-419b-46ca-ab03-9ac21f8b019f" providerId="ADAL" clId="{33658D7A-77E3-4FDE-97A6-5D77EA1A725F}" dt="2022-12-12T16:10:47.674" v="18998" actId="20577"/>
        <pc:sldMkLst>
          <pc:docMk/>
          <pc:sldMk cId="2925016070" sldId="2147469266"/>
        </pc:sldMkLst>
      </pc:sldChg>
      <pc:sldChg chg="addSp delSp modSp new del mod ord">
        <pc:chgData name="Stéphanie Chatagner" userId="43a90851-419b-46ca-ab03-9ac21f8b019f" providerId="ADAL" clId="{33658D7A-77E3-4FDE-97A6-5D77EA1A725F}" dt="2022-12-13T09:10:15.766" v="22080" actId="2696"/>
        <pc:sldMkLst>
          <pc:docMk/>
          <pc:sldMk cId="3428962312" sldId="2147469267"/>
        </pc:sldMkLst>
      </pc:sldChg>
      <pc:sldChg chg="addSp delSp modSp add del mod ord">
        <pc:chgData name="Stéphanie Chatagner" userId="43a90851-419b-46ca-ab03-9ac21f8b019f" providerId="ADAL" clId="{33658D7A-77E3-4FDE-97A6-5D77EA1A725F}" dt="2022-12-13T09:10:07.430" v="22079" actId="2696"/>
        <pc:sldMkLst>
          <pc:docMk/>
          <pc:sldMk cId="3508126149" sldId="2147469268"/>
        </pc:sldMkLst>
      </pc:sldChg>
      <pc:sldChg chg="addSp modSp add mod">
        <pc:chgData name="Stéphanie Chatagner" userId="43a90851-419b-46ca-ab03-9ac21f8b019f" providerId="ADAL" clId="{33658D7A-77E3-4FDE-97A6-5D77EA1A725F}" dt="2022-12-16T16:54:10.213" v="26498" actId="1076"/>
        <pc:sldMkLst>
          <pc:docMk/>
          <pc:sldMk cId="596036060" sldId="2147469269"/>
        </pc:sldMkLst>
      </pc:sldChg>
      <pc:sldChg chg="addSp delSp modSp add del mod">
        <pc:chgData name="Stéphanie Chatagner" userId="43a90851-419b-46ca-ab03-9ac21f8b019f" providerId="ADAL" clId="{33658D7A-77E3-4FDE-97A6-5D77EA1A725F}" dt="2022-12-12T16:11:07.717" v="18999" actId="2696"/>
        <pc:sldMkLst>
          <pc:docMk/>
          <pc:sldMk cId="3368231769" sldId="2147469269"/>
        </pc:sldMkLst>
      </pc:sldChg>
      <pc:sldChg chg="addSp delSp modSp add mod ord modClrScheme modCm chgLayout">
        <pc:chgData name="Stéphanie Chatagner" userId="43a90851-419b-46ca-ab03-9ac21f8b019f" providerId="ADAL" clId="{33658D7A-77E3-4FDE-97A6-5D77EA1A725F}" dt="2022-12-16T12:57:24.823" v="25711" actId="3064"/>
        <pc:sldMkLst>
          <pc:docMk/>
          <pc:sldMk cId="27772628" sldId="2147469270"/>
        </pc:sldMkLst>
      </pc:sldChg>
      <pc:sldChg chg="add del">
        <pc:chgData name="Stéphanie Chatagner" userId="43a90851-419b-46ca-ab03-9ac21f8b019f" providerId="ADAL" clId="{33658D7A-77E3-4FDE-97A6-5D77EA1A725F}" dt="2022-12-12T20:09:29.063" v="20975" actId="2696"/>
        <pc:sldMkLst>
          <pc:docMk/>
          <pc:sldMk cId="1689941660" sldId="2147469271"/>
        </pc:sldMkLst>
      </pc:sldChg>
      <pc:sldChg chg="addSp modSp add mod ord">
        <pc:chgData name="Stéphanie Chatagner" userId="43a90851-419b-46ca-ab03-9ac21f8b019f" providerId="ADAL" clId="{33658D7A-77E3-4FDE-97A6-5D77EA1A725F}" dt="2022-12-16T13:04:38.934" v="25856" actId="1076"/>
        <pc:sldMkLst>
          <pc:docMk/>
          <pc:sldMk cId="1552375756" sldId="2147469272"/>
        </pc:sldMkLst>
      </pc:sldChg>
      <pc:sldChg chg="addSp modSp mod addCm delCm modNotesTx">
        <pc:chgData name="Stéphanie Chatagner" userId="43a90851-419b-46ca-ab03-9ac21f8b019f" providerId="ADAL" clId="{33658D7A-77E3-4FDE-97A6-5D77EA1A725F}" dt="2022-12-16T17:14:15.802" v="26696"/>
        <pc:sldMkLst>
          <pc:docMk/>
          <pc:sldMk cId="200622586" sldId="2147469273"/>
        </pc:sldMkLst>
      </pc:sldChg>
      <pc:sldChg chg="modSp add del mod modShow">
        <pc:chgData name="Stéphanie Chatagner" userId="43a90851-419b-46ca-ab03-9ac21f8b019f" providerId="ADAL" clId="{33658D7A-77E3-4FDE-97A6-5D77EA1A725F}" dt="2022-12-16T08:00:25.349" v="23305" actId="2696"/>
        <pc:sldMkLst>
          <pc:docMk/>
          <pc:sldMk cId="1300855703" sldId="2147469274"/>
        </pc:sldMkLst>
      </pc:sldChg>
      <pc:sldChg chg="modSp mod addCm delCm modCm">
        <pc:chgData name="Stéphanie Chatagner" userId="43a90851-419b-46ca-ab03-9ac21f8b019f" providerId="ADAL" clId="{33658D7A-77E3-4FDE-97A6-5D77EA1A725F}" dt="2022-12-16T09:31:05.776" v="23677" actId="1035"/>
        <pc:sldMkLst>
          <pc:docMk/>
          <pc:sldMk cId="704760206" sldId="2147469275"/>
        </pc:sldMkLst>
      </pc:sldChg>
      <pc:sldChg chg="delSp modSp mod modCm modNotesTx">
        <pc:chgData name="Stéphanie Chatagner" userId="43a90851-419b-46ca-ab03-9ac21f8b019f" providerId="ADAL" clId="{33658D7A-77E3-4FDE-97A6-5D77EA1A725F}" dt="2022-12-16T17:12:03.958" v="26694" actId="12788"/>
        <pc:sldMkLst>
          <pc:docMk/>
          <pc:sldMk cId="483041667" sldId="2147469276"/>
        </pc:sldMkLst>
      </pc:sldChg>
      <pc:sldChg chg="addSp delSp modSp new mod ord modShow modNotesTx">
        <pc:chgData name="Stéphanie Chatagner" userId="43a90851-419b-46ca-ab03-9ac21f8b019f" providerId="ADAL" clId="{33658D7A-77E3-4FDE-97A6-5D77EA1A725F}" dt="2022-12-16T16:53:24.765" v="26496" actId="6549"/>
        <pc:sldMkLst>
          <pc:docMk/>
          <pc:sldMk cId="922742973" sldId="2147469277"/>
        </pc:sldMkLst>
      </pc:sldChg>
      <pc:sldChg chg="add del">
        <pc:chgData name="Stéphanie Chatagner" userId="43a90851-419b-46ca-ab03-9ac21f8b019f" providerId="ADAL" clId="{33658D7A-77E3-4FDE-97A6-5D77EA1A725F}" dt="2022-12-16T13:47:26.272" v="26007" actId="2696"/>
        <pc:sldMkLst>
          <pc:docMk/>
          <pc:sldMk cId="4157901590" sldId="2147469277"/>
        </pc:sldMkLst>
      </pc:sldChg>
      <pc:sldChg chg="addSp delSp modSp new del mod">
        <pc:chgData name="Stéphanie Chatagner" userId="43a90851-419b-46ca-ab03-9ac21f8b019f" providerId="ADAL" clId="{33658D7A-77E3-4FDE-97A6-5D77EA1A725F}" dt="2022-12-16T16:04:34.832" v="26491" actId="2696"/>
        <pc:sldMkLst>
          <pc:docMk/>
          <pc:sldMk cId="2408895342" sldId="2147469278"/>
        </pc:sldMkLst>
      </pc:sldChg>
      <pc:sldMasterChg chg="delSldLayout">
        <pc:chgData name="Stéphanie Chatagner" userId="43a90851-419b-46ca-ab03-9ac21f8b019f" providerId="ADAL" clId="{33658D7A-77E3-4FDE-97A6-5D77EA1A725F}" dt="2022-12-08T07:41:23.233" v="9745" actId="2696"/>
        <pc:sldMasterMkLst>
          <pc:docMk/>
          <pc:sldMasterMk cId="4264061012" sldId="2147483678"/>
        </pc:sldMasterMkLst>
        <pc:sldLayoutChg chg="del">
          <pc:chgData name="Stéphanie Chatagner" userId="43a90851-419b-46ca-ab03-9ac21f8b019f" providerId="ADAL" clId="{33658D7A-77E3-4FDE-97A6-5D77EA1A725F}" dt="2022-12-08T07:41:23.233" v="9745" actId="2696"/>
          <pc:sldLayoutMkLst>
            <pc:docMk/>
            <pc:sldMasterMk cId="4264061012" sldId="2147483678"/>
            <pc:sldLayoutMk cId="3881489351" sldId="2147483677"/>
          </pc:sldLayoutMkLst>
        </pc:sldLayoutChg>
        <pc:sldLayoutChg chg="del">
          <pc:chgData name="Stéphanie Chatagner" userId="43a90851-419b-46ca-ab03-9ac21f8b019f" providerId="ADAL" clId="{33658D7A-77E3-4FDE-97A6-5D77EA1A725F}" dt="2022-12-07T12:22:41.740" v="7379" actId="2696"/>
          <pc:sldLayoutMkLst>
            <pc:docMk/>
            <pc:sldMasterMk cId="4264061012" sldId="2147483678"/>
            <pc:sldLayoutMk cId="1317606825" sldId="2147483678"/>
          </pc:sldLayoutMkLst>
        </pc:sldLayoutChg>
        <pc:sldLayoutChg chg="del">
          <pc:chgData name="Stéphanie Chatagner" userId="43a90851-419b-46ca-ab03-9ac21f8b019f" providerId="ADAL" clId="{33658D7A-77E3-4FDE-97A6-5D77EA1A725F}" dt="2022-12-12T20:09:24.378" v="20974" actId="2696"/>
          <pc:sldLayoutMkLst>
            <pc:docMk/>
            <pc:sldMasterMk cId="4264061012" sldId="2147483678"/>
            <pc:sldLayoutMk cId="2928789940" sldId="2147483678"/>
          </pc:sldLayoutMkLst>
        </pc:sldLayoutChg>
      </pc:sldMasterChg>
    </pc:docChg>
  </pc:docChgLst>
  <pc:docChgLst>
    <pc:chgData name="COIGNET Alexis" userId="76ea5e1a-bc88-4802-bf9d-ac1355beb253" providerId="ADAL" clId="{A5E73856-B037-4FAD-A2D4-B17DCC966648}"/>
    <pc:docChg chg="undo custSel addSld delSld modSld sldOrd modSection">
      <pc:chgData name="COIGNET Alexis" userId="76ea5e1a-bc88-4802-bf9d-ac1355beb253" providerId="ADAL" clId="{A5E73856-B037-4FAD-A2D4-B17DCC966648}" dt="2024-03-15T17:03:03.533" v="5483" actId="1038"/>
      <pc:docMkLst>
        <pc:docMk/>
      </pc:docMkLst>
      <pc:sldChg chg="modSp mod">
        <pc:chgData name="COIGNET Alexis" userId="76ea5e1a-bc88-4802-bf9d-ac1355beb253" providerId="ADAL" clId="{A5E73856-B037-4FAD-A2D4-B17DCC966648}" dt="2024-03-13T14:30:24.815" v="1946" actId="13926"/>
        <pc:sldMkLst>
          <pc:docMk/>
          <pc:sldMk cId="3510959577" sldId="10474"/>
        </pc:sldMkLst>
      </pc:sldChg>
      <pc:sldChg chg="addSp delSp modSp mod modCm">
        <pc:chgData name="COIGNET Alexis" userId="76ea5e1a-bc88-4802-bf9d-ac1355beb253" providerId="ADAL" clId="{A5E73856-B037-4FAD-A2D4-B17DCC966648}" dt="2024-03-14T19:26:33.276" v="5414" actId="478"/>
        <pc:sldMkLst>
          <pc:docMk/>
          <pc:sldMk cId="2738404544" sldId="2147481979"/>
        </pc:sldMkLst>
        <pc:extLst>
          <p:ext xmlns:p="http://schemas.openxmlformats.org/presentationml/2006/main" uri="{D6D511B9-2390-475A-947B-AFAB55BFBCF1}">
            <pc226:cmChg xmlns:pc226="http://schemas.microsoft.com/office/powerpoint/2022/06/main/command" chg="mod">
              <pc226:chgData name="COIGNET Alexis" userId="76ea5e1a-bc88-4802-bf9d-ac1355beb253" providerId="ADAL" clId="{A5E73856-B037-4FAD-A2D4-B17DCC966648}" dt="2024-03-13T15:34:49.450" v="3590" actId="20577"/>
              <pc2:cmMkLst xmlns:pc2="http://schemas.microsoft.com/office/powerpoint/2019/9/main/command">
                <pc:docMk/>
                <pc:sldMk cId="2738404544" sldId="2147481979"/>
                <pc2:cmMk id="{6C88BB97-0F3C-44F2-A4BF-E079B56B8635}"/>
              </pc2:cmMkLst>
            </pc226:cmChg>
          </p:ext>
        </pc:extLst>
      </pc:sldChg>
      <pc:sldChg chg="addSp delSp modSp mod">
        <pc:chgData name="COIGNET Alexis" userId="76ea5e1a-bc88-4802-bf9d-ac1355beb253" providerId="ADAL" clId="{A5E73856-B037-4FAD-A2D4-B17DCC966648}" dt="2024-03-15T16:56:50.291" v="5467" actId="1076"/>
        <pc:sldMkLst>
          <pc:docMk/>
          <pc:sldMk cId="2251311509" sldId="2147481981"/>
        </pc:sldMkLst>
      </pc:sldChg>
      <pc:sldChg chg="addSp delSp modSp mod">
        <pc:chgData name="COIGNET Alexis" userId="76ea5e1a-bc88-4802-bf9d-ac1355beb253" providerId="ADAL" clId="{A5E73856-B037-4FAD-A2D4-B17DCC966648}" dt="2024-03-15T16:59:30.690" v="5470" actId="12789"/>
        <pc:sldMkLst>
          <pc:docMk/>
          <pc:sldMk cId="4196752458" sldId="2147481983"/>
        </pc:sldMkLst>
      </pc:sldChg>
      <pc:sldChg chg="addSp delSp modSp mod modCm">
        <pc:chgData name="COIGNET Alexis" userId="76ea5e1a-bc88-4802-bf9d-ac1355beb253" providerId="ADAL" clId="{A5E73856-B037-4FAD-A2D4-B17DCC966648}" dt="2024-03-15T17:03:03.533" v="5483" actId="1038"/>
        <pc:sldMkLst>
          <pc:docMk/>
          <pc:sldMk cId="1257207121" sldId="2147481999"/>
        </pc:sldMkLst>
        <pc:extLst>
          <p:ext xmlns:p="http://schemas.openxmlformats.org/presentationml/2006/main" uri="{D6D511B9-2390-475A-947B-AFAB55BFBCF1}">
            <pc226:cmChg xmlns:pc226="http://schemas.microsoft.com/office/powerpoint/2022/06/main/command" chg="mod">
              <pc226:chgData name="COIGNET Alexis" userId="76ea5e1a-bc88-4802-bf9d-ac1355beb253" providerId="ADAL" clId="{A5E73856-B037-4FAD-A2D4-B17DCC966648}" dt="2024-03-13T15:01:34.728" v="2955" actId="20577"/>
              <pc2:cmMkLst xmlns:pc2="http://schemas.microsoft.com/office/powerpoint/2019/9/main/command">
                <pc:docMk/>
                <pc:sldMk cId="1257207121" sldId="2147481999"/>
                <pc2:cmMk id="{9E0705F1-9E39-4570-8D8D-65A08E9B0B90}"/>
              </pc2:cmMkLst>
            </pc226:cmChg>
          </p:ext>
        </pc:extLst>
      </pc:sldChg>
      <pc:sldChg chg="addSp delSp modSp mod modCm">
        <pc:chgData name="COIGNET Alexis" userId="76ea5e1a-bc88-4802-bf9d-ac1355beb253" providerId="ADAL" clId="{A5E73856-B037-4FAD-A2D4-B17DCC966648}" dt="2024-03-11T15:05:47.458" v="1868" actId="2056"/>
        <pc:sldMkLst>
          <pc:docMk/>
          <pc:sldMk cId="3340189546" sldId="2147482003"/>
        </pc:sldMkLst>
        <pc:extLst>
          <p:ext xmlns:p="http://schemas.openxmlformats.org/presentationml/2006/main" uri="{D6D511B9-2390-475A-947B-AFAB55BFBCF1}">
            <pc226:cmChg xmlns:pc226="http://schemas.microsoft.com/office/powerpoint/2022/06/main/command" chg="mod">
              <pc226:chgData name="COIGNET Alexis" userId="76ea5e1a-bc88-4802-bf9d-ac1355beb253" providerId="ADAL" clId="{A5E73856-B037-4FAD-A2D4-B17DCC966648}" dt="2024-03-11T15:05:47.458" v="1868" actId="2056"/>
              <pc2:cmMkLst xmlns:pc2="http://schemas.microsoft.com/office/powerpoint/2019/9/main/command">
                <pc:docMk/>
                <pc:sldMk cId="3340189546" sldId="2147482003"/>
                <pc2:cmMk id="{E6783559-ABBD-4B9E-93CD-22EC5954B8ED}"/>
              </pc2:cmMkLst>
            </pc226:cmChg>
          </p:ext>
        </pc:extLst>
      </pc:sldChg>
      <pc:sldChg chg="modSp mod">
        <pc:chgData name="COIGNET Alexis" userId="76ea5e1a-bc88-4802-bf9d-ac1355beb253" providerId="ADAL" clId="{A5E73856-B037-4FAD-A2D4-B17DCC966648}" dt="2024-01-11T13:49:46.260" v="484" actId="20577"/>
        <pc:sldMkLst>
          <pc:docMk/>
          <pc:sldMk cId="258348270" sldId="2147482004"/>
        </pc:sldMkLst>
      </pc:sldChg>
      <pc:sldChg chg="delSp modSp mod">
        <pc:chgData name="COIGNET Alexis" userId="76ea5e1a-bc88-4802-bf9d-ac1355beb253" providerId="ADAL" clId="{A5E73856-B037-4FAD-A2D4-B17DCC966648}" dt="2024-01-11T15:09:19.953" v="999" actId="20577"/>
        <pc:sldMkLst>
          <pc:docMk/>
          <pc:sldMk cId="2145233351" sldId="2147482005"/>
        </pc:sldMkLst>
      </pc:sldChg>
      <pc:sldChg chg="addSp delSp modSp mod">
        <pc:chgData name="COIGNET Alexis" userId="76ea5e1a-bc88-4802-bf9d-ac1355beb253" providerId="ADAL" clId="{A5E73856-B037-4FAD-A2D4-B17DCC966648}" dt="2024-01-11T13:55:05.198" v="570" actId="1036"/>
        <pc:sldMkLst>
          <pc:docMk/>
          <pc:sldMk cId="980070838" sldId="2147482006"/>
        </pc:sldMkLst>
      </pc:sldChg>
      <pc:sldChg chg="addSp delSp modSp mod">
        <pc:chgData name="COIGNET Alexis" userId="76ea5e1a-bc88-4802-bf9d-ac1355beb253" providerId="ADAL" clId="{A5E73856-B037-4FAD-A2D4-B17DCC966648}" dt="2024-01-29T13:04:30.068" v="1865" actId="1076"/>
        <pc:sldMkLst>
          <pc:docMk/>
          <pc:sldMk cId="1039753401" sldId="2147482007"/>
        </pc:sldMkLst>
      </pc:sldChg>
      <pc:sldChg chg="ord">
        <pc:chgData name="COIGNET Alexis" userId="76ea5e1a-bc88-4802-bf9d-ac1355beb253" providerId="ADAL" clId="{A5E73856-B037-4FAD-A2D4-B17DCC966648}" dt="2024-01-11T13:48:54.185" v="461"/>
        <pc:sldMkLst>
          <pc:docMk/>
          <pc:sldMk cId="4130302315" sldId="2147482011"/>
        </pc:sldMkLst>
      </pc:sldChg>
      <pc:sldChg chg="modSp mod">
        <pc:chgData name="COIGNET Alexis" userId="76ea5e1a-bc88-4802-bf9d-ac1355beb253" providerId="ADAL" clId="{A5E73856-B037-4FAD-A2D4-B17DCC966648}" dt="2024-01-23T13:37:08.388" v="1064" actId="1036"/>
        <pc:sldMkLst>
          <pc:docMk/>
          <pc:sldMk cId="162960782" sldId="2147482014"/>
        </pc:sldMkLst>
      </pc:sldChg>
      <pc:sldChg chg="addSp delSp modSp mod modCm">
        <pc:chgData name="COIGNET Alexis" userId="76ea5e1a-bc88-4802-bf9d-ac1355beb253" providerId="ADAL" clId="{A5E73856-B037-4FAD-A2D4-B17DCC966648}" dt="2024-03-14T19:23:06.851" v="4736" actId="1038"/>
        <pc:sldMkLst>
          <pc:docMk/>
          <pc:sldMk cId="132357815" sldId="2147482015"/>
        </pc:sldMkLst>
        <pc:extLst>
          <p:ext xmlns:p="http://schemas.openxmlformats.org/presentationml/2006/main" uri="{D6D511B9-2390-475A-947B-AFAB55BFBCF1}">
            <pc226:cmChg xmlns:pc226="http://schemas.microsoft.com/office/powerpoint/2022/06/main/command" chg="mod">
              <pc226:chgData name="COIGNET Alexis" userId="76ea5e1a-bc88-4802-bf9d-ac1355beb253" providerId="ADAL" clId="{A5E73856-B037-4FAD-A2D4-B17DCC966648}" dt="2024-03-11T14:42:24.889" v="1867" actId="2056"/>
              <pc2:cmMkLst xmlns:pc2="http://schemas.microsoft.com/office/powerpoint/2019/9/main/command">
                <pc:docMk/>
                <pc:sldMk cId="132357815" sldId="2147482015"/>
                <pc2:cmMk id="{3EF33905-38A3-4A70-B222-8D16B5198EC1}"/>
              </pc2:cmMkLst>
            </pc226:cmChg>
            <pc226:cmChg xmlns:pc226="http://schemas.microsoft.com/office/powerpoint/2022/06/main/command" chg="mod">
              <pc226:chgData name="COIGNET Alexis" userId="76ea5e1a-bc88-4802-bf9d-ac1355beb253" providerId="ADAL" clId="{A5E73856-B037-4FAD-A2D4-B17DCC966648}" dt="2024-03-13T15:16:30.981" v="3491" actId="20577"/>
              <pc2:cmMkLst xmlns:pc2="http://schemas.microsoft.com/office/powerpoint/2019/9/main/command">
                <pc:docMk/>
                <pc:sldMk cId="132357815" sldId="2147482015"/>
                <pc2:cmMk id="{85026B06-7DA7-4B55-A0B2-3F4F34028639}"/>
              </pc2:cmMkLst>
            </pc226:cmChg>
            <pc226:cmChg xmlns:pc226="http://schemas.microsoft.com/office/powerpoint/2022/06/main/command" chg="mod">
              <pc226:chgData name="COIGNET Alexis" userId="76ea5e1a-bc88-4802-bf9d-ac1355beb253" providerId="ADAL" clId="{A5E73856-B037-4FAD-A2D4-B17DCC966648}" dt="2024-03-13T15:16:11.213" v="3471" actId="2056"/>
              <pc2:cmMkLst xmlns:pc2="http://schemas.microsoft.com/office/powerpoint/2019/9/main/command">
                <pc:docMk/>
                <pc:sldMk cId="132357815" sldId="2147482015"/>
                <pc2:cmMk id="{16D2435D-A937-44B0-A3B5-BA2C1B256712}"/>
              </pc2:cmMkLst>
            </pc226:cmChg>
            <pc226:cmChg xmlns:pc226="http://schemas.microsoft.com/office/powerpoint/2022/06/main/command" chg="mod">
              <pc226:chgData name="COIGNET Alexis" userId="76ea5e1a-bc88-4802-bf9d-ac1355beb253" providerId="ADAL" clId="{A5E73856-B037-4FAD-A2D4-B17DCC966648}" dt="2024-03-11T14:42:24.889" v="1867" actId="2056"/>
              <pc2:cmMkLst xmlns:pc2="http://schemas.microsoft.com/office/powerpoint/2019/9/main/command">
                <pc:docMk/>
                <pc:sldMk cId="132357815" sldId="2147482015"/>
                <pc2:cmMk id="{9E5B3EAC-D356-4432-81E9-6007E5E91C1F}"/>
              </pc2:cmMkLst>
            </pc226:cmChg>
            <pc226:cmChg xmlns:pc226="http://schemas.microsoft.com/office/powerpoint/2022/06/main/command" chg="mod">
              <pc226:chgData name="COIGNET Alexis" userId="76ea5e1a-bc88-4802-bf9d-ac1355beb253" providerId="ADAL" clId="{A5E73856-B037-4FAD-A2D4-B17DCC966648}" dt="2024-03-13T15:16:18.913" v="3479" actId="20577"/>
              <pc2:cmMkLst xmlns:pc2="http://schemas.microsoft.com/office/powerpoint/2019/9/main/command">
                <pc:docMk/>
                <pc:sldMk cId="132357815" sldId="2147482015"/>
                <pc2:cmMk id="{27DBC0B1-4FEA-4709-B5E8-343C9787B174}"/>
              </pc2:cmMkLst>
            </pc226:cmChg>
            <pc226:cmChg xmlns:pc226="http://schemas.microsoft.com/office/powerpoint/2022/06/main/command" chg="mod">
              <pc226:chgData name="COIGNET Alexis" userId="76ea5e1a-bc88-4802-bf9d-ac1355beb253" providerId="ADAL" clId="{A5E73856-B037-4FAD-A2D4-B17DCC966648}" dt="2024-03-13T15:16:11.213" v="3471" actId="2056"/>
              <pc2:cmMkLst xmlns:pc2="http://schemas.microsoft.com/office/powerpoint/2019/9/main/command">
                <pc:docMk/>
                <pc:sldMk cId="132357815" sldId="2147482015"/>
                <pc2:cmMk id="{F3EA6EBF-BD7C-409A-A087-657C04164C07}"/>
              </pc2:cmMkLst>
            </pc226:cmChg>
            <pc226:cmChg xmlns:pc226="http://schemas.microsoft.com/office/powerpoint/2022/06/main/command" chg="mod">
              <pc226:chgData name="COIGNET Alexis" userId="76ea5e1a-bc88-4802-bf9d-ac1355beb253" providerId="ADAL" clId="{A5E73856-B037-4FAD-A2D4-B17DCC966648}" dt="2024-03-13T15:16:23.531" v="3483" actId="20577"/>
              <pc2:cmMkLst xmlns:pc2="http://schemas.microsoft.com/office/powerpoint/2019/9/main/command">
                <pc:docMk/>
                <pc:sldMk cId="132357815" sldId="2147482015"/>
                <pc2:cmMk id="{6C9557D6-213C-487E-AA6D-2EB6BFADB99A}"/>
              </pc2:cmMkLst>
            </pc226:cmChg>
          </p:ext>
        </pc:extLst>
      </pc:sldChg>
      <pc:sldChg chg="addSp delSp modSp mod modCm">
        <pc:chgData name="COIGNET Alexis" userId="76ea5e1a-bc88-4802-bf9d-ac1355beb253" providerId="ADAL" clId="{A5E73856-B037-4FAD-A2D4-B17DCC966648}" dt="2024-03-14T19:22:03.195" v="4677" actId="1037"/>
        <pc:sldMkLst>
          <pc:docMk/>
          <pc:sldMk cId="3302271320" sldId="2147482018"/>
        </pc:sldMkLst>
        <pc:extLst>
          <p:ext xmlns:p="http://schemas.openxmlformats.org/presentationml/2006/main" uri="{D6D511B9-2390-475A-947B-AFAB55BFBCF1}">
            <pc226:cmChg xmlns:pc226="http://schemas.microsoft.com/office/powerpoint/2022/06/main/command" chg="mod">
              <pc226:chgData name="COIGNET Alexis" userId="76ea5e1a-bc88-4802-bf9d-ac1355beb253" providerId="ADAL" clId="{A5E73856-B037-4FAD-A2D4-B17DCC966648}" dt="2024-03-13T16:14:07.328" v="4353"/>
              <pc2:cmMkLst xmlns:pc2="http://schemas.microsoft.com/office/powerpoint/2019/9/main/command">
                <pc:docMk/>
                <pc:sldMk cId="3302271320" sldId="2147482018"/>
                <pc2:cmMk id="{96BFDDA4-F70E-4B3D-9CC8-18504ADF6DBF}"/>
              </pc2:cmMkLst>
              <pc226:cmRplyChg chg="add">
                <pc226:chgData name="COIGNET Alexis" userId="76ea5e1a-bc88-4802-bf9d-ac1355beb253" providerId="ADAL" clId="{A5E73856-B037-4FAD-A2D4-B17DCC966648}" dt="2024-03-13T16:14:07.328" v="4353"/>
                <pc2:cmRplyMkLst xmlns:pc2="http://schemas.microsoft.com/office/powerpoint/2019/9/main/command">
                  <pc:docMk/>
                  <pc:sldMk cId="3302271320" sldId="2147482018"/>
                  <pc2:cmMk id="{96BFDDA4-F70E-4B3D-9CC8-18504ADF6DBF}"/>
                  <pc2:cmRplyMk id="{0C315249-FFC7-4224-BDF7-07BDF5B26246}"/>
                </pc2:cmRplyMkLst>
              </pc226:cmRplyChg>
            </pc226:cmChg>
            <pc226:cmChg xmlns:pc226="http://schemas.microsoft.com/office/powerpoint/2022/06/main/command" chg="mod">
              <pc226:chgData name="COIGNET Alexis" userId="76ea5e1a-bc88-4802-bf9d-ac1355beb253" providerId="ADAL" clId="{A5E73856-B037-4FAD-A2D4-B17DCC966648}" dt="2024-03-11T13:28:27.206" v="1866" actId="2056"/>
              <pc2:cmMkLst xmlns:pc2="http://schemas.microsoft.com/office/powerpoint/2019/9/main/command">
                <pc:docMk/>
                <pc:sldMk cId="3302271320" sldId="2147482018"/>
                <pc2:cmMk id="{F54A63AA-A1F8-4E2B-9134-22CA1E3912DE}"/>
              </pc2:cmMkLst>
            </pc226:cmChg>
          </p:ext>
        </pc:extLst>
      </pc:sldChg>
      <pc:sldChg chg="addSp delSp modSp add del mod">
        <pc:chgData name="COIGNET Alexis" userId="76ea5e1a-bc88-4802-bf9d-ac1355beb253" providerId="ADAL" clId="{A5E73856-B037-4FAD-A2D4-B17DCC966648}" dt="2024-03-13T15:05:20.067" v="3123" actId="47"/>
        <pc:sldMkLst>
          <pc:docMk/>
          <pc:sldMk cId="2920655069" sldId="2147482020"/>
        </pc:sldMkLst>
      </pc:sldChg>
    </pc:docChg>
  </pc:docChgLst>
  <pc:docChgLst>
    <pc:chgData name="Thomas MARENCIC" userId="311041e6-165e-4441-8a6f-ecd1fba92656" providerId="ADAL" clId="{9715FE95-5736-4CE0-B3A2-20B7812A71B2}"/>
    <pc:docChg chg="undo custSel addSld delSld modSld modMainMaster">
      <pc:chgData name="Thomas MARENCIC" userId="311041e6-165e-4441-8a6f-ecd1fba92656" providerId="ADAL" clId="{9715FE95-5736-4CE0-B3A2-20B7812A71B2}" dt="2022-11-28T10:27:31.559" v="1528" actId="571"/>
      <pc:docMkLst>
        <pc:docMk/>
      </pc:docMkLst>
      <pc:sldChg chg="del">
        <pc:chgData name="Thomas MARENCIC" userId="311041e6-165e-4441-8a6f-ecd1fba92656" providerId="ADAL" clId="{9715FE95-5736-4CE0-B3A2-20B7812A71B2}" dt="2022-11-24T12:47:44.417" v="141" actId="47"/>
        <pc:sldMkLst>
          <pc:docMk/>
          <pc:sldMk cId="422784309" sldId="1771"/>
        </pc:sldMkLst>
      </pc:sldChg>
      <pc:sldChg chg="del">
        <pc:chgData name="Thomas MARENCIC" userId="311041e6-165e-4441-8a6f-ecd1fba92656" providerId="ADAL" clId="{9715FE95-5736-4CE0-B3A2-20B7812A71B2}" dt="2022-11-24T12:28:45.905" v="15" actId="47"/>
        <pc:sldMkLst>
          <pc:docMk/>
          <pc:sldMk cId="3943040999" sldId="2147326850"/>
        </pc:sldMkLst>
      </pc:sldChg>
      <pc:sldChg chg="del">
        <pc:chgData name="Thomas MARENCIC" userId="311041e6-165e-4441-8a6f-ecd1fba92656" providerId="ADAL" clId="{9715FE95-5736-4CE0-B3A2-20B7812A71B2}" dt="2022-11-24T12:28:45.905" v="15" actId="47"/>
        <pc:sldMkLst>
          <pc:docMk/>
          <pc:sldMk cId="3529770036" sldId="2147326852"/>
        </pc:sldMkLst>
      </pc:sldChg>
      <pc:sldChg chg="del">
        <pc:chgData name="Thomas MARENCIC" userId="311041e6-165e-4441-8a6f-ecd1fba92656" providerId="ADAL" clId="{9715FE95-5736-4CE0-B3A2-20B7812A71B2}" dt="2022-11-24T12:47:44.417" v="141" actId="47"/>
        <pc:sldMkLst>
          <pc:docMk/>
          <pc:sldMk cId="1980511024" sldId="2147326858"/>
        </pc:sldMkLst>
      </pc:sldChg>
      <pc:sldChg chg="modSp mod">
        <pc:chgData name="Thomas MARENCIC" userId="311041e6-165e-4441-8a6f-ecd1fba92656" providerId="ADAL" clId="{9715FE95-5736-4CE0-B3A2-20B7812A71B2}" dt="2022-11-24T12:28:32.439" v="14" actId="20577"/>
        <pc:sldMkLst>
          <pc:docMk/>
          <pc:sldMk cId="1716985175" sldId="2147326867"/>
        </pc:sldMkLst>
      </pc:sldChg>
      <pc:sldChg chg="del">
        <pc:chgData name="Thomas MARENCIC" userId="311041e6-165e-4441-8a6f-ecd1fba92656" providerId="ADAL" clId="{9715FE95-5736-4CE0-B3A2-20B7812A71B2}" dt="2022-11-24T12:47:44.417" v="141" actId="47"/>
        <pc:sldMkLst>
          <pc:docMk/>
          <pc:sldMk cId="930719964" sldId="2147326868"/>
        </pc:sldMkLst>
      </pc:sldChg>
      <pc:sldChg chg="del">
        <pc:chgData name="Thomas MARENCIC" userId="311041e6-165e-4441-8a6f-ecd1fba92656" providerId="ADAL" clId="{9715FE95-5736-4CE0-B3A2-20B7812A71B2}" dt="2022-11-24T12:47:44.417" v="141" actId="47"/>
        <pc:sldMkLst>
          <pc:docMk/>
          <pc:sldMk cId="2395723408" sldId="2147326870"/>
        </pc:sldMkLst>
      </pc:sldChg>
      <pc:sldChg chg="del">
        <pc:chgData name="Thomas MARENCIC" userId="311041e6-165e-4441-8a6f-ecd1fba92656" providerId="ADAL" clId="{9715FE95-5736-4CE0-B3A2-20B7812A71B2}" dt="2022-11-24T12:47:44.417" v="141" actId="47"/>
        <pc:sldMkLst>
          <pc:docMk/>
          <pc:sldMk cId="554862739" sldId="2147326871"/>
        </pc:sldMkLst>
      </pc:sldChg>
      <pc:sldChg chg="del">
        <pc:chgData name="Thomas MARENCIC" userId="311041e6-165e-4441-8a6f-ecd1fba92656" providerId="ADAL" clId="{9715FE95-5736-4CE0-B3A2-20B7812A71B2}" dt="2022-11-24T12:47:44.417" v="141" actId="47"/>
        <pc:sldMkLst>
          <pc:docMk/>
          <pc:sldMk cId="3435762894" sldId="2147348451"/>
        </pc:sldMkLst>
      </pc:sldChg>
      <pc:sldChg chg="del">
        <pc:chgData name="Thomas MARENCIC" userId="311041e6-165e-4441-8a6f-ecd1fba92656" providerId="ADAL" clId="{9715FE95-5736-4CE0-B3A2-20B7812A71B2}" dt="2022-11-24T12:47:44.417" v="141" actId="47"/>
        <pc:sldMkLst>
          <pc:docMk/>
          <pc:sldMk cId="4189888535" sldId="2147348453"/>
        </pc:sldMkLst>
      </pc:sldChg>
      <pc:sldChg chg="del">
        <pc:chgData name="Thomas MARENCIC" userId="311041e6-165e-4441-8a6f-ecd1fba92656" providerId="ADAL" clId="{9715FE95-5736-4CE0-B3A2-20B7812A71B2}" dt="2022-11-24T12:47:44.417" v="141" actId="47"/>
        <pc:sldMkLst>
          <pc:docMk/>
          <pc:sldMk cId="1566492539" sldId="2147348465"/>
        </pc:sldMkLst>
      </pc:sldChg>
      <pc:sldChg chg="del">
        <pc:chgData name="Thomas MARENCIC" userId="311041e6-165e-4441-8a6f-ecd1fba92656" providerId="ADAL" clId="{9715FE95-5736-4CE0-B3A2-20B7812A71B2}" dt="2022-11-24T12:47:44.417" v="141" actId="47"/>
        <pc:sldMkLst>
          <pc:docMk/>
          <pc:sldMk cId="50415888" sldId="2147348466"/>
        </pc:sldMkLst>
      </pc:sldChg>
      <pc:sldChg chg="del">
        <pc:chgData name="Thomas MARENCIC" userId="311041e6-165e-4441-8a6f-ecd1fba92656" providerId="ADAL" clId="{9715FE95-5736-4CE0-B3A2-20B7812A71B2}" dt="2022-11-24T12:47:44.417" v="141" actId="47"/>
        <pc:sldMkLst>
          <pc:docMk/>
          <pc:sldMk cId="1349516600" sldId="2147348467"/>
        </pc:sldMkLst>
      </pc:sldChg>
      <pc:sldChg chg="del">
        <pc:chgData name="Thomas MARENCIC" userId="311041e6-165e-4441-8a6f-ecd1fba92656" providerId="ADAL" clId="{9715FE95-5736-4CE0-B3A2-20B7812A71B2}" dt="2022-11-24T12:47:44.417" v="141" actId="47"/>
        <pc:sldMkLst>
          <pc:docMk/>
          <pc:sldMk cId="330995197" sldId="2147348468"/>
        </pc:sldMkLst>
      </pc:sldChg>
      <pc:sldChg chg="delSp mod">
        <pc:chgData name="Thomas MARENCIC" userId="311041e6-165e-4441-8a6f-ecd1fba92656" providerId="ADAL" clId="{9715FE95-5736-4CE0-B3A2-20B7812A71B2}" dt="2022-11-24T12:48:21.182" v="145" actId="478"/>
        <pc:sldMkLst>
          <pc:docMk/>
          <pc:sldMk cId="2161283367" sldId="2147375478"/>
        </pc:sldMkLst>
      </pc:sldChg>
      <pc:sldChg chg="delSp mod">
        <pc:chgData name="Thomas MARENCIC" userId="311041e6-165e-4441-8a6f-ecd1fba92656" providerId="ADAL" clId="{9715FE95-5736-4CE0-B3A2-20B7812A71B2}" dt="2022-11-24T12:48:36.695" v="148" actId="478"/>
        <pc:sldMkLst>
          <pc:docMk/>
          <pc:sldMk cId="3564186676" sldId="2147375479"/>
        </pc:sldMkLst>
      </pc:sldChg>
      <pc:sldChg chg="delSp mod">
        <pc:chgData name="Thomas MARENCIC" userId="311041e6-165e-4441-8a6f-ecd1fba92656" providerId="ADAL" clId="{9715FE95-5736-4CE0-B3A2-20B7812A71B2}" dt="2022-11-24T12:48:40.270" v="149" actId="478"/>
        <pc:sldMkLst>
          <pc:docMk/>
          <pc:sldMk cId="1200302629" sldId="2147375483"/>
        </pc:sldMkLst>
      </pc:sldChg>
      <pc:sldChg chg="del">
        <pc:chgData name="Thomas MARENCIC" userId="311041e6-165e-4441-8a6f-ecd1fba92656" providerId="ADAL" clId="{9715FE95-5736-4CE0-B3A2-20B7812A71B2}" dt="2022-11-24T12:47:44.417" v="141" actId="47"/>
        <pc:sldMkLst>
          <pc:docMk/>
          <pc:sldMk cId="1606308395" sldId="2147469055"/>
        </pc:sldMkLst>
      </pc:sldChg>
      <pc:sldChg chg="addSp delSp modSp mod">
        <pc:chgData name="Thomas MARENCIC" userId="311041e6-165e-4441-8a6f-ecd1fba92656" providerId="ADAL" clId="{9715FE95-5736-4CE0-B3A2-20B7812A71B2}" dt="2022-11-24T12:37:13.468" v="87" actId="20577"/>
        <pc:sldMkLst>
          <pc:docMk/>
          <pc:sldMk cId="604372831" sldId="2147469057"/>
        </pc:sldMkLst>
      </pc:sldChg>
      <pc:sldChg chg="del">
        <pc:chgData name="Thomas MARENCIC" userId="311041e6-165e-4441-8a6f-ecd1fba92656" providerId="ADAL" clId="{9715FE95-5736-4CE0-B3A2-20B7812A71B2}" dt="2022-11-24T12:47:44.417" v="141" actId="47"/>
        <pc:sldMkLst>
          <pc:docMk/>
          <pc:sldMk cId="288658002" sldId="2147469058"/>
        </pc:sldMkLst>
      </pc:sldChg>
      <pc:sldChg chg="del">
        <pc:chgData name="Thomas MARENCIC" userId="311041e6-165e-4441-8a6f-ecd1fba92656" providerId="ADAL" clId="{9715FE95-5736-4CE0-B3A2-20B7812A71B2}" dt="2022-11-24T12:28:45.905" v="15" actId="47"/>
        <pc:sldMkLst>
          <pc:docMk/>
          <pc:sldMk cId="2104960818" sldId="2147469059"/>
        </pc:sldMkLst>
      </pc:sldChg>
      <pc:sldChg chg="del">
        <pc:chgData name="Thomas MARENCIC" userId="311041e6-165e-4441-8a6f-ecd1fba92656" providerId="ADAL" clId="{9715FE95-5736-4CE0-B3A2-20B7812A71B2}" dt="2022-11-24T12:47:44.417" v="141" actId="47"/>
        <pc:sldMkLst>
          <pc:docMk/>
          <pc:sldMk cId="3976058553" sldId="2147469060"/>
        </pc:sldMkLst>
      </pc:sldChg>
      <pc:sldChg chg="del">
        <pc:chgData name="Thomas MARENCIC" userId="311041e6-165e-4441-8a6f-ecd1fba92656" providerId="ADAL" clId="{9715FE95-5736-4CE0-B3A2-20B7812A71B2}" dt="2022-11-24T12:47:44.417" v="141" actId="47"/>
        <pc:sldMkLst>
          <pc:docMk/>
          <pc:sldMk cId="1668214026" sldId="2147469063"/>
        </pc:sldMkLst>
      </pc:sldChg>
      <pc:sldChg chg="del">
        <pc:chgData name="Thomas MARENCIC" userId="311041e6-165e-4441-8a6f-ecd1fba92656" providerId="ADAL" clId="{9715FE95-5736-4CE0-B3A2-20B7812A71B2}" dt="2022-11-24T12:47:44.417" v="141" actId="47"/>
        <pc:sldMkLst>
          <pc:docMk/>
          <pc:sldMk cId="3431449945" sldId="2147469064"/>
        </pc:sldMkLst>
      </pc:sldChg>
      <pc:sldChg chg="del">
        <pc:chgData name="Thomas MARENCIC" userId="311041e6-165e-4441-8a6f-ecd1fba92656" providerId="ADAL" clId="{9715FE95-5736-4CE0-B3A2-20B7812A71B2}" dt="2022-11-24T12:47:44.417" v="141" actId="47"/>
        <pc:sldMkLst>
          <pc:docMk/>
          <pc:sldMk cId="790968632" sldId="2147469068"/>
        </pc:sldMkLst>
      </pc:sldChg>
      <pc:sldChg chg="del">
        <pc:chgData name="Thomas MARENCIC" userId="311041e6-165e-4441-8a6f-ecd1fba92656" providerId="ADAL" clId="{9715FE95-5736-4CE0-B3A2-20B7812A71B2}" dt="2022-11-24T12:47:44.417" v="141" actId="47"/>
        <pc:sldMkLst>
          <pc:docMk/>
          <pc:sldMk cId="3603512880" sldId="2147469070"/>
        </pc:sldMkLst>
      </pc:sldChg>
      <pc:sldChg chg="del">
        <pc:chgData name="Thomas MARENCIC" userId="311041e6-165e-4441-8a6f-ecd1fba92656" providerId="ADAL" clId="{9715FE95-5736-4CE0-B3A2-20B7812A71B2}" dt="2022-11-24T12:47:44.417" v="141" actId="47"/>
        <pc:sldMkLst>
          <pc:docMk/>
          <pc:sldMk cId="2427061404" sldId="2147469071"/>
        </pc:sldMkLst>
      </pc:sldChg>
      <pc:sldChg chg="del">
        <pc:chgData name="Thomas MARENCIC" userId="311041e6-165e-4441-8a6f-ecd1fba92656" providerId="ADAL" clId="{9715FE95-5736-4CE0-B3A2-20B7812A71B2}" dt="2022-11-24T12:47:44.417" v="141" actId="47"/>
        <pc:sldMkLst>
          <pc:docMk/>
          <pc:sldMk cId="1966325985" sldId="2147469073"/>
        </pc:sldMkLst>
      </pc:sldChg>
      <pc:sldChg chg="del">
        <pc:chgData name="Thomas MARENCIC" userId="311041e6-165e-4441-8a6f-ecd1fba92656" providerId="ADAL" clId="{9715FE95-5736-4CE0-B3A2-20B7812A71B2}" dt="2022-11-24T12:47:44.417" v="141" actId="47"/>
        <pc:sldMkLst>
          <pc:docMk/>
          <pc:sldMk cId="1902018747" sldId="2147469074"/>
        </pc:sldMkLst>
      </pc:sldChg>
      <pc:sldChg chg="del">
        <pc:chgData name="Thomas MARENCIC" userId="311041e6-165e-4441-8a6f-ecd1fba92656" providerId="ADAL" clId="{9715FE95-5736-4CE0-B3A2-20B7812A71B2}" dt="2022-11-24T12:47:44.417" v="141" actId="47"/>
        <pc:sldMkLst>
          <pc:docMk/>
          <pc:sldMk cId="1237250094" sldId="2147469075"/>
        </pc:sldMkLst>
      </pc:sldChg>
      <pc:sldChg chg="del">
        <pc:chgData name="Thomas MARENCIC" userId="311041e6-165e-4441-8a6f-ecd1fba92656" providerId="ADAL" clId="{9715FE95-5736-4CE0-B3A2-20B7812A71B2}" dt="2022-11-24T12:47:44.417" v="141" actId="47"/>
        <pc:sldMkLst>
          <pc:docMk/>
          <pc:sldMk cId="714285867" sldId="2147469077"/>
        </pc:sldMkLst>
      </pc:sldChg>
      <pc:sldChg chg="delSp mod">
        <pc:chgData name="Thomas MARENCIC" userId="311041e6-165e-4441-8a6f-ecd1fba92656" providerId="ADAL" clId="{9715FE95-5736-4CE0-B3A2-20B7812A71B2}" dt="2022-11-24T12:51:49.302" v="164" actId="478"/>
        <pc:sldMkLst>
          <pc:docMk/>
          <pc:sldMk cId="661619074" sldId="2147469078"/>
        </pc:sldMkLst>
      </pc:sldChg>
      <pc:sldChg chg="del">
        <pc:chgData name="Thomas MARENCIC" userId="311041e6-165e-4441-8a6f-ecd1fba92656" providerId="ADAL" clId="{9715FE95-5736-4CE0-B3A2-20B7812A71B2}" dt="2022-11-24T12:47:44.417" v="141" actId="47"/>
        <pc:sldMkLst>
          <pc:docMk/>
          <pc:sldMk cId="4026839340" sldId="2147469081"/>
        </pc:sldMkLst>
      </pc:sldChg>
      <pc:sldChg chg="modSp add del mod">
        <pc:chgData name="Thomas MARENCIC" userId="311041e6-165e-4441-8a6f-ecd1fba92656" providerId="ADAL" clId="{9715FE95-5736-4CE0-B3A2-20B7812A71B2}" dt="2022-11-24T13:14:52.604" v="455" actId="20577"/>
        <pc:sldMkLst>
          <pc:docMk/>
          <pc:sldMk cId="3558143222" sldId="2147469082"/>
        </pc:sldMkLst>
      </pc:sldChg>
      <pc:sldChg chg="del">
        <pc:chgData name="Thomas MARENCIC" userId="311041e6-165e-4441-8a6f-ecd1fba92656" providerId="ADAL" clId="{9715FE95-5736-4CE0-B3A2-20B7812A71B2}" dt="2022-11-24T12:28:45.905" v="15" actId="47"/>
        <pc:sldMkLst>
          <pc:docMk/>
          <pc:sldMk cId="3902851034" sldId="2147469086"/>
        </pc:sldMkLst>
      </pc:sldChg>
      <pc:sldChg chg="addSp delSp modSp mod delCm">
        <pc:chgData name="Thomas MARENCIC" userId="311041e6-165e-4441-8a6f-ecd1fba92656" providerId="ADAL" clId="{9715FE95-5736-4CE0-B3A2-20B7812A71B2}" dt="2022-11-24T12:54:27.750" v="227" actId="1076"/>
        <pc:sldMkLst>
          <pc:docMk/>
          <pc:sldMk cId="3192763856" sldId="2147469087"/>
        </pc:sldMkLst>
      </pc:sldChg>
      <pc:sldChg chg="del">
        <pc:chgData name="Thomas MARENCIC" userId="311041e6-165e-4441-8a6f-ecd1fba92656" providerId="ADAL" clId="{9715FE95-5736-4CE0-B3A2-20B7812A71B2}" dt="2022-11-24T12:28:45.905" v="15" actId="47"/>
        <pc:sldMkLst>
          <pc:docMk/>
          <pc:sldMk cId="1100783971" sldId="2147469089"/>
        </pc:sldMkLst>
      </pc:sldChg>
      <pc:sldChg chg="del">
        <pc:chgData name="Thomas MARENCIC" userId="311041e6-165e-4441-8a6f-ecd1fba92656" providerId="ADAL" clId="{9715FE95-5736-4CE0-B3A2-20B7812A71B2}" dt="2022-11-24T12:47:44.417" v="141" actId="47"/>
        <pc:sldMkLst>
          <pc:docMk/>
          <pc:sldMk cId="4082545815" sldId="2147469090"/>
        </pc:sldMkLst>
      </pc:sldChg>
      <pc:sldChg chg="del">
        <pc:chgData name="Thomas MARENCIC" userId="311041e6-165e-4441-8a6f-ecd1fba92656" providerId="ADAL" clId="{9715FE95-5736-4CE0-B3A2-20B7812A71B2}" dt="2022-11-24T12:47:44.417" v="141" actId="47"/>
        <pc:sldMkLst>
          <pc:docMk/>
          <pc:sldMk cId="2701268838" sldId="2147469091"/>
        </pc:sldMkLst>
      </pc:sldChg>
      <pc:sldChg chg="del">
        <pc:chgData name="Thomas MARENCIC" userId="311041e6-165e-4441-8a6f-ecd1fba92656" providerId="ADAL" clId="{9715FE95-5736-4CE0-B3A2-20B7812A71B2}" dt="2022-11-24T12:47:44.417" v="141" actId="47"/>
        <pc:sldMkLst>
          <pc:docMk/>
          <pc:sldMk cId="3622174121" sldId="2147469092"/>
        </pc:sldMkLst>
      </pc:sldChg>
      <pc:sldChg chg="del">
        <pc:chgData name="Thomas MARENCIC" userId="311041e6-165e-4441-8a6f-ecd1fba92656" providerId="ADAL" clId="{9715FE95-5736-4CE0-B3A2-20B7812A71B2}" dt="2022-11-24T12:47:44.417" v="141" actId="47"/>
        <pc:sldMkLst>
          <pc:docMk/>
          <pc:sldMk cId="3503394538" sldId="2147469093"/>
        </pc:sldMkLst>
      </pc:sldChg>
      <pc:sldChg chg="del">
        <pc:chgData name="Thomas MARENCIC" userId="311041e6-165e-4441-8a6f-ecd1fba92656" providerId="ADAL" clId="{9715FE95-5736-4CE0-B3A2-20B7812A71B2}" dt="2022-11-24T12:47:44.417" v="141" actId="47"/>
        <pc:sldMkLst>
          <pc:docMk/>
          <pc:sldMk cId="4154124096" sldId="2147469094"/>
        </pc:sldMkLst>
      </pc:sldChg>
      <pc:sldChg chg="delSp mod delCm">
        <pc:chgData name="Thomas MARENCIC" userId="311041e6-165e-4441-8a6f-ecd1fba92656" providerId="ADAL" clId="{9715FE95-5736-4CE0-B3A2-20B7812A71B2}" dt="2022-11-24T12:51:53.069" v="165" actId="478"/>
        <pc:sldMkLst>
          <pc:docMk/>
          <pc:sldMk cId="2972058130" sldId="2147469095"/>
        </pc:sldMkLst>
      </pc:sldChg>
      <pc:sldChg chg="del">
        <pc:chgData name="Thomas MARENCIC" userId="311041e6-165e-4441-8a6f-ecd1fba92656" providerId="ADAL" clId="{9715FE95-5736-4CE0-B3A2-20B7812A71B2}" dt="2022-11-24T12:47:44.417" v="141" actId="47"/>
        <pc:sldMkLst>
          <pc:docMk/>
          <pc:sldMk cId="1494617512" sldId="2147469099"/>
        </pc:sldMkLst>
      </pc:sldChg>
      <pc:sldChg chg="del">
        <pc:chgData name="Thomas MARENCIC" userId="311041e6-165e-4441-8a6f-ecd1fba92656" providerId="ADAL" clId="{9715FE95-5736-4CE0-B3A2-20B7812A71B2}" dt="2022-11-24T12:47:44.417" v="141" actId="47"/>
        <pc:sldMkLst>
          <pc:docMk/>
          <pc:sldMk cId="2968416426" sldId="2147469100"/>
        </pc:sldMkLst>
      </pc:sldChg>
      <pc:sldChg chg="del">
        <pc:chgData name="Thomas MARENCIC" userId="311041e6-165e-4441-8a6f-ecd1fba92656" providerId="ADAL" clId="{9715FE95-5736-4CE0-B3A2-20B7812A71B2}" dt="2022-11-24T12:47:44.417" v="141" actId="47"/>
        <pc:sldMkLst>
          <pc:docMk/>
          <pc:sldMk cId="1284612127" sldId="2147469101"/>
        </pc:sldMkLst>
      </pc:sldChg>
      <pc:sldChg chg="delSp mod delCm">
        <pc:chgData name="Thomas MARENCIC" userId="311041e6-165e-4441-8a6f-ecd1fba92656" providerId="ADAL" clId="{9715FE95-5736-4CE0-B3A2-20B7812A71B2}" dt="2022-11-24T12:48:24.851" v="146" actId="478"/>
        <pc:sldMkLst>
          <pc:docMk/>
          <pc:sldMk cId="817872428" sldId="2147469103"/>
        </pc:sldMkLst>
      </pc:sldChg>
      <pc:sldChg chg="delSp mod">
        <pc:chgData name="Thomas MARENCIC" userId="311041e6-165e-4441-8a6f-ecd1fba92656" providerId="ADAL" clId="{9715FE95-5736-4CE0-B3A2-20B7812A71B2}" dt="2022-11-24T12:48:32.228" v="147" actId="478"/>
        <pc:sldMkLst>
          <pc:docMk/>
          <pc:sldMk cId="1917964465" sldId="2147469104"/>
        </pc:sldMkLst>
      </pc:sldChg>
      <pc:sldChg chg="del">
        <pc:chgData name="Thomas MARENCIC" userId="311041e6-165e-4441-8a6f-ecd1fba92656" providerId="ADAL" clId="{9715FE95-5736-4CE0-B3A2-20B7812A71B2}" dt="2022-11-24T12:47:44.417" v="141" actId="47"/>
        <pc:sldMkLst>
          <pc:docMk/>
          <pc:sldMk cId="493744427" sldId="2147469105"/>
        </pc:sldMkLst>
      </pc:sldChg>
      <pc:sldChg chg="del">
        <pc:chgData name="Thomas MARENCIC" userId="311041e6-165e-4441-8a6f-ecd1fba92656" providerId="ADAL" clId="{9715FE95-5736-4CE0-B3A2-20B7812A71B2}" dt="2022-11-24T12:28:45.905" v="15" actId="47"/>
        <pc:sldMkLst>
          <pc:docMk/>
          <pc:sldMk cId="1811054749" sldId="2147469106"/>
        </pc:sldMkLst>
      </pc:sldChg>
      <pc:sldChg chg="del">
        <pc:chgData name="Thomas MARENCIC" userId="311041e6-165e-4441-8a6f-ecd1fba92656" providerId="ADAL" clId="{9715FE95-5736-4CE0-B3A2-20B7812A71B2}" dt="2022-11-24T12:47:44.417" v="141" actId="47"/>
        <pc:sldMkLst>
          <pc:docMk/>
          <pc:sldMk cId="1867355174" sldId="2147469107"/>
        </pc:sldMkLst>
      </pc:sldChg>
      <pc:sldChg chg="del">
        <pc:chgData name="Thomas MARENCIC" userId="311041e6-165e-4441-8a6f-ecd1fba92656" providerId="ADAL" clId="{9715FE95-5736-4CE0-B3A2-20B7812A71B2}" dt="2022-11-24T12:47:44.417" v="141" actId="47"/>
        <pc:sldMkLst>
          <pc:docMk/>
          <pc:sldMk cId="2796182287" sldId="2147469110"/>
        </pc:sldMkLst>
      </pc:sldChg>
      <pc:sldChg chg="delSp mod delCm">
        <pc:chgData name="Thomas MARENCIC" userId="311041e6-165e-4441-8a6f-ecd1fba92656" providerId="ADAL" clId="{9715FE95-5736-4CE0-B3A2-20B7812A71B2}" dt="2022-11-24T12:51:56.842" v="166" actId="478"/>
        <pc:sldMkLst>
          <pc:docMk/>
          <pc:sldMk cId="3241130360" sldId="2147469112"/>
        </pc:sldMkLst>
      </pc:sldChg>
      <pc:sldChg chg="del">
        <pc:chgData name="Thomas MARENCIC" userId="311041e6-165e-4441-8a6f-ecd1fba92656" providerId="ADAL" clId="{9715FE95-5736-4CE0-B3A2-20B7812A71B2}" dt="2022-11-24T12:47:44.417" v="141" actId="47"/>
        <pc:sldMkLst>
          <pc:docMk/>
          <pc:sldMk cId="1464269134" sldId="2147469114"/>
        </pc:sldMkLst>
      </pc:sldChg>
      <pc:sldChg chg="addSp delSp modSp mod">
        <pc:chgData name="Thomas MARENCIC" userId="311041e6-165e-4441-8a6f-ecd1fba92656" providerId="ADAL" clId="{9715FE95-5736-4CE0-B3A2-20B7812A71B2}" dt="2022-11-24T12:37:39.106" v="92" actId="20577"/>
        <pc:sldMkLst>
          <pc:docMk/>
          <pc:sldMk cId="3119294515" sldId="2147469115"/>
        </pc:sldMkLst>
      </pc:sldChg>
      <pc:sldChg chg="del">
        <pc:chgData name="Thomas MARENCIC" userId="311041e6-165e-4441-8a6f-ecd1fba92656" providerId="ADAL" clId="{9715FE95-5736-4CE0-B3A2-20B7812A71B2}" dt="2022-11-24T12:47:44.417" v="141" actId="47"/>
        <pc:sldMkLst>
          <pc:docMk/>
          <pc:sldMk cId="3997732935" sldId="2147469116"/>
        </pc:sldMkLst>
      </pc:sldChg>
      <pc:sldChg chg="del">
        <pc:chgData name="Thomas MARENCIC" userId="311041e6-165e-4441-8a6f-ecd1fba92656" providerId="ADAL" clId="{9715FE95-5736-4CE0-B3A2-20B7812A71B2}" dt="2022-11-24T12:47:44.417" v="141" actId="47"/>
        <pc:sldMkLst>
          <pc:docMk/>
          <pc:sldMk cId="3277147581" sldId="2147469117"/>
        </pc:sldMkLst>
      </pc:sldChg>
      <pc:sldChg chg="del">
        <pc:chgData name="Thomas MARENCIC" userId="311041e6-165e-4441-8a6f-ecd1fba92656" providerId="ADAL" clId="{9715FE95-5736-4CE0-B3A2-20B7812A71B2}" dt="2022-11-24T12:47:44.417" v="141" actId="47"/>
        <pc:sldMkLst>
          <pc:docMk/>
          <pc:sldMk cId="3698160726" sldId="2147469118"/>
        </pc:sldMkLst>
      </pc:sldChg>
      <pc:sldChg chg="del">
        <pc:chgData name="Thomas MARENCIC" userId="311041e6-165e-4441-8a6f-ecd1fba92656" providerId="ADAL" clId="{9715FE95-5736-4CE0-B3A2-20B7812A71B2}" dt="2022-11-24T12:28:45.905" v="15" actId="47"/>
        <pc:sldMkLst>
          <pc:docMk/>
          <pc:sldMk cId="1888111130" sldId="2147469121"/>
        </pc:sldMkLst>
      </pc:sldChg>
      <pc:sldChg chg="delSp mod">
        <pc:chgData name="Thomas MARENCIC" userId="311041e6-165e-4441-8a6f-ecd1fba92656" providerId="ADAL" clId="{9715FE95-5736-4CE0-B3A2-20B7812A71B2}" dt="2022-11-24T12:52:01.099" v="167" actId="478"/>
        <pc:sldMkLst>
          <pc:docMk/>
          <pc:sldMk cId="1312330934" sldId="2147469122"/>
        </pc:sldMkLst>
      </pc:sldChg>
      <pc:sldChg chg="del">
        <pc:chgData name="Thomas MARENCIC" userId="311041e6-165e-4441-8a6f-ecd1fba92656" providerId="ADAL" clId="{9715FE95-5736-4CE0-B3A2-20B7812A71B2}" dt="2022-11-24T12:28:45.905" v="15" actId="47"/>
        <pc:sldMkLst>
          <pc:docMk/>
          <pc:sldMk cId="2060169463" sldId="2147469123"/>
        </pc:sldMkLst>
      </pc:sldChg>
      <pc:sldChg chg="delSp mod">
        <pc:chgData name="Thomas MARENCIC" userId="311041e6-165e-4441-8a6f-ecd1fba92656" providerId="ADAL" clId="{9715FE95-5736-4CE0-B3A2-20B7812A71B2}" dt="2022-11-24T12:48:17.015" v="144" actId="478"/>
        <pc:sldMkLst>
          <pc:docMk/>
          <pc:sldMk cId="1299154118" sldId="2147469124"/>
        </pc:sldMkLst>
      </pc:sldChg>
      <pc:sldChg chg="del">
        <pc:chgData name="Thomas MARENCIC" userId="311041e6-165e-4441-8a6f-ecd1fba92656" providerId="ADAL" clId="{9715FE95-5736-4CE0-B3A2-20B7812A71B2}" dt="2022-11-24T12:28:45.905" v="15" actId="47"/>
        <pc:sldMkLst>
          <pc:docMk/>
          <pc:sldMk cId="397677498" sldId="2147469126"/>
        </pc:sldMkLst>
      </pc:sldChg>
      <pc:sldChg chg="del">
        <pc:chgData name="Thomas MARENCIC" userId="311041e6-165e-4441-8a6f-ecd1fba92656" providerId="ADAL" clId="{9715FE95-5736-4CE0-B3A2-20B7812A71B2}" dt="2022-11-24T12:28:45.905" v="15" actId="47"/>
        <pc:sldMkLst>
          <pc:docMk/>
          <pc:sldMk cId="3395891051" sldId="2147469127"/>
        </pc:sldMkLst>
      </pc:sldChg>
      <pc:sldChg chg="del">
        <pc:chgData name="Thomas MARENCIC" userId="311041e6-165e-4441-8a6f-ecd1fba92656" providerId="ADAL" clId="{9715FE95-5736-4CE0-B3A2-20B7812A71B2}" dt="2022-11-24T12:47:44.417" v="141" actId="47"/>
        <pc:sldMkLst>
          <pc:docMk/>
          <pc:sldMk cId="1356193831" sldId="2147469129"/>
        </pc:sldMkLst>
      </pc:sldChg>
      <pc:sldChg chg="del">
        <pc:chgData name="Thomas MARENCIC" userId="311041e6-165e-4441-8a6f-ecd1fba92656" providerId="ADAL" clId="{9715FE95-5736-4CE0-B3A2-20B7812A71B2}" dt="2022-11-24T12:47:44.417" v="141" actId="47"/>
        <pc:sldMkLst>
          <pc:docMk/>
          <pc:sldMk cId="4101098924" sldId="2147469131"/>
        </pc:sldMkLst>
      </pc:sldChg>
      <pc:sldChg chg="del">
        <pc:chgData name="Thomas MARENCIC" userId="311041e6-165e-4441-8a6f-ecd1fba92656" providerId="ADAL" clId="{9715FE95-5736-4CE0-B3A2-20B7812A71B2}" dt="2022-11-24T12:47:44.417" v="141" actId="47"/>
        <pc:sldMkLst>
          <pc:docMk/>
          <pc:sldMk cId="3765821006" sldId="2147469132"/>
        </pc:sldMkLst>
      </pc:sldChg>
      <pc:sldChg chg="del">
        <pc:chgData name="Thomas MARENCIC" userId="311041e6-165e-4441-8a6f-ecd1fba92656" providerId="ADAL" clId="{9715FE95-5736-4CE0-B3A2-20B7812A71B2}" dt="2022-11-24T12:47:44.417" v="141" actId="47"/>
        <pc:sldMkLst>
          <pc:docMk/>
          <pc:sldMk cId="3958541017" sldId="2147469133"/>
        </pc:sldMkLst>
      </pc:sldChg>
      <pc:sldChg chg="del">
        <pc:chgData name="Thomas MARENCIC" userId="311041e6-165e-4441-8a6f-ecd1fba92656" providerId="ADAL" clId="{9715FE95-5736-4CE0-B3A2-20B7812A71B2}" dt="2022-11-24T12:47:44.417" v="141" actId="47"/>
        <pc:sldMkLst>
          <pc:docMk/>
          <pc:sldMk cId="3498454473" sldId="2147469134"/>
        </pc:sldMkLst>
      </pc:sldChg>
      <pc:sldChg chg="del">
        <pc:chgData name="Thomas MARENCIC" userId="311041e6-165e-4441-8a6f-ecd1fba92656" providerId="ADAL" clId="{9715FE95-5736-4CE0-B3A2-20B7812A71B2}" dt="2022-11-24T12:47:44.417" v="141" actId="47"/>
        <pc:sldMkLst>
          <pc:docMk/>
          <pc:sldMk cId="596525436" sldId="2147469135"/>
        </pc:sldMkLst>
      </pc:sldChg>
      <pc:sldChg chg="del">
        <pc:chgData name="Thomas MARENCIC" userId="311041e6-165e-4441-8a6f-ecd1fba92656" providerId="ADAL" clId="{9715FE95-5736-4CE0-B3A2-20B7812A71B2}" dt="2022-11-24T12:28:45.905" v="15" actId="47"/>
        <pc:sldMkLst>
          <pc:docMk/>
          <pc:sldMk cId="562159862" sldId="2147469136"/>
        </pc:sldMkLst>
      </pc:sldChg>
      <pc:sldChg chg="del">
        <pc:chgData name="Thomas MARENCIC" userId="311041e6-165e-4441-8a6f-ecd1fba92656" providerId="ADAL" clId="{9715FE95-5736-4CE0-B3A2-20B7812A71B2}" dt="2022-11-24T12:47:44.417" v="141" actId="47"/>
        <pc:sldMkLst>
          <pc:docMk/>
          <pc:sldMk cId="1145024263" sldId="2147469137"/>
        </pc:sldMkLst>
      </pc:sldChg>
      <pc:sldChg chg="del">
        <pc:chgData name="Thomas MARENCIC" userId="311041e6-165e-4441-8a6f-ecd1fba92656" providerId="ADAL" clId="{9715FE95-5736-4CE0-B3A2-20B7812A71B2}" dt="2022-11-24T12:47:44.417" v="141" actId="47"/>
        <pc:sldMkLst>
          <pc:docMk/>
          <pc:sldMk cId="717168425" sldId="2147469140"/>
        </pc:sldMkLst>
      </pc:sldChg>
      <pc:sldChg chg="del">
        <pc:chgData name="Thomas MARENCIC" userId="311041e6-165e-4441-8a6f-ecd1fba92656" providerId="ADAL" clId="{9715FE95-5736-4CE0-B3A2-20B7812A71B2}" dt="2022-11-24T12:28:45.905" v="15" actId="47"/>
        <pc:sldMkLst>
          <pc:docMk/>
          <pc:sldMk cId="1645757714" sldId="2147469141"/>
        </pc:sldMkLst>
      </pc:sldChg>
      <pc:sldChg chg="del">
        <pc:chgData name="Thomas MARENCIC" userId="311041e6-165e-4441-8a6f-ecd1fba92656" providerId="ADAL" clId="{9715FE95-5736-4CE0-B3A2-20B7812A71B2}" dt="2022-11-24T12:28:45.905" v="15" actId="47"/>
        <pc:sldMkLst>
          <pc:docMk/>
          <pc:sldMk cId="3803071983" sldId="2147469142"/>
        </pc:sldMkLst>
      </pc:sldChg>
      <pc:sldChg chg="del">
        <pc:chgData name="Thomas MARENCIC" userId="311041e6-165e-4441-8a6f-ecd1fba92656" providerId="ADAL" clId="{9715FE95-5736-4CE0-B3A2-20B7812A71B2}" dt="2022-11-24T12:28:45.905" v="15" actId="47"/>
        <pc:sldMkLst>
          <pc:docMk/>
          <pc:sldMk cId="3012662682" sldId="2147469143"/>
        </pc:sldMkLst>
      </pc:sldChg>
      <pc:sldChg chg="del">
        <pc:chgData name="Thomas MARENCIC" userId="311041e6-165e-4441-8a6f-ecd1fba92656" providerId="ADAL" clId="{9715FE95-5736-4CE0-B3A2-20B7812A71B2}" dt="2022-11-24T12:28:45.905" v="15" actId="47"/>
        <pc:sldMkLst>
          <pc:docMk/>
          <pc:sldMk cId="4031084931" sldId="2147469144"/>
        </pc:sldMkLst>
      </pc:sldChg>
      <pc:sldChg chg="del">
        <pc:chgData name="Thomas MARENCIC" userId="311041e6-165e-4441-8a6f-ecd1fba92656" providerId="ADAL" clId="{9715FE95-5736-4CE0-B3A2-20B7812A71B2}" dt="2022-11-24T12:28:45.905" v="15" actId="47"/>
        <pc:sldMkLst>
          <pc:docMk/>
          <pc:sldMk cId="2317200392" sldId="2147469145"/>
        </pc:sldMkLst>
      </pc:sldChg>
      <pc:sldChg chg="del">
        <pc:chgData name="Thomas MARENCIC" userId="311041e6-165e-4441-8a6f-ecd1fba92656" providerId="ADAL" clId="{9715FE95-5736-4CE0-B3A2-20B7812A71B2}" dt="2022-11-24T12:47:44.417" v="141" actId="47"/>
        <pc:sldMkLst>
          <pc:docMk/>
          <pc:sldMk cId="2143227339" sldId="2147469146"/>
        </pc:sldMkLst>
      </pc:sldChg>
      <pc:sldChg chg="del">
        <pc:chgData name="Thomas MARENCIC" userId="311041e6-165e-4441-8a6f-ecd1fba92656" providerId="ADAL" clId="{9715FE95-5736-4CE0-B3A2-20B7812A71B2}" dt="2022-11-24T12:47:44.417" v="141" actId="47"/>
        <pc:sldMkLst>
          <pc:docMk/>
          <pc:sldMk cId="1886545817" sldId="2147469147"/>
        </pc:sldMkLst>
      </pc:sldChg>
      <pc:sldChg chg="del">
        <pc:chgData name="Thomas MARENCIC" userId="311041e6-165e-4441-8a6f-ecd1fba92656" providerId="ADAL" clId="{9715FE95-5736-4CE0-B3A2-20B7812A71B2}" dt="2022-11-24T12:47:44.417" v="141" actId="47"/>
        <pc:sldMkLst>
          <pc:docMk/>
          <pc:sldMk cId="697547878" sldId="2147469149"/>
        </pc:sldMkLst>
      </pc:sldChg>
      <pc:sldChg chg="del">
        <pc:chgData name="Thomas MARENCIC" userId="311041e6-165e-4441-8a6f-ecd1fba92656" providerId="ADAL" clId="{9715FE95-5736-4CE0-B3A2-20B7812A71B2}" dt="2022-11-24T12:47:44.417" v="141" actId="47"/>
        <pc:sldMkLst>
          <pc:docMk/>
          <pc:sldMk cId="1233269995" sldId="2147469150"/>
        </pc:sldMkLst>
      </pc:sldChg>
      <pc:sldChg chg="del">
        <pc:chgData name="Thomas MARENCIC" userId="311041e6-165e-4441-8a6f-ecd1fba92656" providerId="ADAL" clId="{9715FE95-5736-4CE0-B3A2-20B7812A71B2}" dt="2022-11-24T12:47:44.417" v="141" actId="47"/>
        <pc:sldMkLst>
          <pc:docMk/>
          <pc:sldMk cId="2417780409" sldId="2147469154"/>
        </pc:sldMkLst>
      </pc:sldChg>
      <pc:sldChg chg="del">
        <pc:chgData name="Thomas MARENCIC" userId="311041e6-165e-4441-8a6f-ecd1fba92656" providerId="ADAL" clId="{9715FE95-5736-4CE0-B3A2-20B7812A71B2}" dt="2022-11-24T12:47:44.417" v="141" actId="47"/>
        <pc:sldMkLst>
          <pc:docMk/>
          <pc:sldMk cId="2447448312" sldId="2147469155"/>
        </pc:sldMkLst>
      </pc:sldChg>
      <pc:sldChg chg="del">
        <pc:chgData name="Thomas MARENCIC" userId="311041e6-165e-4441-8a6f-ecd1fba92656" providerId="ADAL" clId="{9715FE95-5736-4CE0-B3A2-20B7812A71B2}" dt="2022-11-24T12:47:44.417" v="141" actId="47"/>
        <pc:sldMkLst>
          <pc:docMk/>
          <pc:sldMk cId="3812361290" sldId="2147469157"/>
        </pc:sldMkLst>
      </pc:sldChg>
      <pc:sldChg chg="del">
        <pc:chgData name="Thomas MARENCIC" userId="311041e6-165e-4441-8a6f-ecd1fba92656" providerId="ADAL" clId="{9715FE95-5736-4CE0-B3A2-20B7812A71B2}" dt="2022-11-24T12:47:44.417" v="141" actId="47"/>
        <pc:sldMkLst>
          <pc:docMk/>
          <pc:sldMk cId="2510276694" sldId="2147469158"/>
        </pc:sldMkLst>
      </pc:sldChg>
      <pc:sldChg chg="del">
        <pc:chgData name="Thomas MARENCIC" userId="311041e6-165e-4441-8a6f-ecd1fba92656" providerId="ADAL" clId="{9715FE95-5736-4CE0-B3A2-20B7812A71B2}" dt="2022-11-24T12:47:44.417" v="141" actId="47"/>
        <pc:sldMkLst>
          <pc:docMk/>
          <pc:sldMk cId="3833540386" sldId="2147469159"/>
        </pc:sldMkLst>
      </pc:sldChg>
      <pc:sldChg chg="del">
        <pc:chgData name="Thomas MARENCIC" userId="311041e6-165e-4441-8a6f-ecd1fba92656" providerId="ADAL" clId="{9715FE95-5736-4CE0-B3A2-20B7812A71B2}" dt="2022-11-24T12:47:44.417" v="141" actId="47"/>
        <pc:sldMkLst>
          <pc:docMk/>
          <pc:sldMk cId="4281566971" sldId="2147469160"/>
        </pc:sldMkLst>
      </pc:sldChg>
      <pc:sldChg chg="del">
        <pc:chgData name="Thomas MARENCIC" userId="311041e6-165e-4441-8a6f-ecd1fba92656" providerId="ADAL" clId="{9715FE95-5736-4CE0-B3A2-20B7812A71B2}" dt="2022-11-24T12:47:44.417" v="141" actId="47"/>
        <pc:sldMkLst>
          <pc:docMk/>
          <pc:sldMk cId="1906587934" sldId="2147469161"/>
        </pc:sldMkLst>
      </pc:sldChg>
      <pc:sldChg chg="del">
        <pc:chgData name="Thomas MARENCIC" userId="311041e6-165e-4441-8a6f-ecd1fba92656" providerId="ADAL" clId="{9715FE95-5736-4CE0-B3A2-20B7812A71B2}" dt="2022-11-24T12:47:44.417" v="141" actId="47"/>
        <pc:sldMkLst>
          <pc:docMk/>
          <pc:sldMk cId="3628719627" sldId="2147469162"/>
        </pc:sldMkLst>
      </pc:sldChg>
      <pc:sldChg chg="del">
        <pc:chgData name="Thomas MARENCIC" userId="311041e6-165e-4441-8a6f-ecd1fba92656" providerId="ADAL" clId="{9715FE95-5736-4CE0-B3A2-20B7812A71B2}" dt="2022-11-24T12:47:44.417" v="141" actId="47"/>
        <pc:sldMkLst>
          <pc:docMk/>
          <pc:sldMk cId="2376698930" sldId="2147469163"/>
        </pc:sldMkLst>
      </pc:sldChg>
      <pc:sldChg chg="del">
        <pc:chgData name="Thomas MARENCIC" userId="311041e6-165e-4441-8a6f-ecd1fba92656" providerId="ADAL" clId="{9715FE95-5736-4CE0-B3A2-20B7812A71B2}" dt="2022-11-24T12:47:44.417" v="141" actId="47"/>
        <pc:sldMkLst>
          <pc:docMk/>
          <pc:sldMk cId="641365598" sldId="2147469164"/>
        </pc:sldMkLst>
      </pc:sldChg>
      <pc:sldChg chg="del">
        <pc:chgData name="Thomas MARENCIC" userId="311041e6-165e-4441-8a6f-ecd1fba92656" providerId="ADAL" clId="{9715FE95-5736-4CE0-B3A2-20B7812A71B2}" dt="2022-11-24T12:47:44.417" v="141" actId="47"/>
        <pc:sldMkLst>
          <pc:docMk/>
          <pc:sldMk cId="3313173494" sldId="2147469165"/>
        </pc:sldMkLst>
      </pc:sldChg>
      <pc:sldChg chg="del">
        <pc:chgData name="Thomas MARENCIC" userId="311041e6-165e-4441-8a6f-ecd1fba92656" providerId="ADAL" clId="{9715FE95-5736-4CE0-B3A2-20B7812A71B2}" dt="2022-11-24T12:47:44.417" v="141" actId="47"/>
        <pc:sldMkLst>
          <pc:docMk/>
          <pc:sldMk cId="2169024539" sldId="2147469166"/>
        </pc:sldMkLst>
      </pc:sldChg>
      <pc:sldChg chg="del">
        <pc:chgData name="Thomas MARENCIC" userId="311041e6-165e-4441-8a6f-ecd1fba92656" providerId="ADAL" clId="{9715FE95-5736-4CE0-B3A2-20B7812A71B2}" dt="2022-11-24T12:47:44.417" v="141" actId="47"/>
        <pc:sldMkLst>
          <pc:docMk/>
          <pc:sldMk cId="4097256155" sldId="2147469167"/>
        </pc:sldMkLst>
      </pc:sldChg>
      <pc:sldChg chg="del">
        <pc:chgData name="Thomas MARENCIC" userId="311041e6-165e-4441-8a6f-ecd1fba92656" providerId="ADAL" clId="{9715FE95-5736-4CE0-B3A2-20B7812A71B2}" dt="2022-11-24T12:47:44.417" v="141" actId="47"/>
        <pc:sldMkLst>
          <pc:docMk/>
          <pc:sldMk cId="538811049" sldId="2147469168"/>
        </pc:sldMkLst>
      </pc:sldChg>
      <pc:sldChg chg="del">
        <pc:chgData name="Thomas MARENCIC" userId="311041e6-165e-4441-8a6f-ecd1fba92656" providerId="ADAL" clId="{9715FE95-5736-4CE0-B3A2-20B7812A71B2}" dt="2022-11-24T12:47:44.417" v="141" actId="47"/>
        <pc:sldMkLst>
          <pc:docMk/>
          <pc:sldMk cId="3207748619" sldId="2147469169"/>
        </pc:sldMkLst>
      </pc:sldChg>
      <pc:sldChg chg="del">
        <pc:chgData name="Thomas MARENCIC" userId="311041e6-165e-4441-8a6f-ecd1fba92656" providerId="ADAL" clId="{9715FE95-5736-4CE0-B3A2-20B7812A71B2}" dt="2022-11-24T12:47:44.417" v="141" actId="47"/>
        <pc:sldMkLst>
          <pc:docMk/>
          <pc:sldMk cId="698727403" sldId="2147469170"/>
        </pc:sldMkLst>
      </pc:sldChg>
      <pc:sldChg chg="del">
        <pc:chgData name="Thomas MARENCIC" userId="311041e6-165e-4441-8a6f-ecd1fba92656" providerId="ADAL" clId="{9715FE95-5736-4CE0-B3A2-20B7812A71B2}" dt="2022-11-24T12:47:44.417" v="141" actId="47"/>
        <pc:sldMkLst>
          <pc:docMk/>
          <pc:sldMk cId="95541743" sldId="2147469171"/>
        </pc:sldMkLst>
      </pc:sldChg>
      <pc:sldChg chg="del">
        <pc:chgData name="Thomas MARENCIC" userId="311041e6-165e-4441-8a6f-ecd1fba92656" providerId="ADAL" clId="{9715FE95-5736-4CE0-B3A2-20B7812A71B2}" dt="2022-11-24T12:47:44.417" v="141" actId="47"/>
        <pc:sldMkLst>
          <pc:docMk/>
          <pc:sldMk cId="2487983601" sldId="2147469174"/>
        </pc:sldMkLst>
      </pc:sldChg>
      <pc:sldChg chg="del">
        <pc:chgData name="Thomas MARENCIC" userId="311041e6-165e-4441-8a6f-ecd1fba92656" providerId="ADAL" clId="{9715FE95-5736-4CE0-B3A2-20B7812A71B2}" dt="2022-11-24T12:47:44.417" v="141" actId="47"/>
        <pc:sldMkLst>
          <pc:docMk/>
          <pc:sldMk cId="789628742" sldId="2147469175"/>
        </pc:sldMkLst>
      </pc:sldChg>
      <pc:sldChg chg="del">
        <pc:chgData name="Thomas MARENCIC" userId="311041e6-165e-4441-8a6f-ecd1fba92656" providerId="ADAL" clId="{9715FE95-5736-4CE0-B3A2-20B7812A71B2}" dt="2022-11-24T12:47:44.417" v="141" actId="47"/>
        <pc:sldMkLst>
          <pc:docMk/>
          <pc:sldMk cId="3713301999" sldId="2147469176"/>
        </pc:sldMkLst>
      </pc:sldChg>
      <pc:sldChg chg="del">
        <pc:chgData name="Thomas MARENCIC" userId="311041e6-165e-4441-8a6f-ecd1fba92656" providerId="ADAL" clId="{9715FE95-5736-4CE0-B3A2-20B7812A71B2}" dt="2022-11-24T12:47:44.417" v="141" actId="47"/>
        <pc:sldMkLst>
          <pc:docMk/>
          <pc:sldMk cId="60330290" sldId="2147469177"/>
        </pc:sldMkLst>
      </pc:sldChg>
      <pc:sldChg chg="del">
        <pc:chgData name="Thomas MARENCIC" userId="311041e6-165e-4441-8a6f-ecd1fba92656" providerId="ADAL" clId="{9715FE95-5736-4CE0-B3A2-20B7812A71B2}" dt="2022-11-24T12:47:44.417" v="141" actId="47"/>
        <pc:sldMkLst>
          <pc:docMk/>
          <pc:sldMk cId="3979003394" sldId="2147469179"/>
        </pc:sldMkLst>
      </pc:sldChg>
      <pc:sldChg chg="del">
        <pc:chgData name="Thomas MARENCIC" userId="311041e6-165e-4441-8a6f-ecd1fba92656" providerId="ADAL" clId="{9715FE95-5736-4CE0-B3A2-20B7812A71B2}" dt="2022-11-24T12:47:44.417" v="141" actId="47"/>
        <pc:sldMkLst>
          <pc:docMk/>
          <pc:sldMk cId="531661740" sldId="2147469180"/>
        </pc:sldMkLst>
      </pc:sldChg>
      <pc:sldChg chg="del">
        <pc:chgData name="Thomas MARENCIC" userId="311041e6-165e-4441-8a6f-ecd1fba92656" providerId="ADAL" clId="{9715FE95-5736-4CE0-B3A2-20B7812A71B2}" dt="2022-11-24T12:47:44.417" v="141" actId="47"/>
        <pc:sldMkLst>
          <pc:docMk/>
          <pc:sldMk cId="69356615" sldId="2147469181"/>
        </pc:sldMkLst>
      </pc:sldChg>
      <pc:sldChg chg="del">
        <pc:chgData name="Thomas MARENCIC" userId="311041e6-165e-4441-8a6f-ecd1fba92656" providerId="ADAL" clId="{9715FE95-5736-4CE0-B3A2-20B7812A71B2}" dt="2022-11-24T12:47:44.417" v="141" actId="47"/>
        <pc:sldMkLst>
          <pc:docMk/>
          <pc:sldMk cId="1732544511" sldId="2147469182"/>
        </pc:sldMkLst>
      </pc:sldChg>
      <pc:sldChg chg="del">
        <pc:chgData name="Thomas MARENCIC" userId="311041e6-165e-4441-8a6f-ecd1fba92656" providerId="ADAL" clId="{9715FE95-5736-4CE0-B3A2-20B7812A71B2}" dt="2022-11-24T12:47:44.417" v="141" actId="47"/>
        <pc:sldMkLst>
          <pc:docMk/>
          <pc:sldMk cId="30587455" sldId="2147469183"/>
        </pc:sldMkLst>
      </pc:sldChg>
      <pc:sldChg chg="del">
        <pc:chgData name="Thomas MARENCIC" userId="311041e6-165e-4441-8a6f-ecd1fba92656" providerId="ADAL" clId="{9715FE95-5736-4CE0-B3A2-20B7812A71B2}" dt="2022-11-24T12:47:44.417" v="141" actId="47"/>
        <pc:sldMkLst>
          <pc:docMk/>
          <pc:sldMk cId="2781552067" sldId="2147469184"/>
        </pc:sldMkLst>
      </pc:sldChg>
      <pc:sldChg chg="del">
        <pc:chgData name="Thomas MARENCIC" userId="311041e6-165e-4441-8a6f-ecd1fba92656" providerId="ADAL" clId="{9715FE95-5736-4CE0-B3A2-20B7812A71B2}" dt="2022-11-24T12:47:44.417" v="141" actId="47"/>
        <pc:sldMkLst>
          <pc:docMk/>
          <pc:sldMk cId="3812945220" sldId="2147469185"/>
        </pc:sldMkLst>
      </pc:sldChg>
      <pc:sldChg chg="del">
        <pc:chgData name="Thomas MARENCIC" userId="311041e6-165e-4441-8a6f-ecd1fba92656" providerId="ADAL" clId="{9715FE95-5736-4CE0-B3A2-20B7812A71B2}" dt="2022-11-24T12:47:44.417" v="141" actId="47"/>
        <pc:sldMkLst>
          <pc:docMk/>
          <pc:sldMk cId="781192318" sldId="2147469186"/>
        </pc:sldMkLst>
      </pc:sldChg>
      <pc:sldChg chg="del">
        <pc:chgData name="Thomas MARENCIC" userId="311041e6-165e-4441-8a6f-ecd1fba92656" providerId="ADAL" clId="{9715FE95-5736-4CE0-B3A2-20B7812A71B2}" dt="2022-11-24T12:47:44.417" v="141" actId="47"/>
        <pc:sldMkLst>
          <pc:docMk/>
          <pc:sldMk cId="2602712677" sldId="2147469187"/>
        </pc:sldMkLst>
      </pc:sldChg>
      <pc:sldChg chg="del">
        <pc:chgData name="Thomas MARENCIC" userId="311041e6-165e-4441-8a6f-ecd1fba92656" providerId="ADAL" clId="{9715FE95-5736-4CE0-B3A2-20B7812A71B2}" dt="2022-11-24T12:47:44.417" v="141" actId="47"/>
        <pc:sldMkLst>
          <pc:docMk/>
          <pc:sldMk cId="64075346" sldId="2147469188"/>
        </pc:sldMkLst>
      </pc:sldChg>
      <pc:sldChg chg="del">
        <pc:chgData name="Thomas MARENCIC" userId="311041e6-165e-4441-8a6f-ecd1fba92656" providerId="ADAL" clId="{9715FE95-5736-4CE0-B3A2-20B7812A71B2}" dt="2022-11-24T12:47:44.417" v="141" actId="47"/>
        <pc:sldMkLst>
          <pc:docMk/>
          <pc:sldMk cId="2895244835" sldId="2147469190"/>
        </pc:sldMkLst>
      </pc:sldChg>
      <pc:sldChg chg="del">
        <pc:chgData name="Thomas MARENCIC" userId="311041e6-165e-4441-8a6f-ecd1fba92656" providerId="ADAL" clId="{9715FE95-5736-4CE0-B3A2-20B7812A71B2}" dt="2022-11-24T12:47:44.417" v="141" actId="47"/>
        <pc:sldMkLst>
          <pc:docMk/>
          <pc:sldMk cId="2768230687" sldId="2147469191"/>
        </pc:sldMkLst>
      </pc:sldChg>
      <pc:sldChg chg="del">
        <pc:chgData name="Thomas MARENCIC" userId="311041e6-165e-4441-8a6f-ecd1fba92656" providerId="ADAL" clId="{9715FE95-5736-4CE0-B3A2-20B7812A71B2}" dt="2022-11-24T12:47:44.417" v="141" actId="47"/>
        <pc:sldMkLst>
          <pc:docMk/>
          <pc:sldMk cId="1804032699" sldId="2147469192"/>
        </pc:sldMkLst>
      </pc:sldChg>
      <pc:sldChg chg="del">
        <pc:chgData name="Thomas MARENCIC" userId="311041e6-165e-4441-8a6f-ecd1fba92656" providerId="ADAL" clId="{9715FE95-5736-4CE0-B3A2-20B7812A71B2}" dt="2022-11-24T12:47:44.417" v="141" actId="47"/>
        <pc:sldMkLst>
          <pc:docMk/>
          <pc:sldMk cId="2889834664" sldId="2147469193"/>
        </pc:sldMkLst>
      </pc:sldChg>
      <pc:sldChg chg="addSp delSp modSp add del mod">
        <pc:chgData name="Thomas MARENCIC" userId="311041e6-165e-4441-8a6f-ecd1fba92656" providerId="ADAL" clId="{9715FE95-5736-4CE0-B3A2-20B7812A71B2}" dt="2022-11-28T10:27:31.559" v="1528" actId="571"/>
        <pc:sldMkLst>
          <pc:docMk/>
          <pc:sldMk cId="2603625157" sldId="2147469194"/>
        </pc:sldMkLst>
      </pc:sldChg>
      <pc:sldChg chg="addSp delSp modSp add del mod">
        <pc:chgData name="Thomas MARENCIC" userId="311041e6-165e-4441-8a6f-ecd1fba92656" providerId="ADAL" clId="{9715FE95-5736-4CE0-B3A2-20B7812A71B2}" dt="2022-11-24T17:07:22.870" v="1486" actId="1076"/>
        <pc:sldMkLst>
          <pc:docMk/>
          <pc:sldMk cId="3675963834" sldId="2147469195"/>
        </pc:sldMkLst>
      </pc:sldChg>
      <pc:sldChg chg="addSp delSp modSp del mod">
        <pc:chgData name="Thomas MARENCIC" userId="311041e6-165e-4441-8a6f-ecd1fba92656" providerId="ADAL" clId="{9715FE95-5736-4CE0-B3A2-20B7812A71B2}" dt="2022-11-24T12:47:44.417" v="141" actId="47"/>
        <pc:sldMkLst>
          <pc:docMk/>
          <pc:sldMk cId="7465155" sldId="2147469196"/>
        </pc:sldMkLst>
      </pc:sldChg>
      <pc:sldChg chg="add del">
        <pc:chgData name="Thomas MARENCIC" userId="311041e6-165e-4441-8a6f-ecd1fba92656" providerId="ADAL" clId="{9715FE95-5736-4CE0-B3A2-20B7812A71B2}" dt="2022-11-24T12:50:24.009" v="158"/>
        <pc:sldMkLst>
          <pc:docMk/>
          <pc:sldMk cId="2505194753" sldId="2147469197"/>
        </pc:sldMkLst>
      </pc:sldChg>
      <pc:sldChg chg="add del">
        <pc:chgData name="Thomas MARENCIC" userId="311041e6-165e-4441-8a6f-ecd1fba92656" providerId="ADAL" clId="{9715FE95-5736-4CE0-B3A2-20B7812A71B2}" dt="2022-11-24T12:50:24.009" v="158"/>
        <pc:sldMkLst>
          <pc:docMk/>
          <pc:sldMk cId="1106330422" sldId="2147469198"/>
        </pc:sldMkLst>
      </pc:sldChg>
      <pc:sldChg chg="del">
        <pc:chgData name="Thomas MARENCIC" userId="311041e6-165e-4441-8a6f-ecd1fba92656" providerId="ADAL" clId="{9715FE95-5736-4CE0-B3A2-20B7812A71B2}" dt="2022-11-24T12:47:44.417" v="141" actId="47"/>
        <pc:sldMkLst>
          <pc:docMk/>
          <pc:sldMk cId="2283254368" sldId="2147469199"/>
        </pc:sldMkLst>
      </pc:sldChg>
      <pc:sldChg chg="addSp delSp modSp add del mod">
        <pc:chgData name="Thomas MARENCIC" userId="311041e6-165e-4441-8a6f-ecd1fba92656" providerId="ADAL" clId="{9715FE95-5736-4CE0-B3A2-20B7812A71B2}" dt="2022-11-25T09:18:47.787" v="1526" actId="1076"/>
        <pc:sldMkLst>
          <pc:docMk/>
          <pc:sldMk cId="2433366989" sldId="2147469201"/>
        </pc:sldMkLst>
      </pc:sldChg>
      <pc:sldChg chg="modSp add mod">
        <pc:chgData name="Thomas MARENCIC" userId="311041e6-165e-4441-8a6f-ecd1fba92656" providerId="ADAL" clId="{9715FE95-5736-4CE0-B3A2-20B7812A71B2}" dt="2022-11-24T12:37:10.336" v="85" actId="20577"/>
        <pc:sldMkLst>
          <pc:docMk/>
          <pc:sldMk cId="875313532" sldId="2147469202"/>
        </pc:sldMkLst>
      </pc:sldChg>
      <pc:sldChg chg="add del">
        <pc:chgData name="Thomas MARENCIC" userId="311041e6-165e-4441-8a6f-ecd1fba92656" providerId="ADAL" clId="{9715FE95-5736-4CE0-B3A2-20B7812A71B2}" dt="2022-11-24T12:39:46.703" v="98"/>
        <pc:sldMkLst>
          <pc:docMk/>
          <pc:sldMk cId="3893976937" sldId="2147469203"/>
        </pc:sldMkLst>
      </pc:sldChg>
      <pc:sldChg chg="delSp new mod modClrScheme chgLayout">
        <pc:chgData name="Thomas MARENCIC" userId="311041e6-165e-4441-8a6f-ecd1fba92656" providerId="ADAL" clId="{9715FE95-5736-4CE0-B3A2-20B7812A71B2}" dt="2022-11-24T12:47:56.329" v="143" actId="700"/>
        <pc:sldMkLst>
          <pc:docMk/>
          <pc:sldMk cId="3980371301" sldId="2147469203"/>
        </pc:sldMkLst>
      </pc:sldChg>
      <pc:sldChg chg="modSp add mod">
        <pc:chgData name="Thomas MARENCIC" userId="311041e6-165e-4441-8a6f-ecd1fba92656" providerId="ADAL" clId="{9715FE95-5736-4CE0-B3A2-20B7812A71B2}" dt="2022-11-24T12:49:23.801" v="157"/>
        <pc:sldMkLst>
          <pc:docMk/>
          <pc:sldMk cId="2917112952" sldId="2147469204"/>
        </pc:sldMkLst>
      </pc:sldChg>
      <pc:sldChg chg="add del">
        <pc:chgData name="Thomas MARENCIC" userId="311041e6-165e-4441-8a6f-ecd1fba92656" providerId="ADAL" clId="{9715FE95-5736-4CE0-B3A2-20B7812A71B2}" dt="2022-11-24T12:39:46.703" v="98"/>
        <pc:sldMkLst>
          <pc:docMk/>
          <pc:sldMk cId="4098485100" sldId="2147469204"/>
        </pc:sldMkLst>
      </pc:sldChg>
      <pc:sldChg chg="modSp add mod">
        <pc:chgData name="Thomas MARENCIC" userId="311041e6-165e-4441-8a6f-ecd1fba92656" providerId="ADAL" clId="{9715FE95-5736-4CE0-B3A2-20B7812A71B2}" dt="2022-11-24T12:50:51.803" v="163" actId="20577"/>
        <pc:sldMkLst>
          <pc:docMk/>
          <pc:sldMk cId="756621096" sldId="2147469205"/>
        </pc:sldMkLst>
      </pc:sldChg>
      <pc:sldChg chg="addSp delSp modSp new mod modClrScheme chgLayout">
        <pc:chgData name="Thomas MARENCIC" userId="311041e6-165e-4441-8a6f-ecd1fba92656" providerId="ADAL" clId="{9715FE95-5736-4CE0-B3A2-20B7812A71B2}" dt="2022-11-24T12:52:37.684" v="176" actId="20577"/>
        <pc:sldMkLst>
          <pc:docMk/>
          <pc:sldMk cId="4002086029" sldId="2147469206"/>
        </pc:sldMkLst>
      </pc:sldChg>
      <pc:sldChg chg="addSp delSp modSp new mod modClrScheme chgLayout">
        <pc:chgData name="Thomas MARENCIC" userId="311041e6-165e-4441-8a6f-ecd1fba92656" providerId="ADAL" clId="{9715FE95-5736-4CE0-B3A2-20B7812A71B2}" dt="2022-11-24T15:50:18.208" v="1273" actId="1076"/>
        <pc:sldMkLst>
          <pc:docMk/>
          <pc:sldMk cId="2551602083" sldId="2147469207"/>
        </pc:sldMkLst>
      </pc:sldChg>
      <pc:sldMasterChg chg="delSldLayout modSldLayout">
        <pc:chgData name="Thomas MARENCIC" userId="311041e6-165e-4441-8a6f-ecd1fba92656" providerId="ADAL" clId="{9715FE95-5736-4CE0-B3A2-20B7812A71B2}" dt="2022-11-24T12:47:44.417" v="141" actId="47"/>
        <pc:sldMasterMkLst>
          <pc:docMk/>
          <pc:sldMasterMk cId="4264061012" sldId="2147483678"/>
        </pc:sldMasterMkLst>
        <pc:sldLayoutChg chg="delSp mod">
          <pc:chgData name="Thomas MARENCIC" userId="311041e6-165e-4441-8a6f-ecd1fba92656" providerId="ADAL" clId="{9715FE95-5736-4CE0-B3A2-20B7812A71B2}" dt="2022-11-24T12:31:17.942" v="34" actId="478"/>
          <pc:sldLayoutMkLst>
            <pc:docMk/>
            <pc:sldMasterMk cId="4264061012" sldId="2147483660"/>
            <pc:sldLayoutMk cId="2939281924" sldId="2147483667"/>
          </pc:sldLayoutMkLst>
        </pc:sldLayoutChg>
        <pc:sldLayoutChg chg="del">
          <pc:chgData name="Thomas MARENCIC" userId="311041e6-165e-4441-8a6f-ecd1fba92656" providerId="ADAL" clId="{9715FE95-5736-4CE0-B3A2-20B7812A71B2}" dt="2022-11-24T12:47:44.417" v="141" actId="47"/>
          <pc:sldLayoutMkLst>
            <pc:docMk/>
            <pc:sldMasterMk cId="4264061012" sldId="2147483678"/>
            <pc:sldLayoutMk cId="29310589" sldId="2147483672"/>
          </pc:sldLayoutMkLst>
        </pc:sldLayoutChg>
        <pc:sldLayoutChg chg="delSp mod">
          <pc:chgData name="Thomas MARENCIC" userId="311041e6-165e-4441-8a6f-ecd1fba92656" providerId="ADAL" clId="{9715FE95-5736-4CE0-B3A2-20B7812A71B2}" dt="2022-11-24T12:30:59.436" v="33" actId="478"/>
          <pc:sldLayoutMkLst>
            <pc:docMk/>
            <pc:sldMasterMk cId="4264061012" sldId="2147483660"/>
            <pc:sldLayoutMk cId="426124576" sldId="2147483673"/>
          </pc:sldLayoutMkLst>
        </pc:sldLayoutChg>
      </pc:sldMasterChg>
    </pc:docChg>
  </pc:docChgLst>
  <pc:docChgLst>
    <pc:chgData name="Thomas MARENCIC" userId="311041e6-165e-4441-8a6f-ecd1fba92656" providerId="ADAL" clId="{E1EF5655-A784-408A-AAA8-26BABBFE8ECF}"/>
    <pc:docChg chg="modSld">
      <pc:chgData name="Thomas MARENCIC" userId="311041e6-165e-4441-8a6f-ecd1fba92656" providerId="ADAL" clId="{E1EF5655-A784-408A-AAA8-26BABBFE8ECF}" dt="2022-12-23T12:59:28.119" v="12" actId="20577"/>
      <pc:docMkLst>
        <pc:docMk/>
      </pc:docMkLst>
    </pc:docChg>
  </pc:docChgLst>
  <pc:docChgLst>
    <pc:chgData name="Thomas MARENCIC" userId="S::thomas.marencic_avanade.com#ext#@vincic.onmicrosoft.com::a8fd1848-4f23-4b07-92d6-f82983b9fd1c" providerId="AD" clId="Web-{CBBFA9F4-1F6C-BF40-A9E6-3496B37D7121}"/>
    <pc:docChg chg="addSld delSld modSld sldOrd modSection">
      <pc:chgData name="Thomas MARENCIC" userId="S::thomas.marencic_avanade.com#ext#@vincic.onmicrosoft.com::a8fd1848-4f23-4b07-92d6-f82983b9fd1c" providerId="AD" clId="Web-{CBBFA9F4-1F6C-BF40-A9E6-3496B37D7121}" dt="2022-12-07T18:30:35.454" v="12" actId="20577"/>
      <pc:docMkLst>
        <pc:docMk/>
      </pc:docMkLst>
      <pc:sldChg chg="ord">
        <pc:chgData name="Thomas MARENCIC" userId="S::thomas.marencic_avanade.com#ext#@vincic.onmicrosoft.com::a8fd1848-4f23-4b07-92d6-f82983b9fd1c" providerId="AD" clId="Web-{CBBFA9F4-1F6C-BF40-A9E6-3496B37D7121}" dt="2022-12-07T18:29:33.671" v="3"/>
        <pc:sldMkLst>
          <pc:docMk/>
          <pc:sldMk cId="756621096" sldId="2147469205"/>
        </pc:sldMkLst>
      </pc:sldChg>
      <pc:sldChg chg="new">
        <pc:chgData name="Thomas MARENCIC" userId="S::thomas.marencic_avanade.com#ext#@vincic.onmicrosoft.com::a8fd1848-4f23-4b07-92d6-f82983b9fd1c" providerId="AD" clId="Web-{CBBFA9F4-1F6C-BF40-A9E6-3496B37D7121}" dt="2022-12-07T18:29:18.670" v="0"/>
        <pc:sldMkLst>
          <pc:docMk/>
          <pc:sldMk cId="1863786756" sldId="2147469240"/>
        </pc:sldMkLst>
      </pc:sldChg>
      <pc:sldChg chg="new">
        <pc:chgData name="Thomas MARENCIC" userId="S::thomas.marencic_avanade.com#ext#@vincic.onmicrosoft.com::a8fd1848-4f23-4b07-92d6-f82983b9fd1c" providerId="AD" clId="Web-{CBBFA9F4-1F6C-BF40-A9E6-3496B37D7121}" dt="2022-12-07T18:29:25.421" v="1"/>
        <pc:sldMkLst>
          <pc:docMk/>
          <pc:sldMk cId="302296707" sldId="2147469241"/>
        </pc:sldMkLst>
      </pc:sldChg>
      <pc:sldChg chg="new del">
        <pc:chgData name="Thomas MARENCIC" userId="S::thomas.marencic_avanade.com#ext#@vincic.onmicrosoft.com::a8fd1848-4f23-4b07-92d6-f82983b9fd1c" providerId="AD" clId="Web-{CBBFA9F4-1F6C-BF40-A9E6-3496B37D7121}" dt="2022-12-07T18:30:00.484" v="7"/>
        <pc:sldMkLst>
          <pc:docMk/>
          <pc:sldMk cId="3450703389" sldId="2147469242"/>
        </pc:sldMkLst>
      </pc:sldChg>
      <pc:sldChg chg="modSp new ord">
        <pc:chgData name="Thomas MARENCIC" userId="S::thomas.marencic_avanade.com#ext#@vincic.onmicrosoft.com::a8fd1848-4f23-4b07-92d6-f82983b9fd1c" providerId="AD" clId="Web-{CBBFA9F4-1F6C-BF40-A9E6-3496B37D7121}" dt="2022-12-07T18:30:35.454" v="12" actId="20577"/>
        <pc:sldMkLst>
          <pc:docMk/>
          <pc:sldMk cId="297916462" sldId="2147469243"/>
        </pc:sldMkLst>
      </pc:sldChg>
    </pc:docChg>
  </pc:docChgLst>
  <pc:docChgLst>
    <pc:chgData name="BRET Pierre" userId="3c262e90-eaeb-4858-8462-9ff6f0ba68c6" providerId="ADAL" clId="{5C3809FE-7CCB-4DB5-B846-112C326BBFD9}"/>
    <pc:docChg chg="undo redo custSel addSld delSld modSld sldOrd modSection">
      <pc:chgData name="BRET Pierre" userId="3c262e90-eaeb-4858-8462-9ff6f0ba68c6" providerId="ADAL" clId="{5C3809FE-7CCB-4DB5-B846-112C326BBFD9}" dt="2024-04-25T13:47:27.478" v="4952"/>
      <pc:docMkLst>
        <pc:docMk/>
      </pc:docMkLst>
      <pc:sldChg chg="modSp del mod">
        <pc:chgData name="BRET Pierre" userId="3c262e90-eaeb-4858-8462-9ff6f0ba68c6" providerId="ADAL" clId="{5C3809FE-7CCB-4DB5-B846-112C326BBFD9}" dt="2024-03-12T08:59:55.579" v="3969" actId="47"/>
        <pc:sldMkLst>
          <pc:docMk/>
          <pc:sldMk cId="1670719887" sldId="264"/>
        </pc:sldMkLst>
      </pc:sldChg>
      <pc:sldChg chg="add del">
        <pc:chgData name="BRET Pierre" userId="3c262e90-eaeb-4858-8462-9ff6f0ba68c6" providerId="ADAL" clId="{5C3809FE-7CCB-4DB5-B846-112C326BBFD9}" dt="2024-01-25T11:01:24.868" v="2823"/>
        <pc:sldMkLst>
          <pc:docMk/>
          <pc:sldMk cId="339836751" sldId="441"/>
        </pc:sldMkLst>
      </pc:sldChg>
      <pc:sldChg chg="addSp modSp mod modCm">
        <pc:chgData name="BRET Pierre" userId="3c262e90-eaeb-4858-8462-9ff6f0ba68c6" providerId="ADAL" clId="{5C3809FE-7CCB-4DB5-B846-112C326BBFD9}" dt="2024-03-15T12:53:24.122" v="4549"/>
        <pc:sldMkLst>
          <pc:docMk/>
          <pc:sldMk cId="3510959577" sldId="10474"/>
        </pc:sldMkLst>
        <pc:extLst>
          <p:ext xmlns:p="http://schemas.openxmlformats.org/presentationml/2006/main" uri="{D6D511B9-2390-475A-947B-AFAB55BFBCF1}">
            <pc226:cmChg xmlns:pc226="http://schemas.microsoft.com/office/powerpoint/2022/06/main/command" chg="mod">
              <pc226:chgData name="BRET Pierre" userId="3c262e90-eaeb-4858-8462-9ff6f0ba68c6" providerId="ADAL" clId="{5C3809FE-7CCB-4DB5-B846-112C326BBFD9}" dt="2024-03-15T12:53:24.122" v="4549"/>
              <pc2:cmMkLst xmlns:pc2="http://schemas.microsoft.com/office/powerpoint/2019/9/main/command">
                <pc:docMk/>
                <pc:sldMk cId="3510959577" sldId="10474"/>
                <pc2:cmMk id="{D56077E9-80B9-454C-AC07-B947372D40C9}"/>
              </pc2:cmMkLst>
            </pc226:cmChg>
          </p:ext>
        </pc:extLst>
      </pc:sldChg>
      <pc:sldChg chg="modSp mod">
        <pc:chgData name="BRET Pierre" userId="3c262e90-eaeb-4858-8462-9ff6f0ba68c6" providerId="ADAL" clId="{5C3809FE-7CCB-4DB5-B846-112C326BBFD9}" dt="2024-03-15T13:00:18.665" v="4934" actId="20577"/>
        <pc:sldMkLst>
          <pc:docMk/>
          <pc:sldMk cId="2631057792" sldId="2076137815"/>
        </pc:sldMkLst>
      </pc:sldChg>
      <pc:sldChg chg="del">
        <pc:chgData name="BRET Pierre" userId="3c262e90-eaeb-4858-8462-9ff6f0ba68c6" providerId="ADAL" clId="{5C3809FE-7CCB-4DB5-B846-112C326BBFD9}" dt="2024-01-18T09:08:28.853" v="854" actId="47"/>
        <pc:sldMkLst>
          <pc:docMk/>
          <pc:sldMk cId="1832773" sldId="2147469209"/>
        </pc:sldMkLst>
      </pc:sldChg>
      <pc:sldChg chg="del">
        <pc:chgData name="BRET Pierre" userId="3c262e90-eaeb-4858-8462-9ff6f0ba68c6" providerId="ADAL" clId="{5C3809FE-7CCB-4DB5-B846-112C326BBFD9}" dt="2024-01-18T09:08:09.870" v="842" actId="47"/>
        <pc:sldMkLst>
          <pc:docMk/>
          <pc:sldMk cId="3937719075" sldId="2147469217"/>
        </pc:sldMkLst>
      </pc:sldChg>
      <pc:sldChg chg="del">
        <pc:chgData name="BRET Pierre" userId="3c262e90-eaeb-4858-8462-9ff6f0ba68c6" providerId="ADAL" clId="{5C3809FE-7CCB-4DB5-B846-112C326BBFD9}" dt="2024-01-18T09:08:10.451" v="843" actId="47"/>
        <pc:sldMkLst>
          <pc:docMk/>
          <pc:sldMk cId="1451093172" sldId="2147469218"/>
        </pc:sldMkLst>
      </pc:sldChg>
      <pc:sldChg chg="del">
        <pc:chgData name="BRET Pierre" userId="3c262e90-eaeb-4858-8462-9ff6f0ba68c6" providerId="ADAL" clId="{5C3809FE-7CCB-4DB5-B846-112C326BBFD9}" dt="2024-01-18T09:08:16.371" v="846" actId="47"/>
        <pc:sldMkLst>
          <pc:docMk/>
          <pc:sldMk cId="92527006" sldId="2147469229"/>
        </pc:sldMkLst>
      </pc:sldChg>
      <pc:sldChg chg="del">
        <pc:chgData name="BRET Pierre" userId="3c262e90-eaeb-4858-8462-9ff6f0ba68c6" providerId="ADAL" clId="{5C3809FE-7CCB-4DB5-B846-112C326BBFD9}" dt="2024-01-18T09:08:19.850" v="848" actId="47"/>
        <pc:sldMkLst>
          <pc:docMk/>
          <pc:sldMk cId="4175321075" sldId="2147469233"/>
        </pc:sldMkLst>
      </pc:sldChg>
      <pc:sldChg chg="del">
        <pc:chgData name="BRET Pierre" userId="3c262e90-eaeb-4858-8462-9ff6f0ba68c6" providerId="ADAL" clId="{5C3809FE-7CCB-4DB5-B846-112C326BBFD9}" dt="2024-01-18T09:08:24.381" v="850" actId="47"/>
        <pc:sldMkLst>
          <pc:docMk/>
          <pc:sldMk cId="137568215" sldId="2147469234"/>
        </pc:sldMkLst>
      </pc:sldChg>
      <pc:sldChg chg="del">
        <pc:chgData name="BRET Pierre" userId="3c262e90-eaeb-4858-8462-9ff6f0ba68c6" providerId="ADAL" clId="{5C3809FE-7CCB-4DB5-B846-112C326BBFD9}" dt="2024-01-18T09:08:25.219" v="851" actId="47"/>
        <pc:sldMkLst>
          <pc:docMk/>
          <pc:sldMk cId="1014251268" sldId="2147469236"/>
        </pc:sldMkLst>
      </pc:sldChg>
      <pc:sldChg chg="del">
        <pc:chgData name="BRET Pierre" userId="3c262e90-eaeb-4858-8462-9ff6f0ba68c6" providerId="ADAL" clId="{5C3809FE-7CCB-4DB5-B846-112C326BBFD9}" dt="2024-01-18T09:08:25.924" v="852" actId="47"/>
        <pc:sldMkLst>
          <pc:docMk/>
          <pc:sldMk cId="2862034825" sldId="2147469237"/>
        </pc:sldMkLst>
      </pc:sldChg>
      <pc:sldChg chg="del">
        <pc:chgData name="BRET Pierre" userId="3c262e90-eaeb-4858-8462-9ff6f0ba68c6" providerId="ADAL" clId="{5C3809FE-7CCB-4DB5-B846-112C326BBFD9}" dt="2024-01-18T09:08:19.255" v="847" actId="47"/>
        <pc:sldMkLst>
          <pc:docMk/>
          <pc:sldMk cId="906830166" sldId="2147469254"/>
        </pc:sldMkLst>
      </pc:sldChg>
      <pc:sldChg chg="del">
        <pc:chgData name="BRET Pierre" userId="3c262e90-eaeb-4858-8462-9ff6f0ba68c6" providerId="ADAL" clId="{5C3809FE-7CCB-4DB5-B846-112C326BBFD9}" dt="2024-01-18T09:08:01.830" v="835" actId="47"/>
        <pc:sldMkLst>
          <pc:docMk/>
          <pc:sldMk cId="2853590062" sldId="2147469262"/>
        </pc:sldMkLst>
      </pc:sldChg>
      <pc:sldChg chg="del">
        <pc:chgData name="BRET Pierre" userId="3c262e90-eaeb-4858-8462-9ff6f0ba68c6" providerId="ADAL" clId="{5C3809FE-7CCB-4DB5-B846-112C326BBFD9}" dt="2024-01-18T09:08:05.764" v="838" actId="47"/>
        <pc:sldMkLst>
          <pc:docMk/>
          <pc:sldMk cId="1632319133" sldId="2147469264"/>
        </pc:sldMkLst>
      </pc:sldChg>
      <pc:sldChg chg="del">
        <pc:chgData name="BRET Pierre" userId="3c262e90-eaeb-4858-8462-9ff6f0ba68c6" providerId="ADAL" clId="{5C3809FE-7CCB-4DB5-B846-112C326BBFD9}" dt="2024-01-18T09:08:00.769" v="834" actId="47"/>
        <pc:sldMkLst>
          <pc:docMk/>
          <pc:sldMk cId="596036060" sldId="2147469269"/>
        </pc:sldMkLst>
      </pc:sldChg>
      <pc:sldChg chg="del">
        <pc:chgData name="BRET Pierre" userId="3c262e90-eaeb-4858-8462-9ff6f0ba68c6" providerId="ADAL" clId="{5C3809FE-7CCB-4DB5-B846-112C326BBFD9}" dt="2024-01-18T09:07:57.835" v="832" actId="47"/>
        <pc:sldMkLst>
          <pc:docMk/>
          <pc:sldMk cId="27772628" sldId="2147469270"/>
        </pc:sldMkLst>
      </pc:sldChg>
      <pc:sldChg chg="del">
        <pc:chgData name="BRET Pierre" userId="3c262e90-eaeb-4858-8462-9ff6f0ba68c6" providerId="ADAL" clId="{5C3809FE-7CCB-4DB5-B846-112C326BBFD9}" dt="2024-01-18T09:07:59.549" v="833" actId="47"/>
        <pc:sldMkLst>
          <pc:docMk/>
          <pc:sldMk cId="1552375756" sldId="2147469272"/>
        </pc:sldMkLst>
      </pc:sldChg>
      <pc:sldChg chg="del">
        <pc:chgData name="BRET Pierre" userId="3c262e90-eaeb-4858-8462-9ff6f0ba68c6" providerId="ADAL" clId="{5C3809FE-7CCB-4DB5-B846-112C326BBFD9}" dt="2024-01-18T09:08:27.908" v="853" actId="47"/>
        <pc:sldMkLst>
          <pc:docMk/>
          <pc:sldMk cId="474180429" sldId="2147469278"/>
        </pc:sldMkLst>
      </pc:sldChg>
      <pc:sldChg chg="del">
        <pc:chgData name="BRET Pierre" userId="3c262e90-eaeb-4858-8462-9ff6f0ba68c6" providerId="ADAL" clId="{5C3809FE-7CCB-4DB5-B846-112C326BBFD9}" dt="2024-01-18T09:08:23.448" v="849" actId="47"/>
        <pc:sldMkLst>
          <pc:docMk/>
          <pc:sldMk cId="2139053399" sldId="2147469279"/>
        </pc:sldMkLst>
      </pc:sldChg>
      <pc:sldChg chg="modCm">
        <pc:chgData name="BRET Pierre" userId="3c262e90-eaeb-4858-8462-9ff6f0ba68c6" providerId="ADAL" clId="{5C3809FE-7CCB-4DB5-B846-112C326BBFD9}" dt="2024-02-07T14:22:05.610" v="3052"/>
        <pc:sldMkLst>
          <pc:docMk/>
          <pc:sldMk cId="2217602409" sldId="2147469281"/>
        </pc:sldMkLst>
        <pc:extLst>
          <p:ext xmlns:p="http://schemas.openxmlformats.org/presentationml/2006/main" uri="{D6D511B9-2390-475A-947B-AFAB55BFBCF1}">
            <pc226:cmChg xmlns:pc226="http://schemas.microsoft.com/office/powerpoint/2022/06/main/command" chg="mod">
              <pc226:chgData name="BRET Pierre" userId="3c262e90-eaeb-4858-8462-9ff6f0ba68c6" providerId="ADAL" clId="{5C3809FE-7CCB-4DB5-B846-112C326BBFD9}" dt="2024-02-07T14:22:05.610" v="3052"/>
              <pc2:cmMkLst xmlns:pc2="http://schemas.microsoft.com/office/powerpoint/2019/9/main/command">
                <pc:docMk/>
                <pc:sldMk cId="2217602409" sldId="2147469281"/>
                <pc2:cmMk id="{EE8E9D39-38BA-4C62-82B9-A5FEA7FC175C}"/>
              </pc2:cmMkLst>
            </pc226:cmChg>
          </p:ext>
        </pc:extLst>
      </pc:sldChg>
      <pc:sldChg chg="addSp delSp modSp mod modCm">
        <pc:chgData name="BRET Pierre" userId="3c262e90-eaeb-4858-8462-9ff6f0ba68c6" providerId="ADAL" clId="{5C3809FE-7CCB-4DB5-B846-112C326BBFD9}" dt="2024-04-25T13:47:27.478" v="4952"/>
        <pc:sldMkLst>
          <pc:docMk/>
          <pc:sldMk cId="3897447519" sldId="2147469287"/>
        </pc:sldMkLst>
        <pc:extLst>
          <p:ext xmlns:p="http://schemas.openxmlformats.org/presentationml/2006/main" uri="{D6D511B9-2390-475A-947B-AFAB55BFBCF1}">
            <pc226:cmChg xmlns:pc226="http://schemas.microsoft.com/office/powerpoint/2022/06/main/command" chg="">
              <pc226:chgData name="BRET Pierre" userId="3c262e90-eaeb-4858-8462-9ff6f0ba68c6" providerId="ADAL" clId="{5C3809FE-7CCB-4DB5-B846-112C326BBFD9}" dt="2024-02-07T17:23:49.043" v="3877"/>
              <pc2:cmMkLst xmlns:pc2="http://schemas.microsoft.com/office/powerpoint/2019/9/main/command">
                <pc:docMk/>
                <pc:sldMk cId="3897447519" sldId="2147469287"/>
                <pc2:cmMk id="{FF0B8B12-B6C1-4E3F-9561-ED96B035C21F}"/>
              </pc2:cmMkLst>
              <pc226:cmRplyChg chg="add">
                <pc226:chgData name="BRET Pierre" userId="3c262e90-eaeb-4858-8462-9ff6f0ba68c6" providerId="ADAL" clId="{5C3809FE-7CCB-4DB5-B846-112C326BBFD9}" dt="2024-02-07T17:23:49.043" v="3877"/>
                <pc2:cmRplyMkLst xmlns:pc2="http://schemas.microsoft.com/office/powerpoint/2019/9/main/command">
                  <pc:docMk/>
                  <pc:sldMk cId="3897447519" sldId="2147469287"/>
                  <pc2:cmMk id="{FF0B8B12-B6C1-4E3F-9561-ED96B035C21F}"/>
                  <pc2:cmRplyMk id="{783BE509-2CD5-4B5C-BB8A-AC174209EFD4}"/>
                </pc2:cmRplyMkLst>
              </pc226:cmRplyChg>
            </pc226:cmChg>
          </p:ext>
        </pc:extLst>
      </pc:sldChg>
      <pc:sldChg chg="del">
        <pc:chgData name="BRET Pierre" userId="3c262e90-eaeb-4858-8462-9ff6f0ba68c6" providerId="ADAL" clId="{5C3809FE-7CCB-4DB5-B846-112C326BBFD9}" dt="2024-01-18T09:08:03.779" v="836" actId="47"/>
        <pc:sldMkLst>
          <pc:docMk/>
          <pc:sldMk cId="505188205" sldId="2147469288"/>
        </pc:sldMkLst>
      </pc:sldChg>
      <pc:sldChg chg="del">
        <pc:chgData name="BRET Pierre" userId="3c262e90-eaeb-4858-8462-9ff6f0ba68c6" providerId="ADAL" clId="{5C3809FE-7CCB-4DB5-B846-112C326BBFD9}" dt="2024-01-18T09:08:06.674" v="839" actId="47"/>
        <pc:sldMkLst>
          <pc:docMk/>
          <pc:sldMk cId="1893851666" sldId="2147469289"/>
        </pc:sldMkLst>
      </pc:sldChg>
      <pc:sldChg chg="del">
        <pc:chgData name="BRET Pierre" userId="3c262e90-eaeb-4858-8462-9ff6f0ba68c6" providerId="ADAL" clId="{5C3809FE-7CCB-4DB5-B846-112C326BBFD9}" dt="2024-01-18T09:08:04.667" v="837" actId="47"/>
        <pc:sldMkLst>
          <pc:docMk/>
          <pc:sldMk cId="4090274451" sldId="2147469290"/>
        </pc:sldMkLst>
      </pc:sldChg>
      <pc:sldChg chg="del">
        <pc:chgData name="BRET Pierre" userId="3c262e90-eaeb-4858-8462-9ff6f0ba68c6" providerId="ADAL" clId="{5C3809FE-7CCB-4DB5-B846-112C326BBFD9}" dt="2024-01-18T09:08:08.418" v="841" actId="47"/>
        <pc:sldMkLst>
          <pc:docMk/>
          <pc:sldMk cId="913351391" sldId="2147469291"/>
        </pc:sldMkLst>
      </pc:sldChg>
      <pc:sldChg chg="addSp delSp modSp del mod">
        <pc:chgData name="BRET Pierre" userId="3c262e90-eaeb-4858-8462-9ff6f0ba68c6" providerId="ADAL" clId="{5C3809FE-7CCB-4DB5-B846-112C326BBFD9}" dt="2024-01-18T12:51:24.355" v="1132" actId="47"/>
        <pc:sldMkLst>
          <pc:docMk/>
          <pc:sldMk cId="39565805" sldId="2147481955"/>
        </pc:sldMkLst>
      </pc:sldChg>
      <pc:sldChg chg="addSp delSp modSp del mod modCm">
        <pc:chgData name="BRET Pierre" userId="3c262e90-eaeb-4858-8462-9ff6f0ba68c6" providerId="ADAL" clId="{5C3809FE-7CCB-4DB5-B846-112C326BBFD9}" dt="2024-03-15T12:59:50.436" v="4924" actId="47"/>
        <pc:sldMkLst>
          <pc:docMk/>
          <pc:sldMk cId="3438293396" sldId="2147481973"/>
        </pc:sldMkLst>
        <pc:extLst>
          <p:ext xmlns:p="http://schemas.openxmlformats.org/presentationml/2006/main" uri="{D6D511B9-2390-475A-947B-AFAB55BFBCF1}">
            <pc226:cmChg xmlns:pc226="http://schemas.microsoft.com/office/powerpoint/2022/06/main/command" chg="mod">
              <pc226:chgData name="BRET Pierre" userId="3c262e90-eaeb-4858-8462-9ff6f0ba68c6" providerId="ADAL" clId="{5C3809FE-7CCB-4DB5-B846-112C326BBFD9}" dt="2024-02-07T14:41:04.263" v="3558"/>
              <pc2:cmMkLst xmlns:pc2="http://schemas.microsoft.com/office/powerpoint/2019/9/main/command">
                <pc:docMk/>
                <pc:sldMk cId="3438293396" sldId="2147481973"/>
                <pc2:cmMk id="{6AB32227-D538-407C-A093-B13457E16BA6}"/>
              </pc2:cmMkLst>
            </pc226:cmChg>
            <pc226:cmChg xmlns:pc226="http://schemas.microsoft.com/office/powerpoint/2022/06/main/command" chg="mod">
              <pc226:chgData name="BRET Pierre" userId="3c262e90-eaeb-4858-8462-9ff6f0ba68c6" providerId="ADAL" clId="{5C3809FE-7CCB-4DB5-B846-112C326BBFD9}" dt="2024-02-07T14:41:12.188" v="3559"/>
              <pc2:cmMkLst xmlns:pc2="http://schemas.microsoft.com/office/powerpoint/2019/9/main/command">
                <pc:docMk/>
                <pc:sldMk cId="3438293396" sldId="2147481973"/>
                <pc2:cmMk id="{03C61BDB-41FD-4891-AACC-B728E6C2A520}"/>
              </pc2:cmMkLst>
            </pc226:cmChg>
          </p:ext>
        </pc:extLst>
      </pc:sldChg>
      <pc:sldChg chg="addSp delSp modSp del mod modCm">
        <pc:chgData name="BRET Pierre" userId="3c262e90-eaeb-4858-8462-9ff6f0ba68c6" providerId="ADAL" clId="{5C3809FE-7CCB-4DB5-B846-112C326BBFD9}" dt="2024-03-15T12:59:50.930" v="4925" actId="47"/>
        <pc:sldMkLst>
          <pc:docMk/>
          <pc:sldMk cId="3580833316" sldId="2147481978"/>
        </pc:sldMkLst>
        <pc:extLst>
          <p:ext xmlns:p="http://schemas.openxmlformats.org/presentationml/2006/main" uri="{D6D511B9-2390-475A-947B-AFAB55BFBCF1}">
            <pc226:cmChg xmlns:pc226="http://schemas.microsoft.com/office/powerpoint/2022/06/main/command" chg="mod">
              <pc226:chgData name="BRET Pierre" userId="3c262e90-eaeb-4858-8462-9ff6f0ba68c6" providerId="ADAL" clId="{5C3809FE-7CCB-4DB5-B846-112C326BBFD9}" dt="2024-02-07T17:31:16.486" v="3948"/>
              <pc2:cmMkLst xmlns:pc2="http://schemas.microsoft.com/office/powerpoint/2019/9/main/command">
                <pc:docMk/>
                <pc:sldMk cId="3580833316" sldId="2147481978"/>
                <pc2:cmMk id="{614A653B-CB68-479B-92FC-155112362FA3}"/>
              </pc2:cmMkLst>
            </pc226:cmChg>
            <pc226:cmChg xmlns:pc226="http://schemas.microsoft.com/office/powerpoint/2022/06/main/command" chg="mod">
              <pc226:chgData name="BRET Pierre" userId="3c262e90-eaeb-4858-8462-9ff6f0ba68c6" providerId="ADAL" clId="{5C3809FE-7CCB-4DB5-B846-112C326BBFD9}" dt="2024-02-07T17:31:09.599" v="3947"/>
              <pc2:cmMkLst xmlns:pc2="http://schemas.microsoft.com/office/powerpoint/2019/9/main/command">
                <pc:docMk/>
                <pc:sldMk cId="3580833316" sldId="2147481978"/>
                <pc2:cmMk id="{31FEECDF-2ED9-4709-A70A-84C572DFFACC}"/>
              </pc2:cmMkLst>
            </pc226:cmChg>
          </p:ext>
        </pc:extLst>
      </pc:sldChg>
      <pc:sldChg chg="addSp modSp mod modCm">
        <pc:chgData name="BRET Pierre" userId="3c262e90-eaeb-4858-8462-9ff6f0ba68c6" providerId="ADAL" clId="{5C3809FE-7CCB-4DB5-B846-112C326BBFD9}" dt="2024-03-15T12:54:29.480" v="4577" actId="20577"/>
        <pc:sldMkLst>
          <pc:docMk/>
          <pc:sldMk cId="2738404544" sldId="2147481979"/>
        </pc:sldMkLst>
        <pc:extLst>
          <p:ext xmlns:p="http://schemas.openxmlformats.org/presentationml/2006/main" uri="{D6D511B9-2390-475A-947B-AFAB55BFBCF1}">
            <pc226:cmChg xmlns:pc226="http://schemas.microsoft.com/office/powerpoint/2022/06/main/command" chg="mod">
              <pc226:chgData name="BRET Pierre" userId="3c262e90-eaeb-4858-8462-9ff6f0ba68c6" providerId="ADAL" clId="{5C3809FE-7CCB-4DB5-B846-112C326BBFD9}" dt="2024-02-07T15:17:05.873" v="3866"/>
              <pc2:cmMkLst xmlns:pc2="http://schemas.microsoft.com/office/powerpoint/2019/9/main/command">
                <pc:docMk/>
                <pc:sldMk cId="2738404544" sldId="2147481979"/>
                <pc2:cmMk id="{D28DB719-616A-4B24-A03E-7AA135594CCA}"/>
              </pc2:cmMkLst>
            </pc226:cmChg>
            <pc226:cmChg xmlns:pc226="http://schemas.microsoft.com/office/powerpoint/2022/06/main/command" chg="mod">
              <pc226:chgData name="BRET Pierre" userId="3c262e90-eaeb-4858-8462-9ff6f0ba68c6" providerId="ADAL" clId="{5C3809FE-7CCB-4DB5-B846-112C326BBFD9}" dt="2024-02-07T15:15:43.803" v="3865"/>
              <pc2:cmMkLst xmlns:pc2="http://schemas.microsoft.com/office/powerpoint/2019/9/main/command">
                <pc:docMk/>
                <pc:sldMk cId="2738404544" sldId="2147481979"/>
                <pc2:cmMk id="{6C88BB97-0F3C-44F2-A4BF-E079B56B8635}"/>
              </pc2:cmMkLst>
              <pc226:cmRplyChg chg="add">
                <pc226:chgData name="BRET Pierre" userId="3c262e90-eaeb-4858-8462-9ff6f0ba68c6" providerId="ADAL" clId="{5C3809FE-7CCB-4DB5-B846-112C326BBFD9}" dt="2024-02-07T15:15:43.803" v="3865"/>
                <pc2:cmRplyMkLst xmlns:pc2="http://schemas.microsoft.com/office/powerpoint/2019/9/main/command">
                  <pc:docMk/>
                  <pc:sldMk cId="2738404544" sldId="2147481979"/>
                  <pc2:cmMk id="{6C88BB97-0F3C-44F2-A4BF-E079B56B8635}"/>
                  <pc2:cmRplyMk id="{04D92DAC-C23E-46AC-872B-49E527E4897E}"/>
                </pc2:cmRplyMkLst>
              </pc226:cmRplyChg>
            </pc226:cmChg>
          </p:ext>
        </pc:extLst>
      </pc:sldChg>
      <pc:sldChg chg="addSp delSp modSp mod modCm">
        <pc:chgData name="BRET Pierre" userId="3c262e90-eaeb-4858-8462-9ff6f0ba68c6" providerId="ADAL" clId="{5C3809FE-7CCB-4DB5-B846-112C326BBFD9}" dt="2024-03-15T12:54:53.474" v="4583" actId="478"/>
        <pc:sldMkLst>
          <pc:docMk/>
          <pc:sldMk cId="2251311509" sldId="2147481981"/>
        </pc:sldMkLst>
        <pc:extLst>
          <p:ext xmlns:p="http://schemas.openxmlformats.org/presentationml/2006/main" uri="{D6D511B9-2390-475A-947B-AFAB55BFBCF1}">
            <pc226:cmChg xmlns:pc226="http://schemas.microsoft.com/office/powerpoint/2022/06/main/command" chg="">
              <pc226:chgData name="BRET Pierre" userId="3c262e90-eaeb-4858-8462-9ff6f0ba68c6" providerId="ADAL" clId="{5C3809FE-7CCB-4DB5-B846-112C326BBFD9}" dt="2024-02-07T15:18:37.092" v="3871"/>
              <pc2:cmMkLst xmlns:pc2="http://schemas.microsoft.com/office/powerpoint/2019/9/main/command">
                <pc:docMk/>
                <pc:sldMk cId="2251311509" sldId="2147481981"/>
                <pc2:cmMk id="{B7023136-26D8-4EC4-BA80-E96EFAD2E001}"/>
              </pc2:cmMkLst>
              <pc226:cmRplyChg chg="add">
                <pc226:chgData name="BRET Pierre" userId="3c262e90-eaeb-4858-8462-9ff6f0ba68c6" providerId="ADAL" clId="{5C3809FE-7CCB-4DB5-B846-112C326BBFD9}" dt="2024-02-07T15:18:37.092" v="3871"/>
                <pc2:cmRplyMkLst xmlns:pc2="http://schemas.microsoft.com/office/powerpoint/2019/9/main/command">
                  <pc:docMk/>
                  <pc:sldMk cId="2251311509" sldId="2147481981"/>
                  <pc2:cmMk id="{B7023136-26D8-4EC4-BA80-E96EFAD2E001}"/>
                  <pc2:cmRplyMk id="{BD190599-F261-4632-89BF-5C62ABBDAF7C}"/>
                </pc2:cmRplyMkLst>
              </pc226:cmRplyChg>
            </pc226:cmChg>
            <pc226:cmChg xmlns:pc226="http://schemas.microsoft.com/office/powerpoint/2022/06/main/command" chg="mod">
              <pc226:chgData name="BRET Pierre" userId="3c262e90-eaeb-4858-8462-9ff6f0ba68c6" providerId="ADAL" clId="{5C3809FE-7CCB-4DB5-B846-112C326BBFD9}" dt="2024-03-12T09:27:02.237" v="4533"/>
              <pc2:cmMkLst xmlns:pc2="http://schemas.microsoft.com/office/powerpoint/2019/9/main/command">
                <pc:docMk/>
                <pc:sldMk cId="2251311509" sldId="2147481981"/>
                <pc2:cmMk id="{335C363C-F7C0-43D8-886F-477CFFA0C271}"/>
              </pc2:cmMkLst>
            </pc226:cmChg>
          </p:ext>
        </pc:extLst>
      </pc:sldChg>
      <pc:sldChg chg="addSp modSp mod">
        <pc:chgData name="BRET Pierre" userId="3c262e90-eaeb-4858-8462-9ff6f0ba68c6" providerId="ADAL" clId="{5C3809FE-7CCB-4DB5-B846-112C326BBFD9}" dt="2024-03-15T12:54:38.111" v="4581" actId="20577"/>
        <pc:sldMkLst>
          <pc:docMk/>
          <pc:sldMk cId="4196752458" sldId="2147481983"/>
        </pc:sldMkLst>
      </pc:sldChg>
      <pc:sldChg chg="addSp delSp modSp del mod modCm">
        <pc:chgData name="BRET Pierre" userId="3c262e90-eaeb-4858-8462-9ff6f0ba68c6" providerId="ADAL" clId="{5C3809FE-7CCB-4DB5-B846-112C326BBFD9}" dt="2024-03-15T12:59:51.603" v="4926" actId="47"/>
        <pc:sldMkLst>
          <pc:docMk/>
          <pc:sldMk cId="2629315225" sldId="2147481989"/>
        </pc:sldMkLst>
        <pc:extLst>
          <p:ext xmlns:p="http://schemas.openxmlformats.org/presentationml/2006/main" uri="{D6D511B9-2390-475A-947B-AFAB55BFBCF1}">
            <pc226:cmChg xmlns:pc226="http://schemas.microsoft.com/office/powerpoint/2022/06/main/command" chg="mod">
              <pc226:chgData name="BRET Pierre" userId="3c262e90-eaeb-4858-8462-9ff6f0ba68c6" providerId="ADAL" clId="{5C3809FE-7CCB-4DB5-B846-112C326BBFD9}" dt="2024-01-18T13:52:54.194" v="2469" actId="20577"/>
              <pc2:cmMkLst xmlns:pc2="http://schemas.microsoft.com/office/powerpoint/2019/9/main/command">
                <pc:docMk/>
                <pc:sldMk cId="2629315225" sldId="2147481989"/>
                <pc2:cmMk id="{95EAB008-725D-499D-B25C-C94498D9D752}"/>
              </pc2:cmMkLst>
            </pc226:cmChg>
          </p:ext>
        </pc:extLst>
      </pc:sldChg>
      <pc:sldChg chg="del">
        <pc:chgData name="BRET Pierre" userId="3c262e90-eaeb-4858-8462-9ff6f0ba68c6" providerId="ADAL" clId="{5C3809FE-7CCB-4DB5-B846-112C326BBFD9}" dt="2024-01-18T09:07:54.870" v="830" actId="47"/>
        <pc:sldMkLst>
          <pc:docMk/>
          <pc:sldMk cId="1611954198" sldId="2147481990"/>
        </pc:sldMkLst>
      </pc:sldChg>
      <pc:sldChg chg="addSp delSp modSp del mod">
        <pc:chgData name="BRET Pierre" userId="3c262e90-eaeb-4858-8462-9ff6f0ba68c6" providerId="ADAL" clId="{5C3809FE-7CCB-4DB5-B846-112C326BBFD9}" dt="2024-03-15T12:59:52.737" v="4928" actId="47"/>
        <pc:sldMkLst>
          <pc:docMk/>
          <pc:sldMk cId="3872359938" sldId="2147481991"/>
        </pc:sldMkLst>
      </pc:sldChg>
      <pc:sldChg chg="addSp delSp modSp del mod modCm">
        <pc:chgData name="BRET Pierre" userId="3c262e90-eaeb-4858-8462-9ff6f0ba68c6" providerId="ADAL" clId="{5C3809FE-7CCB-4DB5-B846-112C326BBFD9}" dt="2024-03-15T12:59:49.701" v="4923" actId="47"/>
        <pc:sldMkLst>
          <pc:docMk/>
          <pc:sldMk cId="1441249587" sldId="2147481993"/>
        </pc:sldMkLst>
        <pc:extLst>
          <p:ext xmlns:p="http://schemas.openxmlformats.org/presentationml/2006/main" uri="{D6D511B9-2390-475A-947B-AFAB55BFBCF1}">
            <pc226:cmChg xmlns:pc226="http://schemas.microsoft.com/office/powerpoint/2022/06/main/command" chg="mod">
              <pc226:chgData name="BRET Pierre" userId="3c262e90-eaeb-4858-8462-9ff6f0ba68c6" providerId="ADAL" clId="{5C3809FE-7CCB-4DB5-B846-112C326BBFD9}" dt="2024-01-18T15:40:42.977" v="2521" actId="478"/>
              <pc2:cmMkLst xmlns:pc2="http://schemas.microsoft.com/office/powerpoint/2019/9/main/command">
                <pc:docMk/>
                <pc:sldMk cId="1441249587" sldId="2147481993"/>
                <pc2:cmMk id="{9257EF8A-30A8-4933-B08C-538143E89D01}"/>
              </pc2:cmMkLst>
            </pc226:cmChg>
          </p:ext>
        </pc:extLst>
      </pc:sldChg>
      <pc:sldChg chg="addSp delSp modSp del mod modShow">
        <pc:chgData name="BRET Pierre" userId="3c262e90-eaeb-4858-8462-9ff6f0ba68c6" providerId="ADAL" clId="{5C3809FE-7CCB-4DB5-B846-112C326BBFD9}" dt="2024-03-15T12:59:52.184" v="4927" actId="47"/>
        <pc:sldMkLst>
          <pc:docMk/>
          <pc:sldMk cId="1519864655" sldId="2147481994"/>
        </pc:sldMkLst>
      </pc:sldChg>
      <pc:sldChg chg="del">
        <pc:chgData name="BRET Pierre" userId="3c262e90-eaeb-4858-8462-9ff6f0ba68c6" providerId="ADAL" clId="{5C3809FE-7CCB-4DB5-B846-112C326BBFD9}" dt="2024-01-18T09:07:24.705" v="827" actId="47"/>
        <pc:sldMkLst>
          <pc:docMk/>
          <pc:sldMk cId="918475442" sldId="2147481995"/>
        </pc:sldMkLst>
      </pc:sldChg>
      <pc:sldChg chg="modSp mod">
        <pc:chgData name="BRET Pierre" userId="3c262e90-eaeb-4858-8462-9ff6f0ba68c6" providerId="ADAL" clId="{5C3809FE-7CCB-4DB5-B846-112C326BBFD9}" dt="2024-03-15T12:53:46.650" v="4567" actId="20577"/>
        <pc:sldMkLst>
          <pc:docMk/>
          <pc:sldMk cId="2459300264" sldId="2147481996"/>
        </pc:sldMkLst>
      </pc:sldChg>
      <pc:sldChg chg="del">
        <pc:chgData name="BRET Pierre" userId="3c262e90-eaeb-4858-8462-9ff6f0ba68c6" providerId="ADAL" clId="{5C3809FE-7CCB-4DB5-B846-112C326BBFD9}" dt="2024-01-18T09:08:14.055" v="845" actId="47"/>
        <pc:sldMkLst>
          <pc:docMk/>
          <pc:sldMk cId="619587472" sldId="2147481997"/>
        </pc:sldMkLst>
      </pc:sldChg>
      <pc:sldChg chg="del">
        <pc:chgData name="BRET Pierre" userId="3c262e90-eaeb-4858-8462-9ff6f0ba68c6" providerId="ADAL" clId="{5C3809FE-7CCB-4DB5-B846-112C326BBFD9}" dt="2024-01-18T09:07:56.058" v="831" actId="47"/>
        <pc:sldMkLst>
          <pc:docMk/>
          <pc:sldMk cId="4144737670" sldId="2147481998"/>
        </pc:sldMkLst>
      </pc:sldChg>
      <pc:sldChg chg="addSp delSp modSp mod modCm">
        <pc:chgData name="BRET Pierre" userId="3c262e90-eaeb-4858-8462-9ff6f0ba68c6" providerId="ADAL" clId="{5C3809FE-7CCB-4DB5-B846-112C326BBFD9}" dt="2024-03-15T12:54:22.380" v="4575"/>
        <pc:sldMkLst>
          <pc:docMk/>
          <pc:sldMk cId="1257207121" sldId="2147481999"/>
        </pc:sldMkLst>
        <pc:extLst>
          <p:ext xmlns:p="http://schemas.openxmlformats.org/presentationml/2006/main" uri="{D6D511B9-2390-475A-947B-AFAB55BFBCF1}">
            <pc226:cmChg xmlns:pc226="http://schemas.microsoft.com/office/powerpoint/2022/06/main/command" chg="">
              <pc226:chgData name="BRET Pierre" userId="3c262e90-eaeb-4858-8462-9ff6f0ba68c6" providerId="ADAL" clId="{5C3809FE-7CCB-4DB5-B846-112C326BBFD9}" dt="2024-02-07T14:56:46.239" v="3560"/>
              <pc2:cmMkLst xmlns:pc2="http://schemas.microsoft.com/office/powerpoint/2019/9/main/command">
                <pc:docMk/>
                <pc:sldMk cId="1257207121" sldId="2147481999"/>
                <pc2:cmMk id="{342C1E9E-B5B7-49FC-91C4-BE1611CB81FE}"/>
              </pc2:cmMkLst>
              <pc226:cmRplyChg chg="add">
                <pc226:chgData name="BRET Pierre" userId="3c262e90-eaeb-4858-8462-9ff6f0ba68c6" providerId="ADAL" clId="{5C3809FE-7CCB-4DB5-B846-112C326BBFD9}" dt="2024-02-07T14:56:46.239" v="3560"/>
                <pc2:cmRplyMkLst xmlns:pc2="http://schemas.microsoft.com/office/powerpoint/2019/9/main/command">
                  <pc:docMk/>
                  <pc:sldMk cId="1257207121" sldId="2147481999"/>
                  <pc2:cmMk id="{342C1E9E-B5B7-49FC-91C4-BE1611CB81FE}"/>
                  <pc2:cmRplyMk id="{0A25DD6C-4439-4177-A786-84843BB42260}"/>
                </pc2:cmRplyMkLst>
              </pc226:cmRplyChg>
            </pc226:cmChg>
            <pc226:cmChg xmlns:pc226="http://schemas.microsoft.com/office/powerpoint/2022/06/main/command" chg="">
              <pc226:chgData name="BRET Pierre" userId="3c262e90-eaeb-4858-8462-9ff6f0ba68c6" providerId="ADAL" clId="{5C3809FE-7CCB-4DB5-B846-112C326BBFD9}" dt="2024-02-07T15:03:02.781" v="3750"/>
              <pc2:cmMkLst xmlns:pc2="http://schemas.microsoft.com/office/powerpoint/2019/9/main/command">
                <pc:docMk/>
                <pc:sldMk cId="1257207121" sldId="2147481999"/>
                <pc2:cmMk id="{95C2EDAB-8F7D-4678-B0C9-CA4138834975}"/>
              </pc2:cmMkLst>
              <pc226:cmRplyChg chg="add">
                <pc226:chgData name="BRET Pierre" userId="3c262e90-eaeb-4858-8462-9ff6f0ba68c6" providerId="ADAL" clId="{5C3809FE-7CCB-4DB5-B846-112C326BBFD9}" dt="2024-02-07T15:03:02.781" v="3750"/>
                <pc2:cmRplyMkLst xmlns:pc2="http://schemas.microsoft.com/office/powerpoint/2019/9/main/command">
                  <pc:docMk/>
                  <pc:sldMk cId="1257207121" sldId="2147481999"/>
                  <pc2:cmMk id="{95C2EDAB-8F7D-4678-B0C9-CA4138834975}"/>
                  <pc2:cmRplyMk id="{86E08D92-E3DF-44A6-AFBB-891B7A7CCBA9}"/>
                </pc2:cmRplyMkLst>
              </pc226:cmRplyChg>
            </pc226:cmChg>
            <pc226:cmChg xmlns:pc226="http://schemas.microsoft.com/office/powerpoint/2022/06/main/command" chg="">
              <pc226:chgData name="BRET Pierre" userId="3c262e90-eaeb-4858-8462-9ff6f0ba68c6" providerId="ADAL" clId="{5C3809FE-7CCB-4DB5-B846-112C326BBFD9}" dt="2024-02-07T14:59:55.533" v="3561"/>
              <pc2:cmMkLst xmlns:pc2="http://schemas.microsoft.com/office/powerpoint/2019/9/main/command">
                <pc:docMk/>
                <pc:sldMk cId="1257207121" sldId="2147481999"/>
                <pc2:cmMk id="{5D8AA5AF-132A-42E4-83B8-90898E86C55A}"/>
              </pc2:cmMkLst>
              <pc226:cmRplyChg chg="add">
                <pc226:chgData name="BRET Pierre" userId="3c262e90-eaeb-4858-8462-9ff6f0ba68c6" providerId="ADAL" clId="{5C3809FE-7CCB-4DB5-B846-112C326BBFD9}" dt="2024-02-07T14:59:55.533" v="3561"/>
                <pc2:cmRplyMkLst xmlns:pc2="http://schemas.microsoft.com/office/powerpoint/2019/9/main/command">
                  <pc:docMk/>
                  <pc:sldMk cId="1257207121" sldId="2147481999"/>
                  <pc2:cmMk id="{5D8AA5AF-132A-42E4-83B8-90898E86C55A}"/>
                  <pc2:cmRplyMk id="{1E912B7A-9612-488F-99F3-245B2AAAB5EC}"/>
                </pc2:cmRplyMkLst>
              </pc226:cmRplyChg>
            </pc226:cmChg>
            <pc226:cmChg xmlns:pc226="http://schemas.microsoft.com/office/powerpoint/2022/06/main/command" chg="mod">
              <pc226:chgData name="BRET Pierre" userId="3c262e90-eaeb-4858-8462-9ff6f0ba68c6" providerId="ADAL" clId="{5C3809FE-7CCB-4DB5-B846-112C326BBFD9}" dt="2024-03-15T12:54:22.380" v="4575"/>
              <pc2:cmMkLst xmlns:pc2="http://schemas.microsoft.com/office/powerpoint/2019/9/main/command">
                <pc:docMk/>
                <pc:sldMk cId="1257207121" sldId="2147481999"/>
                <pc2:cmMk id="{9E0705F1-9E39-4570-8D8D-65A08E9B0B90}"/>
              </pc2:cmMkLst>
            </pc226:cmChg>
          </p:ext>
        </pc:extLst>
      </pc:sldChg>
      <pc:sldChg chg="del">
        <pc:chgData name="BRET Pierre" userId="3c262e90-eaeb-4858-8462-9ff6f0ba68c6" providerId="ADAL" clId="{5C3809FE-7CCB-4DB5-B846-112C326BBFD9}" dt="2024-01-18T09:08:07.527" v="840" actId="47"/>
        <pc:sldMkLst>
          <pc:docMk/>
          <pc:sldMk cId="2161414971" sldId="2147482000"/>
        </pc:sldMkLst>
      </pc:sldChg>
      <pc:sldChg chg="del">
        <pc:chgData name="BRET Pierre" userId="3c262e90-eaeb-4858-8462-9ff6f0ba68c6" providerId="ADAL" clId="{5C3809FE-7CCB-4DB5-B846-112C326BBFD9}" dt="2024-01-18T09:08:11.374" v="844" actId="47"/>
        <pc:sldMkLst>
          <pc:docMk/>
          <pc:sldMk cId="1693618491" sldId="2147482002"/>
        </pc:sldMkLst>
      </pc:sldChg>
      <pc:sldChg chg="addSp delSp modSp mod modCm">
        <pc:chgData name="BRET Pierre" userId="3c262e90-eaeb-4858-8462-9ff6f0ba68c6" providerId="ADAL" clId="{5C3809FE-7CCB-4DB5-B846-112C326BBFD9}" dt="2024-02-07T17:24:57.826" v="3878"/>
        <pc:sldMkLst>
          <pc:docMk/>
          <pc:sldMk cId="3340189546" sldId="2147482003"/>
        </pc:sldMkLst>
        <pc:extLst>
          <p:ext xmlns:p="http://schemas.openxmlformats.org/presentationml/2006/main" uri="{D6D511B9-2390-475A-947B-AFAB55BFBCF1}">
            <pc226:cmChg xmlns:pc226="http://schemas.microsoft.com/office/powerpoint/2022/06/main/command" chg="mod">
              <pc226:chgData name="BRET Pierre" userId="3c262e90-eaeb-4858-8462-9ff6f0ba68c6" providerId="ADAL" clId="{5C3809FE-7CCB-4DB5-B846-112C326BBFD9}" dt="2024-02-07T14:23:54.602" v="3096"/>
              <pc2:cmMkLst xmlns:pc2="http://schemas.microsoft.com/office/powerpoint/2019/9/main/command">
                <pc:docMk/>
                <pc:sldMk cId="3340189546" sldId="2147482003"/>
                <pc2:cmMk id="{41C1E103-4871-4381-8A2B-49C402C1574D}"/>
              </pc2:cmMkLst>
            </pc226:cmChg>
            <pc226:cmChg xmlns:pc226="http://schemas.microsoft.com/office/powerpoint/2022/06/main/command" chg="mod">
              <pc226:chgData name="BRET Pierre" userId="3c262e90-eaeb-4858-8462-9ff6f0ba68c6" providerId="ADAL" clId="{5C3809FE-7CCB-4DB5-B846-112C326BBFD9}" dt="2024-02-07T14:22:51.242" v="3073"/>
              <pc2:cmMkLst xmlns:pc2="http://schemas.microsoft.com/office/powerpoint/2019/9/main/command">
                <pc:docMk/>
                <pc:sldMk cId="3340189546" sldId="2147482003"/>
                <pc2:cmMk id="{162D4C50-C815-4824-98B0-B8C2482E70D4}"/>
              </pc2:cmMkLst>
            </pc226:cmChg>
            <pc226:cmChg xmlns:pc226="http://schemas.microsoft.com/office/powerpoint/2022/06/main/command" chg="mod">
              <pc226:chgData name="BRET Pierre" userId="3c262e90-eaeb-4858-8462-9ff6f0ba68c6" providerId="ADAL" clId="{5C3809FE-7CCB-4DB5-B846-112C326BBFD9}" dt="2024-02-07T14:23:09.130" v="3084"/>
              <pc2:cmMkLst xmlns:pc2="http://schemas.microsoft.com/office/powerpoint/2019/9/main/command">
                <pc:docMk/>
                <pc:sldMk cId="3340189546" sldId="2147482003"/>
                <pc2:cmMk id="{49923E57-27E8-4FDD-AAA3-F8CF054F3B3F}"/>
              </pc2:cmMkLst>
            </pc226:cmChg>
            <pc226:cmChg xmlns:pc226="http://schemas.microsoft.com/office/powerpoint/2022/06/main/command" chg="">
              <pc226:chgData name="BRET Pierre" userId="3c262e90-eaeb-4858-8462-9ff6f0ba68c6" providerId="ADAL" clId="{5C3809FE-7CCB-4DB5-B846-112C326BBFD9}" dt="2024-02-07T17:24:57.826" v="3878"/>
              <pc2:cmMkLst xmlns:pc2="http://schemas.microsoft.com/office/powerpoint/2019/9/main/command">
                <pc:docMk/>
                <pc:sldMk cId="3340189546" sldId="2147482003"/>
                <pc2:cmMk id="{E6783559-ABBD-4B9E-93CD-22EC5954B8ED}"/>
              </pc2:cmMkLst>
              <pc226:cmRplyChg chg="add">
                <pc226:chgData name="BRET Pierre" userId="3c262e90-eaeb-4858-8462-9ff6f0ba68c6" providerId="ADAL" clId="{5C3809FE-7CCB-4DB5-B846-112C326BBFD9}" dt="2024-02-07T17:24:57.826" v="3878"/>
                <pc2:cmRplyMkLst xmlns:pc2="http://schemas.microsoft.com/office/powerpoint/2019/9/main/command">
                  <pc:docMk/>
                  <pc:sldMk cId="3340189546" sldId="2147482003"/>
                  <pc2:cmMk id="{E6783559-ABBD-4B9E-93CD-22EC5954B8ED}"/>
                  <pc2:cmRplyMk id="{7B1BDD87-679B-440C-8A7E-B32D0E716345}"/>
                </pc2:cmRplyMkLst>
              </pc226:cmRplyChg>
            </pc226:cmChg>
          </p:ext>
        </pc:extLst>
      </pc:sldChg>
      <pc:sldChg chg="addSp delSp modSp mod modCm">
        <pc:chgData name="BRET Pierre" userId="3c262e90-eaeb-4858-8462-9ff6f0ba68c6" providerId="ADAL" clId="{5C3809FE-7CCB-4DB5-B846-112C326BBFD9}" dt="2024-03-12T09:10:33.367" v="4338" actId="21"/>
        <pc:sldMkLst>
          <pc:docMk/>
          <pc:sldMk cId="258348270" sldId="2147482004"/>
        </pc:sldMkLst>
        <pc:extLst>
          <p:ext xmlns:p="http://schemas.openxmlformats.org/presentationml/2006/main" uri="{D6D511B9-2390-475A-947B-AFAB55BFBCF1}">
            <pc226:cmChg xmlns:pc226="http://schemas.microsoft.com/office/powerpoint/2022/06/main/command" chg="mod">
              <pc226:chgData name="BRET Pierre" userId="3c262e90-eaeb-4858-8462-9ff6f0ba68c6" providerId="ADAL" clId="{5C3809FE-7CCB-4DB5-B846-112C326BBFD9}" dt="2024-02-07T17:26:08.290" v="3882"/>
              <pc2:cmMkLst xmlns:pc2="http://schemas.microsoft.com/office/powerpoint/2019/9/main/command">
                <pc:docMk/>
                <pc:sldMk cId="258348270" sldId="2147482004"/>
                <pc2:cmMk id="{C1F02B01-72A0-4EFB-943F-330D46CE9B72}"/>
              </pc2:cmMkLst>
            </pc226:cmChg>
            <pc226:cmChg xmlns:pc226="http://schemas.microsoft.com/office/powerpoint/2022/06/main/command" chg="mod">
              <pc226:chgData name="BRET Pierre" userId="3c262e90-eaeb-4858-8462-9ff6f0ba68c6" providerId="ADAL" clId="{5C3809FE-7CCB-4DB5-B846-112C326BBFD9}" dt="2024-02-07T14:24:34.100" v="3097"/>
              <pc2:cmMkLst xmlns:pc2="http://schemas.microsoft.com/office/powerpoint/2019/9/main/command">
                <pc:docMk/>
                <pc:sldMk cId="258348270" sldId="2147482004"/>
                <pc2:cmMk id="{ADF8590A-DFD9-4885-BC86-88089C0C666E}"/>
              </pc2:cmMkLst>
            </pc226:cmChg>
          </p:ext>
        </pc:extLst>
      </pc:sldChg>
      <pc:sldChg chg="addSp delSp modSp mod modCm">
        <pc:chgData name="BRET Pierre" userId="3c262e90-eaeb-4858-8462-9ff6f0ba68c6" providerId="ADAL" clId="{5C3809FE-7CCB-4DB5-B846-112C326BBFD9}" dt="2024-03-15T15:31:23.167" v="4936" actId="13926"/>
        <pc:sldMkLst>
          <pc:docMk/>
          <pc:sldMk cId="2145233351" sldId="2147482005"/>
        </pc:sldMkLst>
        <pc:extLst>
          <p:ext xmlns:p="http://schemas.openxmlformats.org/presentationml/2006/main" uri="{D6D511B9-2390-475A-947B-AFAB55BFBCF1}">
            <pc226:cmChg xmlns:pc226="http://schemas.microsoft.com/office/powerpoint/2022/06/main/command" chg="mod">
              <pc226:chgData name="BRET Pierre" userId="3c262e90-eaeb-4858-8462-9ff6f0ba68c6" providerId="ADAL" clId="{5C3809FE-7CCB-4DB5-B846-112C326BBFD9}" dt="2024-02-07T14:26:38.277" v="3119"/>
              <pc2:cmMkLst xmlns:pc2="http://schemas.microsoft.com/office/powerpoint/2019/9/main/command">
                <pc:docMk/>
                <pc:sldMk cId="2145233351" sldId="2147482005"/>
                <pc2:cmMk id="{3EF8D717-633F-4496-B38E-AB77F440EDE3}"/>
              </pc2:cmMkLst>
              <pc226:cmRplyChg chg="add">
                <pc226:chgData name="BRET Pierre" userId="3c262e90-eaeb-4858-8462-9ff6f0ba68c6" providerId="ADAL" clId="{5C3809FE-7CCB-4DB5-B846-112C326BBFD9}" dt="2024-02-07T14:26:38.277" v="3119"/>
                <pc2:cmRplyMkLst xmlns:pc2="http://schemas.microsoft.com/office/powerpoint/2019/9/main/command">
                  <pc:docMk/>
                  <pc:sldMk cId="2145233351" sldId="2147482005"/>
                  <pc2:cmMk id="{3EF8D717-633F-4496-B38E-AB77F440EDE3}"/>
                  <pc2:cmRplyMk id="{A83743EB-DD93-411C-ADAC-47156CE754B5}"/>
                </pc2:cmRplyMkLst>
              </pc226:cmRplyChg>
            </pc226:cmChg>
          </p:ext>
        </pc:extLst>
      </pc:sldChg>
      <pc:sldChg chg="addSp delSp modSp mod">
        <pc:chgData name="BRET Pierre" userId="3c262e90-eaeb-4858-8462-9ff6f0ba68c6" providerId="ADAL" clId="{5C3809FE-7CCB-4DB5-B846-112C326BBFD9}" dt="2024-01-29T17:49:36.115" v="2949" actId="478"/>
        <pc:sldMkLst>
          <pc:docMk/>
          <pc:sldMk cId="1039753401" sldId="2147482007"/>
        </pc:sldMkLst>
      </pc:sldChg>
      <pc:sldChg chg="del">
        <pc:chgData name="BRET Pierre" userId="3c262e90-eaeb-4858-8462-9ff6f0ba68c6" providerId="ADAL" clId="{5C3809FE-7CCB-4DB5-B846-112C326BBFD9}" dt="2024-01-18T09:09:58.692" v="866" actId="47"/>
        <pc:sldMkLst>
          <pc:docMk/>
          <pc:sldMk cId="2582682113" sldId="2147482009"/>
        </pc:sldMkLst>
      </pc:sldChg>
      <pc:sldChg chg="addSp delSp modSp del mod modCm">
        <pc:chgData name="BRET Pierre" userId="3c262e90-eaeb-4858-8462-9ff6f0ba68c6" providerId="ADAL" clId="{5C3809FE-7CCB-4DB5-B846-112C326BBFD9}" dt="2024-03-15T12:59:49.104" v="4922" actId="47"/>
        <pc:sldMkLst>
          <pc:docMk/>
          <pc:sldMk cId="3715473728" sldId="2147482010"/>
        </pc:sldMkLst>
        <pc:extLst>
          <p:ext xmlns:p="http://schemas.openxmlformats.org/presentationml/2006/main" uri="{D6D511B9-2390-475A-947B-AFAB55BFBCF1}">
            <pc226:cmChg xmlns:pc226="http://schemas.microsoft.com/office/powerpoint/2022/06/main/command" chg="mod">
              <pc226:chgData name="BRET Pierre" userId="3c262e90-eaeb-4858-8462-9ff6f0ba68c6" providerId="ADAL" clId="{5C3809FE-7CCB-4DB5-B846-112C326BBFD9}" dt="2024-01-18T13:48:17.654" v="2307" actId="2056"/>
              <pc2:cmMkLst xmlns:pc2="http://schemas.microsoft.com/office/powerpoint/2019/9/main/command">
                <pc:docMk/>
                <pc:sldMk cId="3715473728" sldId="2147482010"/>
                <pc2:cmMk id="{34383E1A-4246-4E70-9B76-D12C371772AE}"/>
              </pc2:cmMkLst>
            </pc226:cmChg>
            <pc226:cmChg xmlns:pc226="http://schemas.microsoft.com/office/powerpoint/2022/06/main/command" chg="mod">
              <pc226:chgData name="BRET Pierre" userId="3c262e90-eaeb-4858-8462-9ff6f0ba68c6" providerId="ADAL" clId="{5C3809FE-7CCB-4DB5-B846-112C326BBFD9}" dt="2024-02-07T14:40:36.027" v="3557"/>
              <pc2:cmMkLst xmlns:pc2="http://schemas.microsoft.com/office/powerpoint/2019/9/main/command">
                <pc:docMk/>
                <pc:sldMk cId="3715473728" sldId="2147482010"/>
                <pc2:cmMk id="{7A59FE4A-5DDC-4331-B536-F342D77A043C}"/>
              </pc2:cmMkLst>
              <pc226:cmRplyChg chg="add">
                <pc226:chgData name="BRET Pierre" userId="3c262e90-eaeb-4858-8462-9ff6f0ba68c6" providerId="ADAL" clId="{5C3809FE-7CCB-4DB5-B846-112C326BBFD9}" dt="2024-02-07T14:40:36.027" v="3557"/>
                <pc2:cmRplyMkLst xmlns:pc2="http://schemas.microsoft.com/office/powerpoint/2019/9/main/command">
                  <pc:docMk/>
                  <pc:sldMk cId="3715473728" sldId="2147482010"/>
                  <pc2:cmMk id="{7A59FE4A-5DDC-4331-B536-F342D77A043C}"/>
                  <pc2:cmRplyMk id="{BEFA0F48-132C-4F10-96B7-3C60F70B62D1}"/>
                </pc2:cmRplyMkLst>
              </pc226:cmRplyChg>
            </pc226:cmChg>
            <pc226:cmChg xmlns:pc226="http://schemas.microsoft.com/office/powerpoint/2022/06/main/command" chg="mod">
              <pc226:chgData name="BRET Pierre" userId="3c262e90-eaeb-4858-8462-9ff6f0ba68c6" providerId="ADAL" clId="{5C3809FE-7CCB-4DB5-B846-112C326BBFD9}" dt="2024-01-18T13:48:17.654" v="2307" actId="2056"/>
              <pc2:cmMkLst xmlns:pc2="http://schemas.microsoft.com/office/powerpoint/2019/9/main/command">
                <pc:docMk/>
                <pc:sldMk cId="3715473728" sldId="2147482010"/>
                <pc2:cmMk id="{1504C9C2-CFCF-4197-AA8A-18BCCEE7E74B}"/>
              </pc2:cmMkLst>
            </pc226:cmChg>
          </p:ext>
        </pc:extLst>
      </pc:sldChg>
      <pc:sldChg chg="del">
        <pc:chgData name="BRET Pierre" userId="3c262e90-eaeb-4858-8462-9ff6f0ba68c6" providerId="ADAL" clId="{5C3809FE-7CCB-4DB5-B846-112C326BBFD9}" dt="2024-01-18T09:09:58.692" v="866" actId="47"/>
        <pc:sldMkLst>
          <pc:docMk/>
          <pc:sldMk cId="4130302315" sldId="2147482011"/>
        </pc:sldMkLst>
      </pc:sldChg>
      <pc:sldChg chg="modSp del mod ord modShow">
        <pc:chgData name="BRET Pierre" userId="3c262e90-eaeb-4858-8462-9ff6f0ba68c6" providerId="ADAL" clId="{5C3809FE-7CCB-4DB5-B846-112C326BBFD9}" dt="2024-03-15T12:59:48.338" v="4921" actId="47"/>
        <pc:sldMkLst>
          <pc:docMk/>
          <pc:sldMk cId="3277470691" sldId="2147482012"/>
        </pc:sldMkLst>
      </pc:sldChg>
      <pc:sldChg chg="addSp delSp modSp mod modCm">
        <pc:chgData name="BRET Pierre" userId="3c262e90-eaeb-4858-8462-9ff6f0ba68c6" providerId="ADAL" clId="{5C3809FE-7CCB-4DB5-B846-112C326BBFD9}" dt="2024-03-15T12:52:52.860" v="4548"/>
        <pc:sldMkLst>
          <pc:docMk/>
          <pc:sldMk cId="162960782" sldId="2147482014"/>
        </pc:sldMkLst>
        <pc:extLst>
          <p:ext xmlns:p="http://schemas.openxmlformats.org/presentationml/2006/main" uri="{D6D511B9-2390-475A-947B-AFAB55BFBCF1}">
            <pc226:cmChg xmlns:pc226="http://schemas.microsoft.com/office/powerpoint/2022/06/main/command" chg="mod">
              <pc226:chgData name="BRET Pierre" userId="3c262e90-eaeb-4858-8462-9ff6f0ba68c6" providerId="ADAL" clId="{5C3809FE-7CCB-4DB5-B846-112C326BBFD9}" dt="2024-02-07T17:27:22.944" v="3918"/>
              <pc2:cmMkLst xmlns:pc2="http://schemas.microsoft.com/office/powerpoint/2019/9/main/command">
                <pc:docMk/>
                <pc:sldMk cId="162960782" sldId="2147482014"/>
                <pc2:cmMk id="{197B3A61-8E08-4E7B-A9BD-42829F6925B0}"/>
              </pc2:cmMkLst>
            </pc226:cmChg>
            <pc226:cmChg xmlns:pc226="http://schemas.microsoft.com/office/powerpoint/2022/06/main/command" chg="mod">
              <pc226:chgData name="BRET Pierre" userId="3c262e90-eaeb-4858-8462-9ff6f0ba68c6" providerId="ADAL" clId="{5C3809FE-7CCB-4DB5-B846-112C326BBFD9}" dt="2024-03-15T12:52:52.860" v="4548"/>
              <pc2:cmMkLst xmlns:pc2="http://schemas.microsoft.com/office/powerpoint/2019/9/main/command">
                <pc:docMk/>
                <pc:sldMk cId="162960782" sldId="2147482014"/>
                <pc2:cmMk id="{1CD11868-B4C6-4DEA-9E9A-321E84C2F1A8}"/>
              </pc2:cmMkLst>
              <pc226:cmRplyChg chg="add">
                <pc226:chgData name="BRET Pierre" userId="3c262e90-eaeb-4858-8462-9ff6f0ba68c6" providerId="ADAL" clId="{5C3809FE-7CCB-4DB5-B846-112C326BBFD9}" dt="2024-03-12T08:58:57.122" v="3956"/>
                <pc2:cmRplyMkLst xmlns:pc2="http://schemas.microsoft.com/office/powerpoint/2019/9/main/command">
                  <pc:docMk/>
                  <pc:sldMk cId="162960782" sldId="2147482014"/>
                  <pc2:cmMk id="{1CD11868-B4C6-4DEA-9E9A-321E84C2F1A8}"/>
                  <pc2:cmRplyMk id="{7DEC0CB4-0FE8-4774-A790-28724C9EF84A}"/>
                </pc2:cmRplyMkLst>
              </pc226:cmRplyChg>
            </pc226:cmChg>
            <pc226:cmChg xmlns:pc226="http://schemas.microsoft.com/office/powerpoint/2022/06/main/command" chg="mod">
              <pc226:chgData name="BRET Pierre" userId="3c262e90-eaeb-4858-8462-9ff6f0ba68c6" providerId="ADAL" clId="{5C3809FE-7CCB-4DB5-B846-112C326BBFD9}" dt="2024-02-07T17:29:10.857" v="3946"/>
              <pc2:cmMkLst xmlns:pc2="http://schemas.microsoft.com/office/powerpoint/2019/9/main/command">
                <pc:docMk/>
                <pc:sldMk cId="162960782" sldId="2147482014"/>
                <pc2:cmMk id="{D28ADAD7-BE59-476D-885D-02395AFEA245}"/>
              </pc2:cmMkLst>
              <pc226:cmRplyChg chg="add">
                <pc226:chgData name="BRET Pierre" userId="3c262e90-eaeb-4858-8462-9ff6f0ba68c6" providerId="ADAL" clId="{5C3809FE-7CCB-4DB5-B846-112C326BBFD9}" dt="2024-02-07T17:29:09.099" v="3945"/>
                <pc2:cmRplyMkLst xmlns:pc2="http://schemas.microsoft.com/office/powerpoint/2019/9/main/command">
                  <pc:docMk/>
                  <pc:sldMk cId="162960782" sldId="2147482014"/>
                  <pc2:cmMk id="{D28ADAD7-BE59-476D-885D-02395AFEA245}"/>
                  <pc2:cmRplyMk id="{82D9C6FD-A4D1-4451-A355-3ED57AB7BD64}"/>
                </pc2:cmRplyMkLst>
              </pc226:cmRplyChg>
            </pc226:cmChg>
          </p:ext>
        </pc:extLst>
      </pc:sldChg>
      <pc:sldChg chg="addSp modSp mod ord modCm">
        <pc:chgData name="BRET Pierre" userId="3c262e90-eaeb-4858-8462-9ff6f0ba68c6" providerId="ADAL" clId="{5C3809FE-7CCB-4DB5-B846-112C326BBFD9}" dt="2024-03-15T12:54:15.896" v="4574"/>
        <pc:sldMkLst>
          <pc:docMk/>
          <pc:sldMk cId="132357815" sldId="2147482015"/>
        </pc:sldMkLst>
        <pc:extLst>
          <p:ext xmlns:p="http://schemas.openxmlformats.org/presentationml/2006/main" uri="{D6D511B9-2390-475A-947B-AFAB55BFBCF1}">
            <pc226:cmChg xmlns:pc226="http://schemas.microsoft.com/office/powerpoint/2022/06/main/command" chg="mod">
              <pc226:chgData name="BRET Pierre" userId="3c262e90-eaeb-4858-8462-9ff6f0ba68c6" providerId="ADAL" clId="{5C3809FE-7CCB-4DB5-B846-112C326BBFD9}" dt="2024-03-15T12:54:15.896" v="4574"/>
              <pc2:cmMkLst xmlns:pc2="http://schemas.microsoft.com/office/powerpoint/2019/9/main/command">
                <pc:docMk/>
                <pc:sldMk cId="132357815" sldId="2147482015"/>
                <pc2:cmMk id="{85026B06-7DA7-4B55-A0B2-3F4F34028639}"/>
              </pc2:cmMkLst>
            </pc226:cmChg>
            <pc226:cmChg xmlns:pc226="http://schemas.microsoft.com/office/powerpoint/2022/06/main/command" chg="">
              <pc226:chgData name="BRET Pierre" userId="3c262e90-eaeb-4858-8462-9ff6f0ba68c6" providerId="ADAL" clId="{5C3809FE-7CCB-4DB5-B846-112C326BBFD9}" dt="2024-02-07T15:09:14.702" v="3761"/>
              <pc2:cmMkLst xmlns:pc2="http://schemas.microsoft.com/office/powerpoint/2019/9/main/command">
                <pc:docMk/>
                <pc:sldMk cId="132357815" sldId="2147482015"/>
                <pc2:cmMk id="{E1281C15-66E6-42B8-B5B1-FE4CC8BF8115}"/>
              </pc2:cmMkLst>
              <pc226:cmRplyChg chg="add">
                <pc226:chgData name="BRET Pierre" userId="3c262e90-eaeb-4858-8462-9ff6f0ba68c6" providerId="ADAL" clId="{5C3809FE-7CCB-4DB5-B846-112C326BBFD9}" dt="2024-02-07T15:09:14.702" v="3761"/>
                <pc2:cmRplyMkLst xmlns:pc2="http://schemas.microsoft.com/office/powerpoint/2019/9/main/command">
                  <pc:docMk/>
                  <pc:sldMk cId="132357815" sldId="2147482015"/>
                  <pc2:cmMk id="{E1281C15-66E6-42B8-B5B1-FE4CC8BF8115}"/>
                  <pc2:cmRplyMk id="{7EF43704-91FA-43B1-9988-353321D39119}"/>
                </pc2:cmRplyMkLst>
              </pc226:cmRplyChg>
            </pc226:cmChg>
            <pc226:cmChg xmlns:pc226="http://schemas.microsoft.com/office/powerpoint/2022/06/main/command" chg="">
              <pc226:chgData name="BRET Pierre" userId="3c262e90-eaeb-4858-8462-9ff6f0ba68c6" providerId="ADAL" clId="{5C3809FE-7CCB-4DB5-B846-112C326BBFD9}" dt="2024-02-07T15:13:01.811" v="3803"/>
              <pc2:cmMkLst xmlns:pc2="http://schemas.microsoft.com/office/powerpoint/2019/9/main/command">
                <pc:docMk/>
                <pc:sldMk cId="132357815" sldId="2147482015"/>
                <pc2:cmMk id="{DB81BF21-9485-40E0-9339-C229CD83022E}"/>
              </pc2:cmMkLst>
              <pc226:cmRplyChg chg="add">
                <pc226:chgData name="BRET Pierre" userId="3c262e90-eaeb-4858-8462-9ff6f0ba68c6" providerId="ADAL" clId="{5C3809FE-7CCB-4DB5-B846-112C326BBFD9}" dt="2024-02-07T15:13:01.811" v="3803"/>
                <pc2:cmRplyMkLst xmlns:pc2="http://schemas.microsoft.com/office/powerpoint/2019/9/main/command">
                  <pc:docMk/>
                  <pc:sldMk cId="132357815" sldId="2147482015"/>
                  <pc2:cmMk id="{DB81BF21-9485-40E0-9339-C229CD83022E}"/>
                  <pc2:cmRplyMk id="{AE974B01-D676-418B-AF56-8EF5C55704CF}"/>
                </pc2:cmRplyMkLst>
              </pc226:cmRplyChg>
            </pc226:cmChg>
            <pc226:cmChg xmlns:pc226="http://schemas.microsoft.com/office/powerpoint/2022/06/main/command" chg="">
              <pc226:chgData name="BRET Pierre" userId="3c262e90-eaeb-4858-8462-9ff6f0ba68c6" providerId="ADAL" clId="{5C3809FE-7CCB-4DB5-B846-112C326BBFD9}" dt="2024-02-07T15:06:43.647" v="3756"/>
              <pc2:cmMkLst xmlns:pc2="http://schemas.microsoft.com/office/powerpoint/2019/9/main/command">
                <pc:docMk/>
                <pc:sldMk cId="132357815" sldId="2147482015"/>
                <pc2:cmMk id="{16D2435D-A937-44B0-A3B5-BA2C1B256712}"/>
              </pc2:cmMkLst>
              <pc226:cmRplyChg chg="add">
                <pc226:chgData name="BRET Pierre" userId="3c262e90-eaeb-4858-8462-9ff6f0ba68c6" providerId="ADAL" clId="{5C3809FE-7CCB-4DB5-B846-112C326BBFD9}" dt="2024-02-07T15:06:43.647" v="3756"/>
                <pc2:cmRplyMkLst xmlns:pc2="http://schemas.microsoft.com/office/powerpoint/2019/9/main/command">
                  <pc:docMk/>
                  <pc:sldMk cId="132357815" sldId="2147482015"/>
                  <pc2:cmMk id="{16D2435D-A937-44B0-A3B5-BA2C1B256712}"/>
                  <pc2:cmRplyMk id="{F67AE342-245D-4255-AA09-912638566144}"/>
                </pc2:cmRplyMkLst>
              </pc226:cmRplyChg>
            </pc226:cmChg>
            <pc226:cmChg xmlns:pc226="http://schemas.microsoft.com/office/powerpoint/2022/06/main/command" chg="mod">
              <pc226:chgData name="BRET Pierre" userId="3c262e90-eaeb-4858-8462-9ff6f0ba68c6" providerId="ADAL" clId="{5C3809FE-7CCB-4DB5-B846-112C326BBFD9}" dt="2024-02-07T15:07:35.141" v="3759"/>
              <pc2:cmMkLst xmlns:pc2="http://schemas.microsoft.com/office/powerpoint/2019/9/main/command">
                <pc:docMk/>
                <pc:sldMk cId="132357815" sldId="2147482015"/>
                <pc2:cmMk id="{9E5B3EAC-D356-4432-81E9-6007E5E91C1F}"/>
              </pc2:cmMkLst>
              <pc226:cmRplyChg chg="add mod">
                <pc226:chgData name="BRET Pierre" userId="3c262e90-eaeb-4858-8462-9ff6f0ba68c6" providerId="ADAL" clId="{5C3809FE-7CCB-4DB5-B846-112C326BBFD9}" dt="2024-02-07T15:07:35.141" v="3759"/>
                <pc2:cmRplyMkLst xmlns:pc2="http://schemas.microsoft.com/office/powerpoint/2019/9/main/command">
                  <pc:docMk/>
                  <pc:sldMk cId="132357815" sldId="2147482015"/>
                  <pc2:cmMk id="{9E5B3EAC-D356-4432-81E9-6007E5E91C1F}"/>
                  <pc2:cmRplyMk id="{B9E23977-337F-4608-8405-C8206F48BF14}"/>
                </pc2:cmRplyMkLst>
              </pc226:cmRplyChg>
            </pc226:cmChg>
            <pc226:cmChg xmlns:pc226="http://schemas.microsoft.com/office/powerpoint/2022/06/main/command" chg="mod">
              <pc226:chgData name="BRET Pierre" userId="3c262e90-eaeb-4858-8462-9ff6f0ba68c6" providerId="ADAL" clId="{5C3809FE-7CCB-4DB5-B846-112C326BBFD9}" dt="2024-02-07T15:11:09.022" v="3801" actId="20577"/>
              <pc2:cmMkLst xmlns:pc2="http://schemas.microsoft.com/office/powerpoint/2019/9/main/command">
                <pc:docMk/>
                <pc:sldMk cId="132357815" sldId="2147482015"/>
                <pc2:cmMk id="{27DBC0B1-4FEA-4709-B5E8-343C9787B174}"/>
              </pc2:cmMkLst>
              <pc226:cmRplyChg chg="add">
                <pc226:chgData name="BRET Pierre" userId="3c262e90-eaeb-4858-8462-9ff6f0ba68c6" providerId="ADAL" clId="{5C3809FE-7CCB-4DB5-B846-112C326BBFD9}" dt="2024-02-07T15:10:55.707" v="3762"/>
                <pc2:cmRplyMkLst xmlns:pc2="http://schemas.microsoft.com/office/powerpoint/2019/9/main/command">
                  <pc:docMk/>
                  <pc:sldMk cId="132357815" sldId="2147482015"/>
                  <pc2:cmMk id="{27DBC0B1-4FEA-4709-B5E8-343C9787B174}"/>
                  <pc2:cmRplyMk id="{46CB8447-A157-44FA-B976-D67005F867F3}"/>
                </pc2:cmRplyMkLst>
              </pc226:cmRplyChg>
            </pc226:cmChg>
            <pc226:cmChg xmlns:pc226="http://schemas.microsoft.com/office/powerpoint/2022/06/main/command" chg="">
              <pc226:chgData name="BRET Pierre" userId="3c262e90-eaeb-4858-8462-9ff6f0ba68c6" providerId="ADAL" clId="{5C3809FE-7CCB-4DB5-B846-112C326BBFD9}" dt="2024-02-07T15:08:50.041" v="3760"/>
              <pc2:cmMkLst xmlns:pc2="http://schemas.microsoft.com/office/powerpoint/2019/9/main/command">
                <pc:docMk/>
                <pc:sldMk cId="132357815" sldId="2147482015"/>
                <pc2:cmMk id="{F3EA6EBF-BD7C-409A-A087-657C04164C07}"/>
              </pc2:cmMkLst>
              <pc226:cmRplyChg chg="add">
                <pc226:chgData name="BRET Pierre" userId="3c262e90-eaeb-4858-8462-9ff6f0ba68c6" providerId="ADAL" clId="{5C3809FE-7CCB-4DB5-B846-112C326BBFD9}" dt="2024-02-07T15:08:50.041" v="3760"/>
                <pc2:cmRplyMkLst xmlns:pc2="http://schemas.microsoft.com/office/powerpoint/2019/9/main/command">
                  <pc:docMk/>
                  <pc:sldMk cId="132357815" sldId="2147482015"/>
                  <pc2:cmMk id="{F3EA6EBF-BD7C-409A-A087-657C04164C07}"/>
                  <pc2:cmRplyMk id="{87AA873F-2D8C-40ED-8382-FD6940F3E71E}"/>
                </pc2:cmRplyMkLst>
              </pc226:cmRplyChg>
            </pc226:cmChg>
            <pc226:cmChg xmlns:pc226="http://schemas.microsoft.com/office/powerpoint/2022/06/main/command" chg="">
              <pc226:chgData name="BRET Pierre" userId="3c262e90-eaeb-4858-8462-9ff6f0ba68c6" providerId="ADAL" clId="{5C3809FE-7CCB-4DB5-B846-112C326BBFD9}" dt="2024-02-07T15:12:35.020" v="3802"/>
              <pc2:cmMkLst xmlns:pc2="http://schemas.microsoft.com/office/powerpoint/2019/9/main/command">
                <pc:docMk/>
                <pc:sldMk cId="132357815" sldId="2147482015"/>
                <pc2:cmMk id="{6C9557D6-213C-487E-AA6D-2EB6BFADB99A}"/>
              </pc2:cmMkLst>
              <pc226:cmRplyChg chg="add">
                <pc226:chgData name="BRET Pierre" userId="3c262e90-eaeb-4858-8462-9ff6f0ba68c6" providerId="ADAL" clId="{5C3809FE-7CCB-4DB5-B846-112C326BBFD9}" dt="2024-02-07T15:12:35.020" v="3802"/>
                <pc2:cmRplyMkLst xmlns:pc2="http://schemas.microsoft.com/office/powerpoint/2019/9/main/command">
                  <pc:docMk/>
                  <pc:sldMk cId="132357815" sldId="2147482015"/>
                  <pc2:cmMk id="{6C9557D6-213C-487E-AA6D-2EB6BFADB99A}"/>
                  <pc2:cmRplyMk id="{2E9BE6F8-DB81-49E1-ACED-3512CD99188E}"/>
                </pc2:cmRplyMkLst>
              </pc226:cmRplyChg>
            </pc226:cmChg>
          </p:ext>
        </pc:extLst>
      </pc:sldChg>
      <pc:sldChg chg="modSp mod ord modCm">
        <pc:chgData name="BRET Pierre" userId="3c262e90-eaeb-4858-8462-9ff6f0ba68c6" providerId="ADAL" clId="{5C3809FE-7CCB-4DB5-B846-112C326BBFD9}" dt="2024-02-07T15:20:35.085" v="3876" actId="14100"/>
        <pc:sldMkLst>
          <pc:docMk/>
          <pc:sldMk cId="4187097854" sldId="2147482016"/>
        </pc:sldMkLst>
        <pc:extLst>
          <p:ext xmlns:p="http://schemas.openxmlformats.org/presentationml/2006/main" uri="{D6D511B9-2390-475A-947B-AFAB55BFBCF1}">
            <pc226:cmChg xmlns:pc226="http://schemas.microsoft.com/office/powerpoint/2022/06/main/command" chg="mod">
              <pc226:chgData name="BRET Pierre" userId="3c262e90-eaeb-4858-8462-9ff6f0ba68c6" providerId="ADAL" clId="{5C3809FE-7CCB-4DB5-B846-112C326BBFD9}" dt="2024-02-07T15:20:22.736" v="3872"/>
              <pc2:cmMkLst xmlns:pc2="http://schemas.microsoft.com/office/powerpoint/2019/9/main/command">
                <pc:docMk/>
                <pc:sldMk cId="4187097854" sldId="2147482016"/>
                <pc2:cmMk id="{82FDD979-CC41-414B-9B57-7D2F8B9DDF43}"/>
              </pc2:cmMkLst>
              <pc226:cmRplyChg chg="add">
                <pc226:chgData name="BRET Pierre" userId="3c262e90-eaeb-4858-8462-9ff6f0ba68c6" providerId="ADAL" clId="{5C3809FE-7CCB-4DB5-B846-112C326BBFD9}" dt="2024-02-07T15:20:22.736" v="3872"/>
                <pc2:cmRplyMkLst xmlns:pc2="http://schemas.microsoft.com/office/powerpoint/2019/9/main/command">
                  <pc:docMk/>
                  <pc:sldMk cId="4187097854" sldId="2147482016"/>
                  <pc2:cmMk id="{82FDD979-CC41-414B-9B57-7D2F8B9DDF43}"/>
                  <pc2:cmRplyMk id="{71528B4B-3466-4E3C-A332-6AD402CC71C7}"/>
                </pc2:cmRplyMkLst>
              </pc226:cmRplyChg>
            </pc226:cmChg>
          </p:ext>
        </pc:extLst>
      </pc:sldChg>
      <pc:sldChg chg="modSp mod ord modCm">
        <pc:chgData name="BRET Pierre" userId="3c262e90-eaeb-4858-8462-9ff6f0ba68c6" providerId="ADAL" clId="{5C3809FE-7CCB-4DB5-B846-112C326BBFD9}" dt="2024-03-15T12:58:58.198" v="4918" actId="20577"/>
        <pc:sldMkLst>
          <pc:docMk/>
          <pc:sldMk cId="428757134" sldId="2147482017"/>
        </pc:sldMkLst>
        <pc:extLst>
          <p:ext xmlns:p="http://schemas.openxmlformats.org/presentationml/2006/main" uri="{D6D511B9-2390-475A-947B-AFAB55BFBCF1}">
            <pc226:cmChg xmlns:pc226="http://schemas.microsoft.com/office/powerpoint/2022/06/main/command" chg="mod">
              <pc226:chgData name="BRET Pierre" userId="3c262e90-eaeb-4858-8462-9ff6f0ba68c6" providerId="ADAL" clId="{5C3809FE-7CCB-4DB5-B846-112C326BBFD9}" dt="2024-03-15T12:55:08.385" v="4584"/>
              <pc2:cmMkLst xmlns:pc2="http://schemas.microsoft.com/office/powerpoint/2019/9/main/command">
                <pc:docMk/>
                <pc:sldMk cId="428757134" sldId="2147482017"/>
                <pc2:cmMk id="{F947AD06-365A-446F-AE9B-BFCD5F523B7C}"/>
              </pc2:cmMkLst>
            </pc226:cmChg>
            <pc226:cmChg xmlns:pc226="http://schemas.microsoft.com/office/powerpoint/2022/06/main/command" chg="mod">
              <pc226:chgData name="BRET Pierre" userId="3c262e90-eaeb-4858-8462-9ff6f0ba68c6" providerId="ADAL" clId="{5C3809FE-7CCB-4DB5-B846-112C326BBFD9}" dt="2024-03-15T12:58:58.198" v="4918" actId="20577"/>
              <pc2:cmMkLst xmlns:pc2="http://schemas.microsoft.com/office/powerpoint/2019/9/main/command">
                <pc:docMk/>
                <pc:sldMk cId="428757134" sldId="2147482017"/>
                <pc2:cmMk id="{E66E3767-A548-498C-B14F-E6A1097EA894}"/>
              </pc2:cmMkLst>
            </pc226:cmChg>
          </p:ext>
        </pc:extLst>
      </pc:sldChg>
      <pc:sldChg chg="add del">
        <pc:chgData name="BRET Pierre" userId="3c262e90-eaeb-4858-8462-9ff6f0ba68c6" providerId="ADAL" clId="{5C3809FE-7CCB-4DB5-B846-112C326BBFD9}" dt="2024-01-18T12:50:57.012" v="1127"/>
        <pc:sldMkLst>
          <pc:docMk/>
          <pc:sldMk cId="1600086953" sldId="2147482018"/>
        </pc:sldMkLst>
      </pc:sldChg>
      <pc:sldChg chg="addSp delSp modSp add mod modCm">
        <pc:chgData name="BRET Pierre" userId="3c262e90-eaeb-4858-8462-9ff6f0ba68c6" providerId="ADAL" clId="{5C3809FE-7CCB-4DB5-B846-112C326BBFD9}" dt="2024-03-15T12:53:50.785" v="4569" actId="20577"/>
        <pc:sldMkLst>
          <pc:docMk/>
          <pc:sldMk cId="3302271320" sldId="2147482018"/>
        </pc:sldMkLst>
        <pc:extLst>
          <p:ext xmlns:p="http://schemas.openxmlformats.org/presentationml/2006/main" uri="{D6D511B9-2390-475A-947B-AFAB55BFBCF1}">
            <pc226:cmChg xmlns:pc226="http://schemas.microsoft.com/office/powerpoint/2022/06/main/command" chg="">
              <pc226:chgData name="BRET Pierre" userId="3c262e90-eaeb-4858-8462-9ff6f0ba68c6" providerId="ADAL" clId="{5C3809FE-7CCB-4DB5-B846-112C326BBFD9}" dt="2024-02-07T14:39:13.842" v="3556"/>
              <pc2:cmMkLst xmlns:pc2="http://schemas.microsoft.com/office/powerpoint/2019/9/main/command">
                <pc:docMk/>
                <pc:sldMk cId="3302271320" sldId="2147482018"/>
                <pc2:cmMk id="{F54A63AA-A1F8-4E2B-9134-22CA1E3912DE}"/>
              </pc2:cmMkLst>
              <pc226:cmRplyChg chg="add mod">
                <pc226:chgData name="BRET Pierre" userId="3c262e90-eaeb-4858-8462-9ff6f0ba68c6" providerId="ADAL" clId="{5C3809FE-7CCB-4DB5-B846-112C326BBFD9}" dt="2024-02-07T14:39:13.842" v="3556"/>
                <pc2:cmRplyMkLst xmlns:pc2="http://schemas.microsoft.com/office/powerpoint/2019/9/main/command">
                  <pc:docMk/>
                  <pc:sldMk cId="3302271320" sldId="2147482018"/>
                  <pc2:cmMk id="{F54A63AA-A1F8-4E2B-9134-22CA1E3912DE}"/>
                  <pc2:cmRplyMk id="{2F8FF8B4-102E-4230-8259-9EB5694C7824}"/>
                </pc2:cmRplyMkLst>
              </pc226:cmRplyChg>
            </pc226:cmChg>
          </p:ext>
        </pc:extLst>
      </pc:sldChg>
      <pc:sldChg chg="add del">
        <pc:chgData name="BRET Pierre" userId="3c262e90-eaeb-4858-8462-9ff6f0ba68c6" providerId="ADAL" clId="{5C3809FE-7CCB-4DB5-B846-112C326BBFD9}" dt="2024-01-18T13:40:58.356" v="2181" actId="47"/>
        <pc:sldMkLst>
          <pc:docMk/>
          <pc:sldMk cId="1371819625" sldId="2147482019"/>
        </pc:sldMkLst>
      </pc:sldChg>
      <pc:sldChg chg="del">
        <pc:chgData name="BRET Pierre" userId="3c262e90-eaeb-4858-8462-9ff6f0ba68c6" providerId="ADAL" clId="{5C3809FE-7CCB-4DB5-B846-112C326BBFD9}" dt="2024-03-15T12:59:43.636" v="4920" actId="47"/>
        <pc:sldMkLst>
          <pc:docMk/>
          <pc:sldMk cId="3274465250" sldId="2147482019"/>
        </pc:sldMkLst>
      </pc:sldChg>
    </pc:docChg>
  </pc:docChgLst>
  <pc:docChgLst>
    <pc:chgData name="Thomas MARENCIC" userId="S::thomas.marencic_avanade.com#ext#@vincic.onmicrosoft.com::a8fd1848-4f23-4b07-92d6-f82983b9fd1c" providerId="AD" clId="Web-{21AF4264-AFEB-F088-4DF3-2C3CFC397971}"/>
    <pc:docChg chg="delSld modSld modSection">
      <pc:chgData name="Thomas MARENCIC" userId="S::thomas.marencic_avanade.com#ext#@vincic.onmicrosoft.com::a8fd1848-4f23-4b07-92d6-f82983b9fd1c" providerId="AD" clId="Web-{21AF4264-AFEB-F088-4DF3-2C3CFC397971}" dt="2022-12-16T07:42:28.237" v="3"/>
      <pc:docMkLst>
        <pc:docMk/>
      </pc:docMkLst>
      <pc:sldChg chg="del">
        <pc:chgData name="Thomas MARENCIC" userId="S::thomas.marencic_avanade.com#ext#@vincic.onmicrosoft.com::a8fd1848-4f23-4b07-92d6-f82983b9fd1c" providerId="AD" clId="Web-{21AF4264-AFEB-F088-4DF3-2C3CFC397971}" dt="2022-12-16T07:40:24.993" v="0"/>
        <pc:sldMkLst>
          <pc:docMk/>
          <pc:sldMk cId="2551602083" sldId="2147469207"/>
        </pc:sldMkLst>
      </pc:sldChg>
      <pc:sldChg chg="addSp delSp modSp">
        <pc:chgData name="Thomas MARENCIC" userId="S::thomas.marencic_avanade.com#ext#@vincic.onmicrosoft.com::a8fd1848-4f23-4b07-92d6-f82983b9fd1c" providerId="AD" clId="Web-{21AF4264-AFEB-F088-4DF3-2C3CFC397971}" dt="2022-12-16T07:42:28.237" v="3"/>
        <pc:sldMkLst>
          <pc:docMk/>
          <pc:sldMk cId="483041667" sldId="2147469276"/>
        </pc:sldMkLst>
      </pc:sldChg>
    </pc:docChg>
  </pc:docChgLst>
  <pc:docChgLst>
    <pc:chgData name="BRET Pierre" userId="S::pierre.bret@vinci-construction.com::3c262e90-eaeb-4858-8462-9ff6f0ba68c6" providerId="AD" clId="Web-{DF0D48E6-5190-FB09-5E3C-04911D642000}"/>
    <pc:docChg chg="modSld">
      <pc:chgData name="BRET Pierre" userId="S::pierre.bret@vinci-construction.com::3c262e90-eaeb-4858-8462-9ff6f0ba68c6" providerId="AD" clId="Web-{DF0D48E6-5190-FB09-5E3C-04911D642000}" dt="2024-08-16T15:15:27.274" v="0" actId="20577"/>
      <pc:docMkLst>
        <pc:docMk/>
      </pc:docMkLst>
      <pc:sldChg chg="modSp">
        <pc:chgData name="BRET Pierre" userId="S::pierre.bret@vinci-construction.com::3c262e90-eaeb-4858-8462-9ff6f0ba68c6" providerId="AD" clId="Web-{DF0D48E6-5190-FB09-5E3C-04911D642000}" dt="2024-08-16T15:15:27.274" v="0" actId="20577"/>
        <pc:sldMkLst>
          <pc:docMk/>
          <pc:sldMk cId="3897447519" sldId="2147469287"/>
        </pc:sldMkLst>
      </pc:sldChg>
    </pc:docChg>
  </pc:docChgLst>
  <pc:docChgLst>
    <pc:chgData name="Stéphanie Chatagner" userId="43a90851-419b-46ca-ab03-9ac21f8b019f" providerId="ADAL" clId="{8CFF5F88-1A84-4213-B60F-391C1D420A7B}"/>
    <pc:docChg chg="undo redo custSel addSld delSld modSld sldOrd modSection">
      <pc:chgData name="Stéphanie Chatagner" userId="43a90851-419b-46ca-ab03-9ac21f8b019f" providerId="ADAL" clId="{8CFF5F88-1A84-4213-B60F-391C1D420A7B}" dt="2023-02-14T17:25:16.602" v="2400" actId="12789"/>
      <pc:docMkLst>
        <pc:docMk/>
      </pc:docMkLst>
      <pc:sldChg chg="delSp modSp mod">
        <pc:chgData name="Stéphanie Chatagner" userId="43a90851-419b-46ca-ab03-9ac21f8b019f" providerId="ADAL" clId="{8CFF5F88-1A84-4213-B60F-391C1D420A7B}" dt="2023-02-14T17:15:45.760" v="2364" actId="20577"/>
        <pc:sldMkLst>
          <pc:docMk/>
          <pc:sldMk cId="1716985175" sldId="2147326867"/>
        </pc:sldMkLst>
      </pc:sldChg>
      <pc:sldChg chg="del">
        <pc:chgData name="Stéphanie Chatagner" userId="43a90851-419b-46ca-ab03-9ac21f8b019f" providerId="ADAL" clId="{8CFF5F88-1A84-4213-B60F-391C1D420A7B}" dt="2023-02-14T15:35:33.830" v="1458" actId="2696"/>
        <pc:sldMkLst>
          <pc:docMk/>
          <pc:sldMk cId="3558143222" sldId="2147469082"/>
        </pc:sldMkLst>
      </pc:sldChg>
      <pc:sldChg chg="modSp mod ord modCm">
        <pc:chgData name="Stéphanie Chatagner" userId="43a90851-419b-46ca-ab03-9ac21f8b019f" providerId="ADAL" clId="{8CFF5F88-1A84-4213-B60F-391C1D420A7B}" dt="2023-02-14T16:43:50.242" v="2067"/>
        <pc:sldMkLst>
          <pc:docMk/>
          <pc:sldMk cId="3192763856" sldId="2147469087"/>
        </pc:sldMkLst>
      </pc:sldChg>
      <pc:sldChg chg="modCm">
        <pc:chgData name="Stéphanie Chatagner" userId="43a90851-419b-46ca-ab03-9ac21f8b019f" providerId="ADAL" clId="{8CFF5F88-1A84-4213-B60F-391C1D420A7B}" dt="2023-02-14T10:18:56.875" v="1327"/>
        <pc:sldMkLst>
          <pc:docMk/>
          <pc:sldMk cId="2972058130" sldId="2147469095"/>
        </pc:sldMkLst>
      </pc:sldChg>
      <pc:sldChg chg="addSp delSp modSp mod ord modCm">
        <pc:chgData name="Stéphanie Chatagner" userId="43a90851-419b-46ca-ab03-9ac21f8b019f" providerId="ADAL" clId="{8CFF5F88-1A84-4213-B60F-391C1D420A7B}" dt="2023-02-14T16:34:36.542" v="2021" actId="478"/>
        <pc:sldMkLst>
          <pc:docMk/>
          <pc:sldMk cId="1867449557" sldId="2147469131"/>
        </pc:sldMkLst>
      </pc:sldChg>
      <pc:sldChg chg="addSp delSp modSp mod modCm">
        <pc:chgData name="Stéphanie Chatagner" userId="43a90851-419b-46ca-ab03-9ac21f8b019f" providerId="ADAL" clId="{8CFF5F88-1A84-4213-B60F-391C1D420A7B}" dt="2023-02-14T10:24:16.827" v="1419"/>
        <pc:sldMkLst>
          <pc:docMk/>
          <pc:sldMk cId="1678300054" sldId="2147469140"/>
        </pc:sldMkLst>
      </pc:sldChg>
      <pc:sldChg chg="delSp modSp mod">
        <pc:chgData name="Stéphanie Chatagner" userId="43a90851-419b-46ca-ab03-9ac21f8b019f" providerId="ADAL" clId="{8CFF5F88-1A84-4213-B60F-391C1D420A7B}" dt="2023-02-14T10:11:44.637" v="1264" actId="12788"/>
        <pc:sldMkLst>
          <pc:docMk/>
          <pc:sldMk cId="2433366989" sldId="2147469201"/>
        </pc:sldMkLst>
      </pc:sldChg>
      <pc:sldChg chg="modSp mod ord addCm modCm">
        <pc:chgData name="Stéphanie Chatagner" userId="43a90851-419b-46ca-ab03-9ac21f8b019f" providerId="ADAL" clId="{8CFF5F88-1A84-4213-B60F-391C1D420A7B}" dt="2023-02-14T16:46:35.538" v="2080"/>
        <pc:sldMkLst>
          <pc:docMk/>
          <pc:sldMk cId="1832773" sldId="2147469209"/>
        </pc:sldMkLst>
      </pc:sldChg>
      <pc:sldChg chg="addSp modSp mod">
        <pc:chgData name="Stéphanie Chatagner" userId="43a90851-419b-46ca-ab03-9ac21f8b019f" providerId="ADAL" clId="{8CFF5F88-1A84-4213-B60F-391C1D420A7B}" dt="2023-02-14T17:25:16.602" v="2400" actId="12789"/>
        <pc:sldMkLst>
          <pc:docMk/>
          <pc:sldMk cId="1578203440" sldId="2147469214"/>
        </pc:sldMkLst>
      </pc:sldChg>
      <pc:sldChg chg="addSp delSp modSp mod modCm">
        <pc:chgData name="Stéphanie Chatagner" userId="43a90851-419b-46ca-ab03-9ac21f8b019f" providerId="ADAL" clId="{8CFF5F88-1A84-4213-B60F-391C1D420A7B}" dt="2023-02-14T16:46:04.313" v="2078" actId="20577"/>
        <pc:sldMkLst>
          <pc:docMk/>
          <pc:sldMk cId="1859233551" sldId="2147469215"/>
        </pc:sldMkLst>
      </pc:sldChg>
      <pc:sldChg chg="modCm">
        <pc:chgData name="Stéphanie Chatagner" userId="43a90851-419b-46ca-ab03-9ac21f8b019f" providerId="ADAL" clId="{8CFF5F88-1A84-4213-B60F-391C1D420A7B}" dt="2023-02-14T15:55:05.495" v="1678"/>
        <pc:sldMkLst>
          <pc:docMk/>
          <pc:sldMk cId="1451093172" sldId="2147469218"/>
        </pc:sldMkLst>
      </pc:sldChg>
      <pc:sldChg chg="addSp delSp modSp del mod modCm">
        <pc:chgData name="Stéphanie Chatagner" userId="43a90851-419b-46ca-ab03-9ac21f8b019f" providerId="ADAL" clId="{8CFF5F88-1A84-4213-B60F-391C1D420A7B}" dt="2023-02-14T15:42:43.233" v="1480" actId="2696"/>
        <pc:sldMkLst>
          <pc:docMk/>
          <pc:sldMk cId="454162624" sldId="2147469219"/>
        </pc:sldMkLst>
      </pc:sldChg>
      <pc:sldChg chg="addSp delSp modSp mod addCm modCm">
        <pc:chgData name="Stéphanie Chatagner" userId="43a90851-419b-46ca-ab03-9ac21f8b019f" providerId="ADAL" clId="{8CFF5F88-1A84-4213-B60F-391C1D420A7B}" dt="2023-02-14T17:13:10.333" v="2348" actId="478"/>
        <pc:sldMkLst>
          <pc:docMk/>
          <pc:sldMk cId="1723624365" sldId="2147469222"/>
        </pc:sldMkLst>
      </pc:sldChg>
      <pc:sldChg chg="addSp delSp modSp mod modCm">
        <pc:chgData name="Stéphanie Chatagner" userId="43a90851-419b-46ca-ab03-9ac21f8b019f" providerId="ADAL" clId="{8CFF5F88-1A84-4213-B60F-391C1D420A7B}" dt="2023-02-14T16:28:15.411" v="1942" actId="113"/>
        <pc:sldMkLst>
          <pc:docMk/>
          <pc:sldMk cId="1949532902" sldId="2147469223"/>
        </pc:sldMkLst>
      </pc:sldChg>
      <pc:sldChg chg="delSp modSp del mod">
        <pc:chgData name="Stéphanie Chatagner" userId="43a90851-419b-46ca-ab03-9ac21f8b019f" providerId="ADAL" clId="{8CFF5F88-1A84-4213-B60F-391C1D420A7B}" dt="2023-02-14T15:31:28.742" v="1444" actId="2696"/>
        <pc:sldMkLst>
          <pc:docMk/>
          <pc:sldMk cId="1007324685" sldId="2147469225"/>
        </pc:sldMkLst>
      </pc:sldChg>
      <pc:sldChg chg="addSp delSp modSp mod modCm">
        <pc:chgData name="Stéphanie Chatagner" userId="43a90851-419b-46ca-ab03-9ac21f8b019f" providerId="ADAL" clId="{8CFF5F88-1A84-4213-B60F-391C1D420A7B}" dt="2023-02-14T17:06:03.884" v="2266" actId="1076"/>
        <pc:sldMkLst>
          <pc:docMk/>
          <pc:sldMk cId="3536625796" sldId="2147469228"/>
        </pc:sldMkLst>
      </pc:sldChg>
      <pc:sldChg chg="ord">
        <pc:chgData name="Stéphanie Chatagner" userId="43a90851-419b-46ca-ab03-9ac21f8b019f" providerId="ADAL" clId="{8CFF5F88-1A84-4213-B60F-391C1D420A7B}" dt="2023-02-14T16:46:39.662" v="2082"/>
        <pc:sldMkLst>
          <pc:docMk/>
          <pc:sldMk cId="92527006" sldId="2147469229"/>
        </pc:sldMkLst>
      </pc:sldChg>
      <pc:sldChg chg="addSp delSp modSp mod">
        <pc:chgData name="Stéphanie Chatagner" userId="43a90851-419b-46ca-ab03-9ac21f8b019f" providerId="ADAL" clId="{8CFF5F88-1A84-4213-B60F-391C1D420A7B}" dt="2023-02-14T17:17:01.870" v="2397" actId="5793"/>
        <pc:sldMkLst>
          <pc:docMk/>
          <pc:sldMk cId="3934546814" sldId="2147469230"/>
        </pc:sldMkLst>
      </pc:sldChg>
      <pc:sldChg chg="modCm">
        <pc:chgData name="Stéphanie Chatagner" userId="43a90851-419b-46ca-ab03-9ac21f8b019f" providerId="ADAL" clId="{8CFF5F88-1A84-4213-B60F-391C1D420A7B}" dt="2023-02-14T11:01:39.876" v="1422"/>
        <pc:sldMkLst>
          <pc:docMk/>
          <pc:sldMk cId="1863786756" sldId="2147469240"/>
        </pc:sldMkLst>
      </pc:sldChg>
      <pc:sldChg chg="addSp delSp modSp mod ord">
        <pc:chgData name="Stéphanie Chatagner" userId="43a90851-419b-46ca-ab03-9ac21f8b019f" providerId="ADAL" clId="{8CFF5F88-1A84-4213-B60F-391C1D420A7B}" dt="2023-02-14T16:43:33.574" v="2066" actId="207"/>
        <pc:sldMkLst>
          <pc:docMk/>
          <pc:sldMk cId="2528676621" sldId="2147469252"/>
        </pc:sldMkLst>
      </pc:sldChg>
      <pc:sldChg chg="delSp modSp mod modCm">
        <pc:chgData name="Stéphanie Chatagner" userId="43a90851-419b-46ca-ab03-9ac21f8b019f" providerId="ADAL" clId="{8CFF5F88-1A84-4213-B60F-391C1D420A7B}" dt="2023-02-14T10:14:47.848" v="1322" actId="478"/>
        <pc:sldMkLst>
          <pc:docMk/>
          <pc:sldMk cId="2705986338" sldId="2147469253"/>
        </pc:sldMkLst>
      </pc:sldChg>
      <pc:sldChg chg="addSp delSp modSp mod">
        <pc:chgData name="Stéphanie Chatagner" userId="43a90851-419b-46ca-ab03-9ac21f8b019f" providerId="ADAL" clId="{8CFF5F88-1A84-4213-B60F-391C1D420A7B}" dt="2023-02-14T17:07:32.655" v="2283" actId="1076"/>
        <pc:sldMkLst>
          <pc:docMk/>
          <pc:sldMk cId="1030784313" sldId="2147469255"/>
        </pc:sldMkLst>
      </pc:sldChg>
      <pc:sldChg chg="modCm">
        <pc:chgData name="Stéphanie Chatagner" userId="43a90851-419b-46ca-ab03-9ac21f8b019f" providerId="ADAL" clId="{8CFF5F88-1A84-4213-B60F-391C1D420A7B}" dt="2023-02-14T10:24:23.125" v="1420"/>
        <pc:sldMkLst>
          <pc:docMk/>
          <pc:sldMk cId="2105868698" sldId="2147469259"/>
        </pc:sldMkLst>
      </pc:sldChg>
      <pc:sldChg chg="addSp delSp modSp mod modCm">
        <pc:chgData name="Stéphanie Chatagner" userId="43a90851-419b-46ca-ab03-9ac21f8b019f" providerId="ADAL" clId="{8CFF5F88-1A84-4213-B60F-391C1D420A7B}" dt="2023-02-14T17:06:59.448" v="2280" actId="1076"/>
        <pc:sldMkLst>
          <pc:docMk/>
          <pc:sldMk cId="1632319133" sldId="2147469264"/>
        </pc:sldMkLst>
      </pc:sldChg>
      <pc:sldChg chg="addSp modSp mod addCm modCm">
        <pc:chgData name="Stéphanie Chatagner" userId="43a90851-419b-46ca-ab03-9ac21f8b019f" providerId="ADAL" clId="{8CFF5F88-1A84-4213-B60F-391C1D420A7B}" dt="2023-02-14T10:05:03.160" v="1056"/>
        <pc:sldMkLst>
          <pc:docMk/>
          <pc:sldMk cId="1876804831" sldId="2147469265"/>
        </pc:sldMkLst>
      </pc:sldChg>
      <pc:sldChg chg="modSp mod modCm">
        <pc:chgData name="Stéphanie Chatagner" userId="43a90851-419b-46ca-ab03-9ac21f8b019f" providerId="ADAL" clId="{8CFF5F88-1A84-4213-B60F-391C1D420A7B}" dt="2023-02-14T11:04:06.698" v="1423"/>
        <pc:sldMkLst>
          <pc:docMk/>
          <pc:sldMk cId="483041667" sldId="2147469276"/>
        </pc:sldMkLst>
      </pc:sldChg>
      <pc:sldChg chg="ord">
        <pc:chgData name="Stéphanie Chatagner" userId="43a90851-419b-46ca-ab03-9ac21f8b019f" providerId="ADAL" clId="{8CFF5F88-1A84-4213-B60F-391C1D420A7B}" dt="2023-02-14T09:21:15.824" v="577"/>
        <pc:sldMkLst>
          <pc:docMk/>
          <pc:sldMk cId="474180429" sldId="2147469278"/>
        </pc:sldMkLst>
      </pc:sldChg>
      <pc:sldChg chg="add del">
        <pc:chgData name="Stéphanie Chatagner" userId="43a90851-419b-46ca-ab03-9ac21f8b019f" providerId="ADAL" clId="{8CFF5F88-1A84-4213-B60F-391C1D420A7B}" dt="2023-02-14T15:34:54.397" v="1453"/>
        <pc:sldMkLst>
          <pc:docMk/>
          <pc:sldMk cId="4075390676" sldId="2147469280"/>
        </pc:sldMkLst>
      </pc:sldChg>
      <pc:sldMasterChg chg="addSldLayout delSldLayout">
        <pc:chgData name="Stéphanie Chatagner" userId="43a90851-419b-46ca-ab03-9ac21f8b019f" providerId="ADAL" clId="{8CFF5F88-1A84-4213-B60F-391C1D420A7B}" dt="2023-02-14T10:07:26.959" v="1175" actId="2696"/>
        <pc:sldMasterMkLst>
          <pc:docMk/>
          <pc:sldMasterMk cId="4264061012" sldId="2147483809"/>
        </pc:sldMasterMkLst>
        <pc:sldLayoutChg chg="add del">
          <pc:chgData name="Stéphanie Chatagner" userId="43a90851-419b-46ca-ab03-9ac21f8b019f" providerId="ADAL" clId="{8CFF5F88-1A84-4213-B60F-391C1D420A7B}" dt="2023-02-14T10:07:26.959" v="1175" actId="2696"/>
          <pc:sldLayoutMkLst>
            <pc:docMk/>
            <pc:sldMasterMk cId="4264061012" sldId="2147483809"/>
            <pc:sldLayoutMk cId="3844738364" sldId="2147483664"/>
          </pc:sldLayoutMkLst>
        </pc:sldLayoutChg>
        <pc:sldLayoutChg chg="add del">
          <pc:chgData name="Stéphanie Chatagner" userId="43a90851-419b-46ca-ab03-9ac21f8b019f" providerId="ADAL" clId="{8CFF5F88-1A84-4213-B60F-391C1D420A7B}" dt="2023-02-14T10:07:26.950" v="1174" actId="2696"/>
          <pc:sldLayoutMkLst>
            <pc:docMk/>
            <pc:sldMasterMk cId="4264061012" sldId="2147483809"/>
            <pc:sldLayoutMk cId="4256744826" sldId="2147483665"/>
          </pc:sldLayoutMkLst>
        </pc:sldLayoutChg>
        <pc:sldLayoutChg chg="add del">
          <pc:chgData name="Stéphanie Chatagner" userId="43a90851-419b-46ca-ab03-9ac21f8b019f" providerId="ADAL" clId="{8CFF5F88-1A84-4213-B60F-391C1D420A7B}" dt="2023-02-14T10:07:26.944" v="1173" actId="2696"/>
          <pc:sldLayoutMkLst>
            <pc:docMk/>
            <pc:sldMasterMk cId="4264061012" sldId="2147483809"/>
            <pc:sldLayoutMk cId="2016514581" sldId="2147483666"/>
          </pc:sldLayoutMkLst>
        </pc:sldLayoutChg>
        <pc:sldLayoutChg chg="add del">
          <pc:chgData name="Stéphanie Chatagner" userId="43a90851-419b-46ca-ab03-9ac21f8b019f" providerId="ADAL" clId="{8CFF5F88-1A84-4213-B60F-391C1D420A7B}" dt="2023-02-14T10:07:26.927" v="1171" actId="2696"/>
          <pc:sldLayoutMkLst>
            <pc:docMk/>
            <pc:sldMasterMk cId="4264061012" sldId="2147483809"/>
            <pc:sldLayoutMk cId="1434382447" sldId="2147483668"/>
          </pc:sldLayoutMkLst>
        </pc:sldLayoutChg>
        <pc:sldLayoutChg chg="add del">
          <pc:chgData name="Stéphanie Chatagner" userId="43a90851-419b-46ca-ab03-9ac21f8b019f" providerId="ADAL" clId="{8CFF5F88-1A84-4213-B60F-391C1D420A7B}" dt="2023-02-14T10:07:26.917" v="1170" actId="2696"/>
          <pc:sldLayoutMkLst>
            <pc:docMk/>
            <pc:sldMasterMk cId="4264061012" sldId="2147483809"/>
            <pc:sldLayoutMk cId="1546761335" sldId="2147483669"/>
          </pc:sldLayoutMkLst>
        </pc:sldLayoutChg>
        <pc:sldLayoutChg chg="add del">
          <pc:chgData name="Stéphanie Chatagner" userId="43a90851-419b-46ca-ab03-9ac21f8b019f" providerId="ADAL" clId="{8CFF5F88-1A84-4213-B60F-391C1D420A7B}" dt="2023-02-14T10:07:26.910" v="1169" actId="2696"/>
          <pc:sldLayoutMkLst>
            <pc:docMk/>
            <pc:sldMasterMk cId="4264061012" sldId="2147483809"/>
            <pc:sldLayoutMk cId="3724930385" sldId="2147483670"/>
          </pc:sldLayoutMkLst>
        </pc:sldLayoutChg>
        <pc:sldLayoutChg chg="add del">
          <pc:chgData name="Stéphanie Chatagner" userId="43a90851-419b-46ca-ab03-9ac21f8b019f" providerId="ADAL" clId="{8CFF5F88-1A84-4213-B60F-391C1D420A7B}" dt="2023-02-14T10:07:26.904" v="1168" actId="2696"/>
          <pc:sldLayoutMkLst>
            <pc:docMk/>
            <pc:sldMasterMk cId="4264061012" sldId="2147483809"/>
            <pc:sldLayoutMk cId="3262877941" sldId="2147483671"/>
          </pc:sldLayoutMkLst>
        </pc:sldLayoutChg>
        <pc:sldLayoutChg chg="add del">
          <pc:chgData name="Stéphanie Chatagner" userId="43a90851-419b-46ca-ab03-9ac21f8b019f" providerId="ADAL" clId="{8CFF5F88-1A84-4213-B60F-391C1D420A7B}" dt="2023-02-14T10:07:26.934" v="1172" actId="2696"/>
          <pc:sldLayoutMkLst>
            <pc:docMk/>
            <pc:sldMasterMk cId="4264061012" sldId="2147483809"/>
            <pc:sldLayoutMk cId="2227851345" sldId="2147483676"/>
          </pc:sldLayoutMkLst>
        </pc:sldLayoutChg>
      </pc:sldMasterChg>
      <pc:sldMasterChg chg="addSldLayout delSldLayout">
        <pc:chgData name="Stéphanie Chatagner" userId="43a90851-419b-46ca-ab03-9ac21f8b019f" providerId="ADAL" clId="{8CFF5F88-1A84-4213-B60F-391C1D420A7B}" dt="2023-02-14T10:07:27.106" v="1188" actId="2696"/>
        <pc:sldMasterMkLst>
          <pc:docMk/>
          <pc:sldMasterMk cId="2500260974" sldId="2147483812"/>
        </pc:sldMasterMkLst>
        <pc:sldLayoutChg chg="add del">
          <pc:chgData name="Stéphanie Chatagner" userId="43a90851-419b-46ca-ab03-9ac21f8b019f" providerId="ADAL" clId="{8CFF5F88-1A84-4213-B60F-391C1D420A7B}" dt="2023-02-14T10:07:27.106" v="1188" actId="2696"/>
          <pc:sldLayoutMkLst>
            <pc:docMk/>
            <pc:sldMasterMk cId="2500260974" sldId="2147483812"/>
            <pc:sldLayoutMk cId="2838801557" sldId="2147483679"/>
          </pc:sldLayoutMkLst>
        </pc:sldLayoutChg>
        <pc:sldLayoutChg chg="add del">
          <pc:chgData name="Stéphanie Chatagner" userId="43a90851-419b-46ca-ab03-9ac21f8b019f" providerId="ADAL" clId="{8CFF5F88-1A84-4213-B60F-391C1D420A7B}" dt="2023-02-14T10:07:27.073" v="1187" actId="2696"/>
          <pc:sldLayoutMkLst>
            <pc:docMk/>
            <pc:sldMasterMk cId="2500260974" sldId="2147483812"/>
            <pc:sldLayoutMk cId="2853909907" sldId="2147483680"/>
          </pc:sldLayoutMkLst>
        </pc:sldLayoutChg>
        <pc:sldLayoutChg chg="add del">
          <pc:chgData name="Stéphanie Chatagner" userId="43a90851-419b-46ca-ab03-9ac21f8b019f" providerId="ADAL" clId="{8CFF5F88-1A84-4213-B60F-391C1D420A7B}" dt="2023-02-14T10:07:27.040" v="1186" actId="2696"/>
          <pc:sldLayoutMkLst>
            <pc:docMk/>
            <pc:sldMasterMk cId="2500260974" sldId="2147483812"/>
            <pc:sldLayoutMk cId="570689375" sldId="2147483681"/>
          </pc:sldLayoutMkLst>
        </pc:sldLayoutChg>
        <pc:sldLayoutChg chg="add del">
          <pc:chgData name="Stéphanie Chatagner" userId="43a90851-419b-46ca-ab03-9ac21f8b019f" providerId="ADAL" clId="{8CFF5F88-1A84-4213-B60F-391C1D420A7B}" dt="2023-02-14T10:07:27.033" v="1185" actId="2696"/>
          <pc:sldLayoutMkLst>
            <pc:docMk/>
            <pc:sldMasterMk cId="2500260974" sldId="2147483812"/>
            <pc:sldLayoutMk cId="1045577370" sldId="2147483682"/>
          </pc:sldLayoutMkLst>
        </pc:sldLayoutChg>
        <pc:sldLayoutChg chg="add del">
          <pc:chgData name="Stéphanie Chatagner" userId="43a90851-419b-46ca-ab03-9ac21f8b019f" providerId="ADAL" clId="{8CFF5F88-1A84-4213-B60F-391C1D420A7B}" dt="2023-02-14T10:07:27.025" v="1184" actId="2696"/>
          <pc:sldLayoutMkLst>
            <pc:docMk/>
            <pc:sldMasterMk cId="2500260974" sldId="2147483812"/>
            <pc:sldLayoutMk cId="2457528097" sldId="2147483683"/>
          </pc:sldLayoutMkLst>
        </pc:sldLayoutChg>
        <pc:sldLayoutChg chg="add del">
          <pc:chgData name="Stéphanie Chatagner" userId="43a90851-419b-46ca-ab03-9ac21f8b019f" providerId="ADAL" clId="{8CFF5F88-1A84-4213-B60F-391C1D420A7B}" dt="2023-02-14T10:07:27.017" v="1183" actId="2696"/>
          <pc:sldLayoutMkLst>
            <pc:docMk/>
            <pc:sldMasterMk cId="2500260974" sldId="2147483812"/>
            <pc:sldLayoutMk cId="1631572574" sldId="2147483684"/>
          </pc:sldLayoutMkLst>
        </pc:sldLayoutChg>
        <pc:sldLayoutChg chg="add del">
          <pc:chgData name="Stéphanie Chatagner" userId="43a90851-419b-46ca-ab03-9ac21f8b019f" providerId="ADAL" clId="{8CFF5F88-1A84-4213-B60F-391C1D420A7B}" dt="2023-02-14T10:07:27.010" v="1182" actId="2696"/>
          <pc:sldLayoutMkLst>
            <pc:docMk/>
            <pc:sldMasterMk cId="2500260974" sldId="2147483812"/>
            <pc:sldLayoutMk cId="1046292502" sldId="2147483685"/>
          </pc:sldLayoutMkLst>
        </pc:sldLayoutChg>
        <pc:sldLayoutChg chg="add del">
          <pc:chgData name="Stéphanie Chatagner" userId="43a90851-419b-46ca-ab03-9ac21f8b019f" providerId="ADAL" clId="{8CFF5F88-1A84-4213-B60F-391C1D420A7B}" dt="2023-02-14T10:07:27.004" v="1181" actId="2696"/>
          <pc:sldLayoutMkLst>
            <pc:docMk/>
            <pc:sldMasterMk cId="2500260974" sldId="2147483812"/>
            <pc:sldLayoutMk cId="303866300" sldId="2147483686"/>
          </pc:sldLayoutMkLst>
        </pc:sldLayoutChg>
        <pc:sldLayoutChg chg="add del">
          <pc:chgData name="Stéphanie Chatagner" userId="43a90851-419b-46ca-ab03-9ac21f8b019f" providerId="ADAL" clId="{8CFF5F88-1A84-4213-B60F-391C1D420A7B}" dt="2023-02-14T10:07:26.998" v="1180" actId="2696"/>
          <pc:sldLayoutMkLst>
            <pc:docMk/>
            <pc:sldMasterMk cId="2500260974" sldId="2147483812"/>
            <pc:sldLayoutMk cId="2631749688" sldId="2147483687"/>
          </pc:sldLayoutMkLst>
        </pc:sldLayoutChg>
        <pc:sldLayoutChg chg="add del">
          <pc:chgData name="Stéphanie Chatagner" userId="43a90851-419b-46ca-ab03-9ac21f8b019f" providerId="ADAL" clId="{8CFF5F88-1A84-4213-B60F-391C1D420A7B}" dt="2023-02-14T10:07:26.992" v="1179" actId="2696"/>
          <pc:sldLayoutMkLst>
            <pc:docMk/>
            <pc:sldMasterMk cId="2500260974" sldId="2147483812"/>
            <pc:sldLayoutMk cId="2254234947" sldId="2147483688"/>
          </pc:sldLayoutMkLst>
        </pc:sldLayoutChg>
        <pc:sldLayoutChg chg="add del">
          <pc:chgData name="Stéphanie Chatagner" userId="43a90851-419b-46ca-ab03-9ac21f8b019f" providerId="ADAL" clId="{8CFF5F88-1A84-4213-B60F-391C1D420A7B}" dt="2023-02-14T10:07:26.982" v="1178" actId="2696"/>
          <pc:sldLayoutMkLst>
            <pc:docMk/>
            <pc:sldMasterMk cId="2500260974" sldId="2147483812"/>
            <pc:sldLayoutMk cId="82752719" sldId="2147483689"/>
          </pc:sldLayoutMkLst>
        </pc:sldLayoutChg>
        <pc:sldLayoutChg chg="add del">
          <pc:chgData name="Stéphanie Chatagner" userId="43a90851-419b-46ca-ab03-9ac21f8b019f" providerId="ADAL" clId="{8CFF5F88-1A84-4213-B60F-391C1D420A7B}" dt="2023-02-14T10:07:26.975" v="1177" actId="2696"/>
          <pc:sldLayoutMkLst>
            <pc:docMk/>
            <pc:sldMasterMk cId="2500260974" sldId="2147483812"/>
            <pc:sldLayoutMk cId="3548101411" sldId="2147483690"/>
          </pc:sldLayoutMkLst>
        </pc:sldLayoutChg>
        <pc:sldLayoutChg chg="add del">
          <pc:chgData name="Stéphanie Chatagner" userId="43a90851-419b-46ca-ab03-9ac21f8b019f" providerId="ADAL" clId="{8CFF5F88-1A84-4213-B60F-391C1D420A7B}" dt="2023-02-14T10:07:26.967" v="1176" actId="2696"/>
          <pc:sldLayoutMkLst>
            <pc:docMk/>
            <pc:sldMasterMk cId="2500260974" sldId="2147483812"/>
            <pc:sldLayoutMk cId="626278437" sldId="2147483691"/>
          </pc:sldLayoutMkLst>
        </pc:sldLayoutChg>
      </pc:sldMasterChg>
    </pc:docChg>
  </pc:docChgLst>
  <pc:docChgLst>
    <pc:chgData name="PERSOZ Christophe" userId="3d528581-6bb6-4b37-8a8c-d9671d7b7875" providerId="ADAL" clId="{27FE6A4E-96B4-4001-8974-285855A31CFC}"/>
    <pc:docChg chg="custSel addSld modSld sldOrd">
      <pc:chgData name="PERSOZ Christophe" userId="3d528581-6bb6-4b37-8a8c-d9671d7b7875" providerId="ADAL" clId="{27FE6A4E-96B4-4001-8974-285855A31CFC}" dt="2023-01-09T16:39:47.475" v="52" actId="20577"/>
      <pc:docMkLst>
        <pc:docMk/>
      </pc:docMkLst>
      <pc:sldChg chg="modSp add mod ord">
        <pc:chgData name="PERSOZ Christophe" userId="3d528581-6bb6-4b37-8a8c-d9671d7b7875" providerId="ADAL" clId="{27FE6A4E-96B4-4001-8974-285855A31CFC}" dt="2023-01-09T16:39:15.445" v="25" actId="5793"/>
        <pc:sldMkLst>
          <pc:docMk/>
          <pc:sldMk cId="2631057792" sldId="2076137815"/>
        </pc:sldMkLst>
      </pc:sldChg>
      <pc:sldChg chg="modSp mod">
        <pc:chgData name="PERSOZ Christophe" userId="3d528581-6bb6-4b37-8a8c-d9671d7b7875" providerId="ADAL" clId="{27FE6A4E-96B4-4001-8974-285855A31CFC}" dt="2023-01-09T16:39:47.475" v="52" actId="20577"/>
        <pc:sldMkLst>
          <pc:docMk/>
          <pc:sldMk cId="1716985175" sldId="2147326867"/>
        </pc:sldMkLst>
      </pc:sldChg>
      <pc:sldChg chg="modSp mod">
        <pc:chgData name="PERSOZ Christophe" userId="3d528581-6bb6-4b37-8a8c-d9671d7b7875" providerId="ADAL" clId="{27FE6A4E-96B4-4001-8974-285855A31CFC}" dt="2023-01-09T16:35:59.719" v="16" actId="20577"/>
        <pc:sldMkLst>
          <pc:docMk/>
          <pc:sldMk cId="704760206" sldId="2147469275"/>
        </pc:sldMkLst>
      </pc:sldChg>
    </pc:docChg>
  </pc:docChgLst>
  <pc:docChgLst>
    <pc:chgData name="Stéphanie Chatagner" userId="S::stephanie.chatagner_avanade.com#ext#@vincic.onmicrosoft.com::413dce0f-1b71-4edd-8872-aae39c2f786a" providerId="AD" clId="Web-{513AC1BE-D6BD-385F-EB1C-60B18DD9D60D}"/>
    <pc:docChg chg="modSld">
      <pc:chgData name="Stéphanie Chatagner" userId="S::stephanie.chatagner_avanade.com#ext#@vincic.onmicrosoft.com::413dce0f-1b71-4edd-8872-aae39c2f786a" providerId="AD" clId="Web-{513AC1BE-D6BD-385F-EB1C-60B18DD9D60D}" dt="2023-01-30T13:38:26.136" v="2" actId="1076"/>
      <pc:docMkLst>
        <pc:docMk/>
      </pc:docMkLst>
      <pc:sldChg chg="modSp">
        <pc:chgData name="Stéphanie Chatagner" userId="S::stephanie.chatagner_avanade.com#ext#@vincic.onmicrosoft.com::413dce0f-1b71-4edd-8872-aae39c2f786a" providerId="AD" clId="Web-{513AC1BE-D6BD-385F-EB1C-60B18DD9D60D}" dt="2023-01-30T13:38:26.136" v="2" actId="1076"/>
        <pc:sldMkLst>
          <pc:docMk/>
          <pc:sldMk cId="1007324685" sldId="2147469225"/>
        </pc:sldMkLst>
      </pc:sldChg>
    </pc:docChg>
  </pc:docChgLst>
  <pc:docChgLst>
    <pc:chgData name="COIGNET Alexis" userId="76ea5e1a-bc88-4802-bf9d-ac1355beb253" providerId="ADAL" clId="{63B3F011-876F-42CE-BCFE-1088853FF488}"/>
    <pc:docChg chg="undo custSel addSld delSld modSld modSection">
      <pc:chgData name="COIGNET Alexis" userId="76ea5e1a-bc88-4802-bf9d-ac1355beb253" providerId="ADAL" clId="{63B3F011-876F-42CE-BCFE-1088853FF488}" dt="2023-02-14T16:04:50.757" v="11" actId="1036"/>
      <pc:docMkLst>
        <pc:docMk/>
      </pc:docMkLst>
      <pc:sldChg chg="modSp mod">
        <pc:chgData name="COIGNET Alexis" userId="76ea5e1a-bc88-4802-bf9d-ac1355beb253" providerId="ADAL" clId="{63B3F011-876F-42CE-BCFE-1088853FF488}" dt="2023-02-14T16:04:50.757" v="11" actId="1036"/>
        <pc:sldMkLst>
          <pc:docMk/>
          <pc:sldMk cId="1949532902" sldId="2147469223"/>
        </pc:sldMkLst>
      </pc:sldChg>
      <pc:sldChg chg="new del">
        <pc:chgData name="COIGNET Alexis" userId="76ea5e1a-bc88-4802-bf9d-ac1355beb253" providerId="ADAL" clId="{63B3F011-876F-42CE-BCFE-1088853FF488}" dt="2023-02-14T15:47:09.765" v="1" actId="680"/>
        <pc:sldMkLst>
          <pc:docMk/>
          <pc:sldMk cId="3583230475" sldId="2147469280"/>
        </pc:sldMkLst>
      </pc:sldChg>
    </pc:docChg>
  </pc:docChgLst>
  <pc:docChgLst>
    <pc:chgData name="VANEENOGE Camille" userId="S::camille.vaneenoge@vinci-construction.com::6e7f4196-225c-4d88-a65f-4b95462c5fbf" providerId="AD" clId="Web-{A43080FF-9044-240A-086B-55B810F90D81}"/>
    <pc:docChg chg="modSld">
      <pc:chgData name="VANEENOGE Camille" userId="S::camille.vaneenoge@vinci-construction.com::6e7f4196-225c-4d88-a65f-4b95462c5fbf" providerId="AD" clId="Web-{A43080FF-9044-240A-086B-55B810F90D81}" dt="2023-01-09T16:47:19.594" v="59" actId="20577"/>
      <pc:docMkLst>
        <pc:docMk/>
      </pc:docMkLst>
      <pc:sldChg chg="modSp">
        <pc:chgData name="VANEENOGE Camille" userId="S::camille.vaneenoge@vinci-construction.com::6e7f4196-225c-4d88-a65f-4b95462c5fbf" providerId="AD" clId="Web-{A43080FF-9044-240A-086B-55B810F90D81}" dt="2023-01-09T16:39:31.466" v="43" actId="20577"/>
        <pc:sldMkLst>
          <pc:docMk/>
          <pc:sldMk cId="1716985175" sldId="2147326867"/>
        </pc:sldMkLst>
      </pc:sldChg>
      <pc:sldChg chg="modSp">
        <pc:chgData name="VANEENOGE Camille" userId="S::camille.vaneenoge@vinci-construction.com::6e7f4196-225c-4d88-a65f-4b95462c5fbf" providerId="AD" clId="Web-{A43080FF-9044-240A-086B-55B810F90D81}" dt="2023-01-09T16:47:19.594" v="59" actId="20577"/>
        <pc:sldMkLst>
          <pc:docMk/>
          <pc:sldMk cId="27772628" sldId="2147469270"/>
        </pc:sldMkLst>
      </pc:sldChg>
      <pc:sldChg chg="delSp modSp">
        <pc:chgData name="VANEENOGE Camille" userId="S::camille.vaneenoge@vinci-construction.com::6e7f4196-225c-4d88-a65f-4b95462c5fbf" providerId="AD" clId="Web-{A43080FF-9044-240A-086B-55B810F90D81}" dt="2023-01-09T16:36:58.851" v="39"/>
        <pc:sldMkLst>
          <pc:docMk/>
          <pc:sldMk cId="200622586" sldId="2147469273"/>
        </pc:sldMkLst>
      </pc:sldChg>
      <pc:sldChg chg="delSp">
        <pc:chgData name="VANEENOGE Camille" userId="S::camille.vaneenoge@vinci-construction.com::6e7f4196-225c-4d88-a65f-4b95462c5fbf" providerId="AD" clId="Web-{A43080FF-9044-240A-086B-55B810F90D81}" dt="2023-01-09T16:37:23.727" v="40"/>
        <pc:sldMkLst>
          <pc:docMk/>
          <pc:sldMk cId="704760206" sldId="2147469275"/>
        </pc:sldMkLst>
      </pc:sldChg>
    </pc:docChg>
  </pc:docChgLst>
  <pc:docChgLst>
    <pc:chgData name="Stéphanie Chatagner" userId="S::stephanie.chatagner_avanade.com#ext#@vincic.onmicrosoft.com::413dce0f-1b71-4edd-8872-aae39c2f786a" providerId="AD" clId="Web-{CA7744DC-2D71-74C7-35CE-88100127C75E}"/>
    <pc:docChg chg="mod modSld">
      <pc:chgData name="Stéphanie Chatagner" userId="S::stephanie.chatagner_avanade.com#ext#@vincic.onmicrosoft.com::413dce0f-1b71-4edd-8872-aae39c2f786a" providerId="AD" clId="Web-{CA7744DC-2D71-74C7-35CE-88100127C75E}" dt="2023-02-03T09:15:47.606" v="2" actId="14100"/>
      <pc:docMkLst>
        <pc:docMk/>
      </pc:docMkLst>
      <pc:sldChg chg="modSp modCm">
        <pc:chgData name="Stéphanie Chatagner" userId="S::stephanie.chatagner_avanade.com#ext#@vincic.onmicrosoft.com::413dce0f-1b71-4edd-8872-aae39c2f786a" providerId="AD" clId="Web-{CA7744DC-2D71-74C7-35CE-88100127C75E}" dt="2023-02-03T09:15:47.606" v="2" actId="14100"/>
        <pc:sldMkLst>
          <pc:docMk/>
          <pc:sldMk cId="483041667" sldId="2147469276"/>
        </pc:sldMkLst>
      </pc:sldChg>
    </pc:docChg>
  </pc:docChgLst>
  <pc:docChgLst>
    <pc:chgData name="VANEENOGE Camille" userId="6e7f4196-225c-4d88-a65f-4b95462c5fbf" providerId="ADAL" clId="{6DC0B673-1D00-40F6-8206-3D924DB4A114}"/>
    <pc:docChg chg="custSel addSld delSld modSld modSection">
      <pc:chgData name="VANEENOGE Camille" userId="6e7f4196-225c-4d88-a65f-4b95462c5fbf" providerId="ADAL" clId="{6DC0B673-1D00-40F6-8206-3D924DB4A114}" dt="2025-01-31T18:37:27.499" v="41" actId="13926"/>
      <pc:docMkLst>
        <pc:docMk/>
      </pc:docMkLst>
      <pc:sldChg chg="modSp mod">
        <pc:chgData name="VANEENOGE Camille" userId="6e7f4196-225c-4d88-a65f-4b95462c5fbf" providerId="ADAL" clId="{6DC0B673-1D00-40F6-8206-3D924DB4A114}" dt="2025-01-31T18:29:01.646" v="23" actId="20577"/>
        <pc:sldMkLst>
          <pc:docMk/>
          <pc:sldMk cId="2631057792" sldId="2076137815"/>
        </pc:sldMkLst>
        <pc:spChg chg="mod">
          <ac:chgData name="VANEENOGE Camille" userId="6e7f4196-225c-4d88-a65f-4b95462c5fbf" providerId="ADAL" clId="{6DC0B673-1D00-40F6-8206-3D924DB4A114}" dt="2025-01-31T18:28:51.080" v="16" actId="1076"/>
          <ac:spMkLst>
            <pc:docMk/>
            <pc:sldMk cId="2631057792" sldId="2076137815"/>
            <ac:spMk id="3" creationId="{5CC5C6C6-12C3-7672-1A91-6ABD3D85E0FF}"/>
          </ac:spMkLst>
        </pc:spChg>
        <pc:graphicFrameChg chg="modGraphic">
          <ac:chgData name="VANEENOGE Camille" userId="6e7f4196-225c-4d88-a65f-4b95462c5fbf" providerId="ADAL" clId="{6DC0B673-1D00-40F6-8206-3D924DB4A114}" dt="2025-01-31T18:29:01.646" v="23" actId="20577"/>
          <ac:graphicFrameMkLst>
            <pc:docMk/>
            <pc:sldMk cId="2631057792" sldId="2076137815"/>
            <ac:graphicFrameMk id="4" creationId="{9C0314AD-E1AA-43B1-9739-FE27BCF87E7F}"/>
          </ac:graphicFrameMkLst>
        </pc:graphicFrameChg>
      </pc:sldChg>
      <pc:sldChg chg="del">
        <pc:chgData name="VANEENOGE Camille" userId="6e7f4196-225c-4d88-a65f-4b95462c5fbf" providerId="ADAL" clId="{6DC0B673-1D00-40F6-8206-3D924DB4A114}" dt="2025-01-31T18:29:44.383" v="27" actId="47"/>
        <pc:sldMkLst>
          <pc:docMk/>
          <pc:sldMk cId="1867449557" sldId="2147469131"/>
        </pc:sldMkLst>
      </pc:sldChg>
      <pc:sldChg chg="delSp modSp mod">
        <pc:chgData name="VANEENOGE Camille" userId="6e7f4196-225c-4d88-a65f-4b95462c5fbf" providerId="ADAL" clId="{6DC0B673-1D00-40F6-8206-3D924DB4A114}" dt="2025-01-31T18:28:46.054" v="15" actId="20577"/>
        <pc:sldMkLst>
          <pc:docMk/>
          <pc:sldMk cId="2217602409" sldId="2147469281"/>
        </pc:sldMkLst>
        <pc:spChg chg="mod">
          <ac:chgData name="VANEENOGE Camille" userId="6e7f4196-225c-4d88-a65f-4b95462c5fbf" providerId="ADAL" clId="{6DC0B673-1D00-40F6-8206-3D924DB4A114}" dt="2025-01-31T18:28:46.054" v="15" actId="20577"/>
          <ac:spMkLst>
            <pc:docMk/>
            <pc:sldMk cId="2217602409" sldId="2147469281"/>
            <ac:spMk id="3" creationId="{B3543586-D0CC-83BF-4600-FBC923FA3C57}"/>
          </ac:spMkLst>
        </pc:spChg>
        <pc:spChg chg="del">
          <ac:chgData name="VANEENOGE Camille" userId="6e7f4196-225c-4d88-a65f-4b95462c5fbf" providerId="ADAL" clId="{6DC0B673-1D00-40F6-8206-3D924DB4A114}" dt="2025-01-31T18:28:40.351" v="13" actId="478"/>
          <ac:spMkLst>
            <pc:docMk/>
            <pc:sldMk cId="2217602409" sldId="2147469281"/>
            <ac:spMk id="4" creationId="{2B4262DB-E8F0-2194-D744-4BF647801761}"/>
          </ac:spMkLst>
        </pc:spChg>
      </pc:sldChg>
      <pc:sldChg chg="modSp mod">
        <pc:chgData name="VANEENOGE Camille" userId="6e7f4196-225c-4d88-a65f-4b95462c5fbf" providerId="ADAL" clId="{6DC0B673-1D00-40F6-8206-3D924DB4A114}" dt="2025-01-31T18:29:17.666" v="25" actId="20577"/>
        <pc:sldMkLst>
          <pc:docMk/>
          <pc:sldMk cId="3897447519" sldId="2147469287"/>
        </pc:sldMkLst>
        <pc:spChg chg="mod">
          <ac:chgData name="VANEENOGE Camille" userId="6e7f4196-225c-4d88-a65f-4b95462c5fbf" providerId="ADAL" clId="{6DC0B673-1D00-40F6-8206-3D924DB4A114}" dt="2025-01-31T18:29:17.666" v="25" actId="20577"/>
          <ac:spMkLst>
            <pc:docMk/>
            <pc:sldMk cId="3897447519" sldId="2147469287"/>
            <ac:spMk id="4" creationId="{3AC97A9A-16C2-0F70-E04C-9556C3A84E28}"/>
          </ac:spMkLst>
        </pc:spChg>
      </pc:sldChg>
      <pc:sldChg chg="addSp modSp add">
        <pc:chgData name="VANEENOGE Camille" userId="6e7f4196-225c-4d88-a65f-4b95462c5fbf" providerId="ADAL" clId="{6DC0B673-1D00-40F6-8206-3D924DB4A114}" dt="2025-01-31T18:33:15.154" v="31"/>
        <pc:sldMkLst>
          <pc:docMk/>
          <pc:sldMk cId="1351782955" sldId="2147482005"/>
        </pc:sldMkLst>
        <pc:spChg chg="add mod">
          <ac:chgData name="VANEENOGE Camille" userId="6e7f4196-225c-4d88-a65f-4b95462c5fbf" providerId="ADAL" clId="{6DC0B673-1D00-40F6-8206-3D924DB4A114}" dt="2025-01-31T18:32:48.008" v="28"/>
          <ac:spMkLst>
            <pc:docMk/>
            <pc:sldMk cId="1351782955" sldId="2147482005"/>
            <ac:spMk id="4" creationId="{3AA47935-FC96-88B2-7A8A-1C58A809CD16}"/>
          </ac:spMkLst>
        </pc:spChg>
        <pc:spChg chg="add mod">
          <ac:chgData name="VANEENOGE Camille" userId="6e7f4196-225c-4d88-a65f-4b95462c5fbf" providerId="ADAL" clId="{6DC0B673-1D00-40F6-8206-3D924DB4A114}" dt="2025-01-31T18:33:15.154" v="31"/>
          <ac:spMkLst>
            <pc:docMk/>
            <pc:sldMk cId="1351782955" sldId="2147482005"/>
            <ac:spMk id="5" creationId="{35553DFD-ADBF-91CF-65C8-E446D8F03464}"/>
          </ac:spMkLst>
        </pc:spChg>
      </pc:sldChg>
      <pc:sldChg chg="addSp modSp">
        <pc:chgData name="VANEENOGE Camille" userId="6e7f4196-225c-4d88-a65f-4b95462c5fbf" providerId="ADAL" clId="{6DC0B673-1D00-40F6-8206-3D924DB4A114}" dt="2025-01-31T18:33:13.699" v="30"/>
        <pc:sldMkLst>
          <pc:docMk/>
          <pc:sldMk cId="187400645" sldId="2147482024"/>
        </pc:sldMkLst>
        <pc:spChg chg="add mod">
          <ac:chgData name="VANEENOGE Camille" userId="6e7f4196-225c-4d88-a65f-4b95462c5fbf" providerId="ADAL" clId="{6DC0B673-1D00-40F6-8206-3D924DB4A114}" dt="2025-01-31T18:33:05.134" v="29"/>
          <ac:spMkLst>
            <pc:docMk/>
            <pc:sldMk cId="187400645" sldId="2147482024"/>
            <ac:spMk id="10" creationId="{C6403DA7-FB39-E92F-E64B-1118C50716A7}"/>
          </ac:spMkLst>
        </pc:spChg>
        <pc:spChg chg="add mod">
          <ac:chgData name="VANEENOGE Camille" userId="6e7f4196-225c-4d88-a65f-4b95462c5fbf" providerId="ADAL" clId="{6DC0B673-1D00-40F6-8206-3D924DB4A114}" dt="2025-01-31T18:33:13.699" v="30"/>
          <ac:spMkLst>
            <pc:docMk/>
            <pc:sldMk cId="187400645" sldId="2147482024"/>
            <ac:spMk id="11" creationId="{31667AA5-97D0-3B8A-2F5D-FD055CDB05E7}"/>
          </ac:spMkLst>
        </pc:spChg>
      </pc:sldChg>
      <pc:sldChg chg="modSp mod">
        <pc:chgData name="VANEENOGE Camille" userId="6e7f4196-225c-4d88-a65f-4b95462c5fbf" providerId="ADAL" clId="{6DC0B673-1D00-40F6-8206-3D924DB4A114}" dt="2025-01-31T18:37:27.499" v="41" actId="13926"/>
        <pc:sldMkLst>
          <pc:docMk/>
          <pc:sldMk cId="691075873" sldId="2147482027"/>
        </pc:sldMkLst>
        <pc:spChg chg="mod">
          <ac:chgData name="VANEENOGE Camille" userId="6e7f4196-225c-4d88-a65f-4b95462c5fbf" providerId="ADAL" clId="{6DC0B673-1D00-40F6-8206-3D924DB4A114}" dt="2025-01-31T18:37:27.499" v="41" actId="13926"/>
          <ac:spMkLst>
            <pc:docMk/>
            <pc:sldMk cId="691075873" sldId="2147482027"/>
            <ac:spMk id="25" creationId="{136F9F6A-A6A7-EAB1-2739-F7FB9651FFE1}"/>
          </ac:spMkLst>
        </pc:spChg>
      </pc:sldChg>
      <pc:sldMasterChg chg="delSldLayout">
        <pc:chgData name="VANEENOGE Camille" userId="6e7f4196-225c-4d88-a65f-4b95462c5fbf" providerId="ADAL" clId="{6DC0B673-1D00-40F6-8206-3D924DB4A114}" dt="2025-01-31T18:29:44.383" v="27" actId="47"/>
        <pc:sldMasterMkLst>
          <pc:docMk/>
          <pc:sldMasterMk cId="2839617956" sldId="2147483758"/>
        </pc:sldMasterMkLst>
        <pc:sldLayoutChg chg="del">
          <pc:chgData name="VANEENOGE Camille" userId="6e7f4196-225c-4d88-a65f-4b95462c5fbf" providerId="ADAL" clId="{6DC0B673-1D00-40F6-8206-3D924DB4A114}" dt="2025-01-31T18:29:44.383" v="27" actId="47"/>
          <pc:sldLayoutMkLst>
            <pc:docMk/>
            <pc:sldMasterMk cId="2839617956" sldId="2147483758"/>
            <pc:sldLayoutMk cId="3109457047" sldId="2147483777"/>
          </pc:sldLayoutMkLst>
        </pc:sldLayoutChg>
      </pc:sldMasterChg>
    </pc:docChg>
  </pc:docChgLst>
  <pc:docChgLst>
    <pc:chgData name="de Limerville, Charles" userId="7faa99f4-4d95-4223-bfee-fcc787c8a201" providerId="ADAL" clId="{AB251917-83A5-44BA-AF17-0F93C5FB477D}"/>
    <pc:docChg chg="custSel addSld modSld addSection modSection">
      <pc:chgData name="de Limerville, Charles" userId="7faa99f4-4d95-4223-bfee-fcc787c8a201" providerId="ADAL" clId="{AB251917-83A5-44BA-AF17-0F93C5FB477D}" dt="2022-12-01T06:14:57.487" v="127" actId="20577"/>
      <pc:docMkLst>
        <pc:docMk/>
      </pc:docMkLst>
      <pc:sldChg chg="addSp modSp mod">
        <pc:chgData name="de Limerville, Charles" userId="7faa99f4-4d95-4223-bfee-fcc787c8a201" providerId="ADAL" clId="{AB251917-83A5-44BA-AF17-0F93C5FB477D}" dt="2022-12-01T06:01:50.553" v="24" actId="121"/>
        <pc:sldMkLst>
          <pc:docMk/>
          <pc:sldMk cId="1716985175" sldId="2147326867"/>
        </pc:sldMkLst>
      </pc:sldChg>
      <pc:sldChg chg="modSp mod">
        <pc:chgData name="de Limerville, Charles" userId="7faa99f4-4d95-4223-bfee-fcc787c8a201" providerId="ADAL" clId="{AB251917-83A5-44BA-AF17-0F93C5FB477D}" dt="2022-12-01T06:13:36.092" v="36" actId="20577"/>
        <pc:sldMkLst>
          <pc:docMk/>
          <pc:sldMk cId="2917112952" sldId="2147469204"/>
        </pc:sldMkLst>
      </pc:sldChg>
      <pc:sldChg chg="modSp mod">
        <pc:chgData name="de Limerville, Charles" userId="7faa99f4-4d95-4223-bfee-fcc787c8a201" providerId="ADAL" clId="{AB251917-83A5-44BA-AF17-0F93C5FB477D}" dt="2022-12-01T06:13:52.926" v="40" actId="20577"/>
        <pc:sldMkLst>
          <pc:docMk/>
          <pc:sldMk cId="756621096" sldId="2147469205"/>
        </pc:sldMkLst>
      </pc:sldChg>
      <pc:sldChg chg="addSp modSp new mod">
        <pc:chgData name="de Limerville, Charles" userId="7faa99f4-4d95-4223-bfee-fcc787c8a201" providerId="ADAL" clId="{AB251917-83A5-44BA-AF17-0F93C5FB477D}" dt="2022-12-01T06:14:57.487" v="127" actId="20577"/>
        <pc:sldMkLst>
          <pc:docMk/>
          <pc:sldMk cId="2945063928" sldId="2147469208"/>
        </pc:sldMkLst>
      </pc:sldChg>
    </pc:docChg>
  </pc:docChgLst>
  <pc:docChgLst>
    <pc:chgData name="VANEENOGE Camille" userId="6e7f4196-225c-4d88-a65f-4b95462c5fbf" providerId="ADAL" clId="{24C4966B-9B0A-40E0-9A4B-BA5AEF91FF90}"/>
    <pc:docChg chg="undo custSel addSld delSld modSld sldOrd delSection modSection">
      <pc:chgData name="VANEENOGE Camille" userId="6e7f4196-225c-4d88-a65f-4b95462c5fbf" providerId="ADAL" clId="{24C4966B-9B0A-40E0-9A4B-BA5AEF91FF90}" dt="2023-01-27T11:34:46.205" v="839" actId="20577"/>
      <pc:docMkLst>
        <pc:docMk/>
      </pc:docMkLst>
      <pc:sldChg chg="modSp mod">
        <pc:chgData name="VANEENOGE Camille" userId="6e7f4196-225c-4d88-a65f-4b95462c5fbf" providerId="ADAL" clId="{24C4966B-9B0A-40E0-9A4B-BA5AEF91FF90}" dt="2023-01-13T17:11:43.643" v="759" actId="20577"/>
        <pc:sldMkLst>
          <pc:docMk/>
          <pc:sldMk cId="3558143222" sldId="2147469082"/>
        </pc:sldMkLst>
      </pc:sldChg>
      <pc:sldChg chg="modSp addCm">
        <pc:chgData name="VANEENOGE Camille" userId="6e7f4196-225c-4d88-a65f-4b95462c5fbf" providerId="ADAL" clId="{24C4966B-9B0A-40E0-9A4B-BA5AEF91FF90}" dt="2023-01-13T17:11:52.961" v="760" actId="20577"/>
        <pc:sldMkLst>
          <pc:docMk/>
          <pc:sldMk cId="3192763856" sldId="2147469087"/>
        </pc:sldMkLst>
      </pc:sldChg>
      <pc:sldChg chg="modSp mod addCm modCm">
        <pc:chgData name="VANEENOGE Camille" userId="6e7f4196-225c-4d88-a65f-4b95462c5fbf" providerId="ADAL" clId="{24C4966B-9B0A-40E0-9A4B-BA5AEF91FF90}" dt="2022-12-30T09:33:32.457" v="437"/>
        <pc:sldMkLst>
          <pc:docMk/>
          <pc:sldMk cId="2972058130" sldId="2147469095"/>
        </pc:sldMkLst>
      </pc:sldChg>
      <pc:sldChg chg="addCm modCm">
        <pc:chgData name="VANEENOGE Camille" userId="6e7f4196-225c-4d88-a65f-4b95462c5fbf" providerId="ADAL" clId="{24C4966B-9B0A-40E0-9A4B-BA5AEF91FF90}" dt="2022-12-30T09:44:39.103" v="441"/>
        <pc:sldMkLst>
          <pc:docMk/>
          <pc:sldMk cId="3241130360" sldId="2147469112"/>
        </pc:sldMkLst>
      </pc:sldChg>
      <pc:sldChg chg="modSp mod">
        <pc:chgData name="VANEENOGE Camille" userId="6e7f4196-225c-4d88-a65f-4b95462c5fbf" providerId="ADAL" clId="{24C4966B-9B0A-40E0-9A4B-BA5AEF91FF90}" dt="2023-01-13T17:12:52.426" v="766" actId="20577"/>
        <pc:sldMkLst>
          <pc:docMk/>
          <pc:sldMk cId="3119294515" sldId="2147469115"/>
        </pc:sldMkLst>
      </pc:sldChg>
      <pc:sldChg chg="add mod ord modShow addCm">
        <pc:chgData name="VANEENOGE Camille" userId="6e7f4196-225c-4d88-a65f-4b95462c5fbf" providerId="ADAL" clId="{24C4966B-9B0A-40E0-9A4B-BA5AEF91FF90}" dt="2022-12-30T11:08:29.303" v="522"/>
        <pc:sldMkLst>
          <pc:docMk/>
          <pc:sldMk cId="1867449557" sldId="2147469131"/>
        </pc:sldMkLst>
      </pc:sldChg>
      <pc:sldChg chg="add mod modShow addCm modCm">
        <pc:chgData name="VANEENOGE Camille" userId="6e7f4196-225c-4d88-a65f-4b95462c5fbf" providerId="ADAL" clId="{24C4966B-9B0A-40E0-9A4B-BA5AEF91FF90}" dt="2022-12-30T10:52:27.230" v="513"/>
        <pc:sldMkLst>
          <pc:docMk/>
          <pc:sldMk cId="1678300054" sldId="2147469140"/>
        </pc:sldMkLst>
      </pc:sldChg>
      <pc:sldChg chg="addSp delSp modSp mod addCm">
        <pc:chgData name="VANEENOGE Camille" userId="6e7f4196-225c-4d88-a65f-4b95462c5fbf" providerId="ADAL" clId="{24C4966B-9B0A-40E0-9A4B-BA5AEF91FF90}" dt="2022-12-28T09:03:02.199" v="404" actId="20577"/>
        <pc:sldMkLst>
          <pc:docMk/>
          <pc:sldMk cId="2433366989" sldId="2147469201"/>
        </pc:sldMkLst>
      </pc:sldChg>
      <pc:sldChg chg="modSp mod">
        <pc:chgData name="VANEENOGE Camille" userId="6e7f4196-225c-4d88-a65f-4b95462c5fbf" providerId="ADAL" clId="{24C4966B-9B0A-40E0-9A4B-BA5AEF91FF90}" dt="2023-01-13T17:12:19.542" v="763" actId="20577"/>
        <pc:sldMkLst>
          <pc:docMk/>
          <pc:sldMk cId="2917112952" sldId="2147469204"/>
        </pc:sldMkLst>
      </pc:sldChg>
      <pc:sldChg chg="addCm">
        <pc:chgData name="VANEENOGE Camille" userId="6e7f4196-225c-4d88-a65f-4b95462c5fbf" providerId="ADAL" clId="{24C4966B-9B0A-40E0-9A4B-BA5AEF91FF90}" dt="2022-12-27T19:38:48.057" v="34"/>
        <pc:sldMkLst>
          <pc:docMk/>
          <pc:sldMk cId="1832773" sldId="2147469209"/>
        </pc:sldMkLst>
      </pc:sldChg>
      <pc:sldChg chg="addCm modCm">
        <pc:chgData name="VANEENOGE Camille" userId="6e7f4196-225c-4d88-a65f-4b95462c5fbf" providerId="ADAL" clId="{24C4966B-9B0A-40E0-9A4B-BA5AEF91FF90}" dt="2022-12-30T09:11:58.220" v="413"/>
        <pc:sldMkLst>
          <pc:docMk/>
          <pc:sldMk cId="1578203440" sldId="2147469214"/>
        </pc:sldMkLst>
      </pc:sldChg>
      <pc:sldChg chg="addCm modCm">
        <pc:chgData name="VANEENOGE Camille" userId="6e7f4196-225c-4d88-a65f-4b95462c5fbf" providerId="ADAL" clId="{24C4966B-9B0A-40E0-9A4B-BA5AEF91FF90}" dt="2022-12-30T09:07:14.495" v="410"/>
        <pc:sldMkLst>
          <pc:docMk/>
          <pc:sldMk cId="1859233551" sldId="2147469215"/>
        </pc:sldMkLst>
      </pc:sldChg>
      <pc:sldChg chg="modSp mod addCm">
        <pc:chgData name="VANEENOGE Camille" userId="6e7f4196-225c-4d88-a65f-4b95462c5fbf" providerId="ADAL" clId="{24C4966B-9B0A-40E0-9A4B-BA5AEF91FF90}" dt="2022-12-30T15:43:56.792" v="548" actId="1076"/>
        <pc:sldMkLst>
          <pc:docMk/>
          <pc:sldMk cId="3937719075" sldId="2147469217"/>
        </pc:sldMkLst>
      </pc:sldChg>
      <pc:sldChg chg="addCm">
        <pc:chgData name="VANEENOGE Camille" userId="6e7f4196-225c-4d88-a65f-4b95462c5fbf" providerId="ADAL" clId="{24C4966B-9B0A-40E0-9A4B-BA5AEF91FF90}" dt="2022-12-27T19:13:01.324" v="24"/>
        <pc:sldMkLst>
          <pc:docMk/>
          <pc:sldMk cId="1451093172" sldId="2147469218"/>
        </pc:sldMkLst>
      </pc:sldChg>
      <pc:sldChg chg="modSp mod addCm">
        <pc:chgData name="VANEENOGE Camille" userId="6e7f4196-225c-4d88-a65f-4b95462c5fbf" providerId="ADAL" clId="{24C4966B-9B0A-40E0-9A4B-BA5AEF91FF90}" dt="2022-12-30T11:11:18.871" v="523"/>
        <pc:sldMkLst>
          <pc:docMk/>
          <pc:sldMk cId="454162624" sldId="2147469219"/>
        </pc:sldMkLst>
      </pc:sldChg>
      <pc:sldChg chg="addCm">
        <pc:chgData name="VANEENOGE Camille" userId="6e7f4196-225c-4d88-a65f-4b95462c5fbf" providerId="ADAL" clId="{24C4966B-9B0A-40E0-9A4B-BA5AEF91FF90}" dt="2022-12-30T13:17:06.791" v="525"/>
        <pc:sldMkLst>
          <pc:docMk/>
          <pc:sldMk cId="1723624365" sldId="2147469222"/>
        </pc:sldMkLst>
      </pc:sldChg>
      <pc:sldChg chg="addCm">
        <pc:chgData name="VANEENOGE Camille" userId="6e7f4196-225c-4d88-a65f-4b95462c5fbf" providerId="ADAL" clId="{24C4966B-9B0A-40E0-9A4B-BA5AEF91FF90}" dt="2022-12-27T19:35:36.446" v="32"/>
        <pc:sldMkLst>
          <pc:docMk/>
          <pc:sldMk cId="1949532902" sldId="2147469223"/>
        </pc:sldMkLst>
      </pc:sldChg>
      <pc:sldChg chg="addCm modCm">
        <pc:chgData name="VANEENOGE Camille" userId="6e7f4196-225c-4d88-a65f-4b95462c5fbf" providerId="ADAL" clId="{24C4966B-9B0A-40E0-9A4B-BA5AEF91FF90}" dt="2022-12-27T18:44:26.826" v="11"/>
        <pc:sldMkLst>
          <pc:docMk/>
          <pc:sldMk cId="1007324685" sldId="2147469225"/>
        </pc:sldMkLst>
      </pc:sldChg>
      <pc:sldChg chg="addCm">
        <pc:chgData name="VANEENOGE Camille" userId="6e7f4196-225c-4d88-a65f-4b95462c5fbf" providerId="ADAL" clId="{24C4966B-9B0A-40E0-9A4B-BA5AEF91FF90}" dt="2022-12-30T11:12:14.004" v="524"/>
        <pc:sldMkLst>
          <pc:docMk/>
          <pc:sldMk cId="3536625796" sldId="2147469228"/>
        </pc:sldMkLst>
      </pc:sldChg>
      <pc:sldChg chg="addSp delSp modSp mod addCm">
        <pc:chgData name="VANEENOGE Camille" userId="6e7f4196-225c-4d88-a65f-4b95462c5fbf" providerId="ADAL" clId="{24C4966B-9B0A-40E0-9A4B-BA5AEF91FF90}" dt="2023-01-27T11:34:46.205" v="839" actId="20577"/>
        <pc:sldMkLst>
          <pc:docMk/>
          <pc:sldMk cId="92527006" sldId="2147469229"/>
        </pc:sldMkLst>
      </pc:sldChg>
      <pc:sldChg chg="addSp delSp modSp mod addCm">
        <pc:chgData name="VANEENOGE Camille" userId="6e7f4196-225c-4d88-a65f-4b95462c5fbf" providerId="ADAL" clId="{24C4966B-9B0A-40E0-9A4B-BA5AEF91FF90}" dt="2022-12-27T18:51:27.841" v="19"/>
        <pc:sldMkLst>
          <pc:docMk/>
          <pc:sldMk cId="3934546814" sldId="2147469230"/>
        </pc:sldMkLst>
      </pc:sldChg>
      <pc:sldChg chg="modSp mod addCm modCm">
        <pc:chgData name="VANEENOGE Camille" userId="6e7f4196-225c-4d88-a65f-4b95462c5fbf" providerId="ADAL" clId="{24C4966B-9B0A-40E0-9A4B-BA5AEF91FF90}" dt="2022-12-30T13:52:43.667" v="544"/>
        <pc:sldMkLst>
          <pc:docMk/>
          <pc:sldMk cId="4175321075" sldId="2147469233"/>
        </pc:sldMkLst>
      </pc:sldChg>
      <pc:sldChg chg="mod ord modShow addCm modCm modNotesTx">
        <pc:chgData name="VANEENOGE Camille" userId="6e7f4196-225c-4d88-a65f-4b95462c5fbf" providerId="ADAL" clId="{24C4966B-9B0A-40E0-9A4B-BA5AEF91FF90}" dt="2023-01-01T22:04:15.193" v="677"/>
        <pc:sldMkLst>
          <pc:docMk/>
          <pc:sldMk cId="137568215" sldId="2147469234"/>
        </pc:sldMkLst>
      </pc:sldChg>
      <pc:sldChg chg="addCm">
        <pc:chgData name="VANEENOGE Camille" userId="6e7f4196-225c-4d88-a65f-4b95462c5fbf" providerId="ADAL" clId="{24C4966B-9B0A-40E0-9A4B-BA5AEF91FF90}" dt="2023-01-01T22:08:09.872" v="755"/>
        <pc:sldMkLst>
          <pc:docMk/>
          <pc:sldMk cId="1014251268" sldId="2147469236"/>
        </pc:sldMkLst>
      </pc:sldChg>
      <pc:sldChg chg="addCm modCm modNotesTx">
        <pc:chgData name="VANEENOGE Camille" userId="6e7f4196-225c-4d88-a65f-4b95462c5fbf" providerId="ADAL" clId="{24C4966B-9B0A-40E0-9A4B-BA5AEF91FF90}" dt="2023-01-01T21:54:31.897" v="628"/>
        <pc:sldMkLst>
          <pc:docMk/>
          <pc:sldMk cId="2862034825" sldId="2147469237"/>
        </pc:sldMkLst>
      </pc:sldChg>
      <pc:sldChg chg="addCm delCm">
        <pc:chgData name="VANEENOGE Camille" userId="6e7f4196-225c-4d88-a65f-4b95462c5fbf" providerId="ADAL" clId="{24C4966B-9B0A-40E0-9A4B-BA5AEF91FF90}" dt="2022-12-30T11:00:01.117" v="515"/>
        <pc:sldMkLst>
          <pc:docMk/>
          <pc:sldMk cId="1863786756" sldId="2147469240"/>
        </pc:sldMkLst>
      </pc:sldChg>
      <pc:sldChg chg="del">
        <pc:chgData name="VANEENOGE Camille" userId="6e7f4196-225c-4d88-a65f-4b95462c5fbf" providerId="ADAL" clId="{24C4966B-9B0A-40E0-9A4B-BA5AEF91FF90}" dt="2022-12-30T13:27:50.953" v="531" actId="47"/>
        <pc:sldMkLst>
          <pc:docMk/>
          <pc:sldMk cId="302296707" sldId="2147469241"/>
        </pc:sldMkLst>
      </pc:sldChg>
      <pc:sldChg chg="del">
        <pc:chgData name="VANEENOGE Camille" userId="6e7f4196-225c-4d88-a65f-4b95462c5fbf" providerId="ADAL" clId="{24C4966B-9B0A-40E0-9A4B-BA5AEF91FF90}" dt="2022-12-30T13:27:48.541" v="530" actId="47"/>
        <pc:sldMkLst>
          <pc:docMk/>
          <pc:sldMk cId="1056202540" sldId="2147469244"/>
        </pc:sldMkLst>
      </pc:sldChg>
      <pc:sldChg chg="addCm">
        <pc:chgData name="VANEENOGE Camille" userId="6e7f4196-225c-4d88-a65f-4b95462c5fbf" providerId="ADAL" clId="{24C4966B-9B0A-40E0-9A4B-BA5AEF91FF90}" dt="2022-12-27T19:17:30.062" v="27"/>
        <pc:sldMkLst>
          <pc:docMk/>
          <pc:sldMk cId="1717254701" sldId="2147469247"/>
        </pc:sldMkLst>
      </pc:sldChg>
      <pc:sldChg chg="addCm modCm">
        <pc:chgData name="VANEENOGE Camille" userId="6e7f4196-225c-4d88-a65f-4b95462c5fbf" providerId="ADAL" clId="{24C4966B-9B0A-40E0-9A4B-BA5AEF91FF90}" dt="2022-12-27T18:39:28.479" v="8"/>
        <pc:sldMkLst>
          <pc:docMk/>
          <pc:sldMk cId="2528676621" sldId="2147469252"/>
        </pc:sldMkLst>
      </pc:sldChg>
      <pc:sldChg chg="addCm">
        <pc:chgData name="VANEENOGE Camille" userId="6e7f4196-225c-4d88-a65f-4b95462c5fbf" providerId="ADAL" clId="{24C4966B-9B0A-40E0-9A4B-BA5AEF91FF90}" dt="2022-12-30T09:15:22.192" v="414"/>
        <pc:sldMkLst>
          <pc:docMk/>
          <pc:sldMk cId="2705986338" sldId="2147469253"/>
        </pc:sldMkLst>
      </pc:sldChg>
      <pc:sldChg chg="modSp mod">
        <pc:chgData name="VANEENOGE Camille" userId="6e7f4196-225c-4d88-a65f-4b95462c5fbf" providerId="ADAL" clId="{24C4966B-9B0A-40E0-9A4B-BA5AEF91FF90}" dt="2022-12-30T13:28:51.001" v="532" actId="3064"/>
        <pc:sldMkLst>
          <pc:docMk/>
          <pc:sldMk cId="906830166" sldId="2147469254"/>
        </pc:sldMkLst>
      </pc:sldChg>
      <pc:sldChg chg="del">
        <pc:chgData name="VANEENOGE Camille" userId="6e7f4196-225c-4d88-a65f-4b95462c5fbf" providerId="ADAL" clId="{24C4966B-9B0A-40E0-9A4B-BA5AEF91FF90}" dt="2023-01-13T17:08:23.362" v="756" actId="2696"/>
        <pc:sldMkLst>
          <pc:docMk/>
          <pc:sldMk cId="788779387" sldId="2147469257"/>
        </pc:sldMkLst>
      </pc:sldChg>
      <pc:sldChg chg="modSp mod addCm delCm">
        <pc:chgData name="VANEENOGE Camille" userId="6e7f4196-225c-4d88-a65f-4b95462c5fbf" providerId="ADAL" clId="{24C4966B-9B0A-40E0-9A4B-BA5AEF91FF90}" dt="2022-12-30T11:00:17.038" v="516" actId="20577"/>
        <pc:sldMkLst>
          <pc:docMk/>
          <pc:sldMk cId="2105868698" sldId="2147469259"/>
        </pc:sldMkLst>
      </pc:sldChg>
      <pc:sldChg chg="modSp mod addCm">
        <pc:chgData name="VANEENOGE Camille" userId="6e7f4196-225c-4d88-a65f-4b95462c5fbf" providerId="ADAL" clId="{24C4966B-9B0A-40E0-9A4B-BA5AEF91FF90}" dt="2022-12-30T10:29:26.668" v="502"/>
        <pc:sldMkLst>
          <pc:docMk/>
          <pc:sldMk cId="2853590062" sldId="2147469262"/>
        </pc:sldMkLst>
      </pc:sldChg>
      <pc:sldChg chg="addCm">
        <pc:chgData name="VANEENOGE Camille" userId="6e7f4196-225c-4d88-a65f-4b95462c5fbf" providerId="ADAL" clId="{24C4966B-9B0A-40E0-9A4B-BA5AEF91FF90}" dt="2022-12-30T09:47:44.469" v="443"/>
        <pc:sldMkLst>
          <pc:docMk/>
          <pc:sldMk cId="1450007021" sldId="2147469263"/>
        </pc:sldMkLst>
      </pc:sldChg>
      <pc:sldChg chg="addCm">
        <pc:chgData name="VANEENOGE Camille" userId="6e7f4196-225c-4d88-a65f-4b95462c5fbf" providerId="ADAL" clId="{24C4966B-9B0A-40E0-9A4B-BA5AEF91FF90}" dt="2022-12-27T11:09:24.786" v="0"/>
        <pc:sldMkLst>
          <pc:docMk/>
          <pc:sldMk cId="1632319133" sldId="2147469264"/>
        </pc:sldMkLst>
      </pc:sldChg>
      <pc:sldChg chg="modSp mod addCm">
        <pc:chgData name="VANEENOGE Camille" userId="6e7f4196-225c-4d88-a65f-4b95462c5fbf" providerId="ADAL" clId="{24C4966B-9B0A-40E0-9A4B-BA5AEF91FF90}" dt="2022-12-30T10:31:25.096" v="504"/>
        <pc:sldMkLst>
          <pc:docMk/>
          <pc:sldMk cId="596036060" sldId="2147469269"/>
        </pc:sldMkLst>
      </pc:sldChg>
      <pc:sldChg chg="modSp mod addCm">
        <pc:chgData name="VANEENOGE Camille" userId="6e7f4196-225c-4d88-a65f-4b95462c5fbf" providerId="ADAL" clId="{24C4966B-9B0A-40E0-9A4B-BA5AEF91FF90}" dt="2022-12-30T10:30:30.050" v="503"/>
        <pc:sldMkLst>
          <pc:docMk/>
          <pc:sldMk cId="27772628" sldId="2147469270"/>
        </pc:sldMkLst>
      </pc:sldChg>
      <pc:sldChg chg="modSp mod addCm">
        <pc:chgData name="VANEENOGE Camille" userId="6e7f4196-225c-4d88-a65f-4b95462c5fbf" providerId="ADAL" clId="{24C4966B-9B0A-40E0-9A4B-BA5AEF91FF90}" dt="2022-12-30T10:09:50.677" v="492"/>
        <pc:sldMkLst>
          <pc:docMk/>
          <pc:sldMk cId="1552375756" sldId="2147469272"/>
        </pc:sldMkLst>
      </pc:sldChg>
      <pc:sldChg chg="del addCm">
        <pc:chgData name="VANEENOGE Camille" userId="6e7f4196-225c-4d88-a65f-4b95462c5fbf" providerId="ADAL" clId="{24C4966B-9B0A-40E0-9A4B-BA5AEF91FF90}" dt="2023-01-13T17:08:23.362" v="756" actId="2696"/>
        <pc:sldMkLst>
          <pc:docMk/>
          <pc:sldMk cId="200622586" sldId="2147469273"/>
        </pc:sldMkLst>
      </pc:sldChg>
      <pc:sldChg chg="del">
        <pc:chgData name="VANEENOGE Camille" userId="6e7f4196-225c-4d88-a65f-4b95462c5fbf" providerId="ADAL" clId="{24C4966B-9B0A-40E0-9A4B-BA5AEF91FF90}" dt="2023-01-13T17:08:23.362" v="756" actId="2696"/>
        <pc:sldMkLst>
          <pc:docMk/>
          <pc:sldMk cId="704760206" sldId="2147469275"/>
        </pc:sldMkLst>
      </pc:sldChg>
      <pc:sldChg chg="modSp mod addCm">
        <pc:chgData name="VANEENOGE Camille" userId="6e7f4196-225c-4d88-a65f-4b95462c5fbf" providerId="ADAL" clId="{24C4966B-9B0A-40E0-9A4B-BA5AEF91FF90}" dt="2022-12-30T10:26:16.977" v="495"/>
        <pc:sldMkLst>
          <pc:docMk/>
          <pc:sldMk cId="483041667" sldId="2147469276"/>
        </pc:sldMkLst>
      </pc:sldChg>
      <pc:sldChg chg="addCm">
        <pc:chgData name="VANEENOGE Camille" userId="6e7f4196-225c-4d88-a65f-4b95462c5fbf" providerId="ADAL" clId="{24C4966B-9B0A-40E0-9A4B-BA5AEF91FF90}" dt="2022-12-30T09:47:34.029" v="442"/>
        <pc:sldMkLst>
          <pc:docMk/>
          <pc:sldMk cId="922742973" sldId="2147469277"/>
        </pc:sldMkLst>
      </pc:sldChg>
      <pc:sldChg chg="add mod modShow">
        <pc:chgData name="VANEENOGE Camille" userId="6e7f4196-225c-4d88-a65f-4b95462c5fbf" providerId="ADAL" clId="{24C4966B-9B0A-40E0-9A4B-BA5AEF91FF90}" dt="2022-12-28T08:45:12.415" v="36" actId="729"/>
        <pc:sldMkLst>
          <pc:docMk/>
          <pc:sldMk cId="474180429" sldId="2147469278"/>
        </pc:sldMkLst>
      </pc:sldChg>
      <pc:sldChg chg="modSp add mod ord">
        <pc:chgData name="VANEENOGE Camille" userId="6e7f4196-225c-4d88-a65f-4b95462c5fbf" providerId="ADAL" clId="{24C4966B-9B0A-40E0-9A4B-BA5AEF91FF90}" dt="2023-01-01T22:05:29.719" v="754" actId="313"/>
        <pc:sldMkLst>
          <pc:docMk/>
          <pc:sldMk cId="2139053399" sldId="2147469279"/>
        </pc:sldMkLst>
      </pc:sldChg>
    </pc:docChg>
  </pc:docChgLst>
  <pc:docChgLst>
    <pc:chgData name="VANEENOGE Camille" userId="S::camille.vaneenoge@vinci-construction.com::6e7f4196-225c-4d88-a65f-4b95462c5fbf" providerId="AD" clId="Web-{A939BCA5-E568-B7E6-E7CC-852C8FCBB062}"/>
    <pc:docChg chg="modSld">
      <pc:chgData name="VANEENOGE Camille" userId="S::camille.vaneenoge@vinci-construction.com::6e7f4196-225c-4d88-a65f-4b95462c5fbf" providerId="AD" clId="Web-{A939BCA5-E568-B7E6-E7CC-852C8FCBB062}" dt="2024-03-13T17:44:15.112" v="27"/>
      <pc:docMkLst>
        <pc:docMk/>
      </pc:docMkLst>
      <pc:sldChg chg="addSp delSp modSp modCm">
        <pc:chgData name="VANEENOGE Camille" userId="S::camille.vaneenoge@vinci-construction.com::6e7f4196-225c-4d88-a65f-4b95462c5fbf" providerId="AD" clId="Web-{A939BCA5-E568-B7E6-E7CC-852C8FCBB062}" dt="2024-03-13T17:44:15.112" v="27"/>
        <pc:sldMkLst>
          <pc:docMk/>
          <pc:sldMk cId="3302271320" sldId="2147482018"/>
        </pc:sldMkLst>
        <pc:extLst>
          <p:ext xmlns:p="http://schemas.openxmlformats.org/presentationml/2006/main" uri="{D6D511B9-2390-475A-947B-AFAB55BFBCF1}">
            <pc226:cmChg xmlns:pc226="http://schemas.microsoft.com/office/powerpoint/2022/06/main/command" chg="">
              <pc226:chgData name="VANEENOGE Camille" userId="S::camille.vaneenoge@vinci-construction.com::6e7f4196-225c-4d88-a65f-4b95462c5fbf" providerId="AD" clId="Web-{A939BCA5-E568-B7E6-E7CC-852C8FCBB062}" dt="2024-03-13T17:44:15.112" v="27"/>
              <pc2:cmMkLst xmlns:pc2="http://schemas.microsoft.com/office/powerpoint/2019/9/main/command">
                <pc:docMk/>
                <pc:sldMk cId="3302271320" sldId="2147482018"/>
                <pc2:cmMk id="{96BFDDA4-F70E-4B3D-9CC8-18504ADF6DBF}"/>
              </pc2:cmMkLst>
              <pc226:cmRplyChg chg="add">
                <pc226:chgData name="VANEENOGE Camille" userId="S::camille.vaneenoge@vinci-construction.com::6e7f4196-225c-4d88-a65f-4b95462c5fbf" providerId="AD" clId="Web-{A939BCA5-E568-B7E6-E7CC-852C8FCBB062}" dt="2024-03-13T17:44:15.112" v="27"/>
                <pc2:cmRplyMkLst xmlns:pc2="http://schemas.microsoft.com/office/powerpoint/2019/9/main/command">
                  <pc:docMk/>
                  <pc:sldMk cId="3302271320" sldId="2147482018"/>
                  <pc2:cmMk id="{96BFDDA4-F70E-4B3D-9CC8-18504ADF6DBF}"/>
                  <pc2:cmRplyMk id="{79CB766F-DD85-4407-8614-2B5D3072AF77}"/>
                </pc2:cmRplyMkLst>
              </pc226:cmRplyChg>
            </pc226:cmChg>
          </p:ext>
        </pc:extLst>
      </pc:sldChg>
    </pc:docChg>
  </pc:docChgLst>
  <pc:docChgLst>
    <pc:chgData name="Stéphanie Chatagner" userId="S::stephanie.chatagner_avanade.com#ext#@vincic.onmicrosoft.com::413dce0f-1b71-4edd-8872-aae39c2f786a" providerId="AD" clId="Web-{5C1EC737-6D47-AD7A-1591-0C5E81DF561C}"/>
    <pc:docChg chg="modSld">
      <pc:chgData name="Stéphanie Chatagner" userId="S::stephanie.chatagner_avanade.com#ext#@vincic.onmicrosoft.com::413dce0f-1b71-4edd-8872-aae39c2f786a" providerId="AD" clId="Web-{5C1EC737-6D47-AD7A-1591-0C5E81DF561C}" dt="2023-01-11T19:21:09.133" v="1"/>
      <pc:docMkLst>
        <pc:docMk/>
      </pc:docMkLst>
    </pc:docChg>
  </pc:docChgLst>
  <pc:docChgLst>
    <pc:chgData name="VERMONT Olivier" userId="S::olivier.vermont@vinci-construction.com::634f67f3-c7f5-4fef-a3da-f29c37e9e44b" providerId="AD" clId="Web-{CEB7A3A4-687E-316C-F44F-E1998957DC03}"/>
    <pc:docChg chg="modSld">
      <pc:chgData name="VERMONT Olivier" userId="S::olivier.vermont@vinci-construction.com::634f67f3-c7f5-4fef-a3da-f29c37e9e44b" providerId="AD" clId="Web-{CEB7A3A4-687E-316C-F44F-E1998957DC03}" dt="2024-03-11T16:34:34.892" v="24" actId="20577"/>
      <pc:docMkLst>
        <pc:docMk/>
      </pc:docMkLst>
      <pc:sldChg chg="modSp modCm">
        <pc:chgData name="VERMONT Olivier" userId="S::olivier.vermont@vinci-construction.com::634f67f3-c7f5-4fef-a3da-f29c37e9e44b" providerId="AD" clId="Web-{CEB7A3A4-687E-316C-F44F-E1998957DC03}" dt="2024-03-11T16:34:34.892" v="24" actId="20577"/>
        <pc:sldMkLst>
          <pc:docMk/>
          <pc:sldMk cId="980070838" sldId="2147482006"/>
        </pc:sldMkLst>
        <pc:extLst>
          <p:ext xmlns:p="http://schemas.openxmlformats.org/presentationml/2006/main" uri="{D6D511B9-2390-475A-947B-AFAB55BFBCF1}">
            <pc226:cmChg xmlns:pc226="http://schemas.microsoft.com/office/powerpoint/2022/06/main/command" chg="mod">
              <pc226:chgData name="VERMONT Olivier" userId="S::olivier.vermont@vinci-construction.com::634f67f3-c7f5-4fef-a3da-f29c37e9e44b" providerId="AD" clId="Web-{CEB7A3A4-687E-316C-F44F-E1998957DC03}" dt="2024-03-11T16:34:34.892" v="24" actId="20577"/>
              <pc2:cmMkLst xmlns:pc2="http://schemas.microsoft.com/office/powerpoint/2019/9/main/command">
                <pc:docMk/>
                <pc:sldMk cId="980070838" sldId="2147482006"/>
                <pc2:cmMk id="{1AC9031B-99A7-4A58-82F2-7AE4EE16346B}"/>
              </pc2:cmMkLst>
            </pc226:cmChg>
          </p:ext>
        </pc:extLst>
      </pc:sldChg>
    </pc:docChg>
  </pc:docChgLst>
  <pc:docChgLst>
    <pc:chgData name="VANEENOGE Camille" userId="6e7f4196-225c-4d88-a65f-4b95462c5fbf" providerId="ADAL" clId="{E5184C5F-F791-4D50-A591-6B1498651246}"/>
    <pc:docChg chg="undo redo custSel delSld modSld sldOrd delMainMaster addSection delSection modSection">
      <pc:chgData name="VANEENOGE Camille" userId="6e7f4196-225c-4d88-a65f-4b95462c5fbf" providerId="ADAL" clId="{E5184C5F-F791-4D50-A591-6B1498651246}" dt="2023-12-28T16:23:09.928" v="355" actId="2056"/>
      <pc:docMkLst>
        <pc:docMk/>
      </pc:docMkLst>
      <pc:sldChg chg="modSp mod ord modClrScheme chgLayout">
        <pc:chgData name="VANEENOGE Camille" userId="6e7f4196-225c-4d88-a65f-4b95462c5fbf" providerId="ADAL" clId="{E5184C5F-F791-4D50-A591-6B1498651246}" dt="2023-12-28T15:11:36.972" v="290" actId="1076"/>
        <pc:sldMkLst>
          <pc:docMk/>
          <pc:sldMk cId="1670719887" sldId="264"/>
        </pc:sldMkLst>
      </pc:sldChg>
      <pc:sldChg chg="delSp modSp mod modClrScheme chgLayout">
        <pc:chgData name="VANEENOGE Camille" userId="6e7f4196-225c-4d88-a65f-4b95462c5fbf" providerId="ADAL" clId="{E5184C5F-F791-4D50-A591-6B1498651246}" dt="2023-12-28T10:57:02.266" v="212" actId="1076"/>
        <pc:sldMkLst>
          <pc:docMk/>
          <pc:sldMk cId="2631057792" sldId="2076137815"/>
        </pc:sldMkLst>
      </pc:sldChg>
      <pc:sldChg chg="del">
        <pc:chgData name="VANEENOGE Camille" userId="6e7f4196-225c-4d88-a65f-4b95462c5fbf" providerId="ADAL" clId="{E5184C5F-F791-4D50-A591-6B1498651246}" dt="2023-12-28T10:49:30.553" v="149" actId="47"/>
        <pc:sldMkLst>
          <pc:docMk/>
          <pc:sldMk cId="1716985175" sldId="2147326867"/>
        </pc:sldMkLst>
      </pc:sldChg>
      <pc:sldChg chg="modSp mod modClrScheme addCm chgLayout">
        <pc:chgData name="VANEENOGE Camille" userId="6e7f4196-225c-4d88-a65f-4b95462c5fbf" providerId="ADAL" clId="{E5184C5F-F791-4D50-A591-6B1498651246}" dt="2023-12-28T10:55:00.519" v="199" actId="14100"/>
        <pc:sldMkLst>
          <pc:docMk/>
          <pc:sldMk cId="772362737" sldId="2147326870"/>
        </pc:sldMkLst>
      </pc:sldChg>
      <pc:sldChg chg="addSp modSp mod ord modClrScheme modShow chgLayout">
        <pc:chgData name="VANEENOGE Camille" userId="6e7f4196-225c-4d88-a65f-4b95462c5fbf" providerId="ADAL" clId="{E5184C5F-F791-4D50-A591-6B1498651246}" dt="2023-12-28T15:03:26.149" v="283"/>
        <pc:sldMkLst>
          <pc:docMk/>
          <pc:sldMk cId="3192763856" sldId="2147469087"/>
        </pc:sldMkLst>
      </pc:sldChg>
      <pc:sldChg chg="addSp delSp modSp mod ord modClrScheme chgLayout">
        <pc:chgData name="VANEENOGE Camille" userId="6e7f4196-225c-4d88-a65f-4b95462c5fbf" providerId="ADAL" clId="{E5184C5F-F791-4D50-A591-6B1498651246}" dt="2023-12-28T10:55:43.852" v="204" actId="700"/>
        <pc:sldMkLst>
          <pc:docMk/>
          <pc:sldMk cId="3119294515" sldId="2147469115"/>
        </pc:sldMkLst>
      </pc:sldChg>
      <pc:sldChg chg="modSp mod ord modClrScheme chgLayout">
        <pc:chgData name="VANEENOGE Camille" userId="6e7f4196-225c-4d88-a65f-4b95462c5fbf" providerId="ADAL" clId="{E5184C5F-F791-4D50-A591-6B1498651246}" dt="2023-12-28T10:56:04.495" v="206" actId="700"/>
        <pc:sldMkLst>
          <pc:docMk/>
          <pc:sldMk cId="1312330934" sldId="2147469122"/>
        </pc:sldMkLst>
      </pc:sldChg>
      <pc:sldChg chg="mod ord modClrScheme chgLayout">
        <pc:chgData name="VANEENOGE Camille" userId="6e7f4196-225c-4d88-a65f-4b95462c5fbf" providerId="ADAL" clId="{E5184C5F-F791-4D50-A591-6B1498651246}" dt="2023-12-28T10:56:19.829" v="208" actId="700"/>
        <pc:sldMkLst>
          <pc:docMk/>
          <pc:sldMk cId="1678300054" sldId="2147469140"/>
        </pc:sldMkLst>
      </pc:sldChg>
      <pc:sldChg chg="addSp delSp modSp mod ord modClrScheme chgLayout">
        <pc:chgData name="VANEENOGE Camille" userId="6e7f4196-225c-4d88-a65f-4b95462c5fbf" providerId="ADAL" clId="{E5184C5F-F791-4D50-A591-6B1498651246}" dt="2023-12-28T10:55:32.940" v="203" actId="20577"/>
        <pc:sldMkLst>
          <pc:docMk/>
          <pc:sldMk cId="2917112952" sldId="2147469204"/>
        </pc:sldMkLst>
      </pc:sldChg>
      <pc:sldChg chg="addSp delSp modSp mod ord modClrScheme chgLayout">
        <pc:chgData name="VANEENOGE Camille" userId="6e7f4196-225c-4d88-a65f-4b95462c5fbf" providerId="ADAL" clId="{E5184C5F-F791-4D50-A591-6B1498651246}" dt="2023-12-28T10:56:11.483" v="207" actId="700"/>
        <pc:sldMkLst>
          <pc:docMk/>
          <pc:sldMk cId="756621096" sldId="2147469205"/>
        </pc:sldMkLst>
      </pc:sldChg>
      <pc:sldChg chg="del">
        <pc:chgData name="VANEENOGE Camille" userId="6e7f4196-225c-4d88-a65f-4b95462c5fbf" providerId="ADAL" clId="{E5184C5F-F791-4D50-A591-6B1498651246}" dt="2023-12-28T10:42:38.742" v="2" actId="47"/>
        <pc:sldMkLst>
          <pc:docMk/>
          <pc:sldMk cId="1723624365" sldId="2147469222"/>
        </pc:sldMkLst>
      </pc:sldChg>
      <pc:sldChg chg="del">
        <pc:chgData name="VANEENOGE Camille" userId="6e7f4196-225c-4d88-a65f-4b95462c5fbf" providerId="ADAL" clId="{E5184C5F-F791-4D50-A591-6B1498651246}" dt="2023-12-28T10:42:40.261" v="3" actId="47"/>
        <pc:sldMkLst>
          <pc:docMk/>
          <pc:sldMk cId="1949532902" sldId="2147469223"/>
        </pc:sldMkLst>
      </pc:sldChg>
      <pc:sldChg chg="del">
        <pc:chgData name="VANEENOGE Camille" userId="6e7f4196-225c-4d88-a65f-4b95462c5fbf" providerId="ADAL" clId="{E5184C5F-F791-4D50-A591-6B1498651246}" dt="2023-12-28T10:42:07.433" v="1" actId="47"/>
        <pc:sldMkLst>
          <pc:docMk/>
          <pc:sldMk cId="3536625796" sldId="2147469228"/>
        </pc:sldMkLst>
      </pc:sldChg>
      <pc:sldChg chg="modSp mod modClrScheme chgLayout">
        <pc:chgData name="VANEENOGE Camille" userId="6e7f4196-225c-4d88-a65f-4b95462c5fbf" providerId="ADAL" clId="{E5184C5F-F791-4D50-A591-6B1498651246}" dt="2023-12-28T10:56:29.313" v="209" actId="700"/>
        <pc:sldMkLst>
          <pc:docMk/>
          <pc:sldMk cId="92527006" sldId="2147469229"/>
        </pc:sldMkLst>
      </pc:sldChg>
      <pc:sldChg chg="addSp modSp mod ord modClrScheme chgLayout">
        <pc:chgData name="VANEENOGE Camille" userId="6e7f4196-225c-4d88-a65f-4b95462c5fbf" providerId="ADAL" clId="{E5184C5F-F791-4D50-A591-6B1498651246}" dt="2023-12-28T14:56:36.601" v="280" actId="700"/>
        <pc:sldMkLst>
          <pc:docMk/>
          <pc:sldMk cId="3934546814" sldId="2147469230"/>
        </pc:sldMkLst>
      </pc:sldChg>
      <pc:sldChg chg="modSp mod modClrScheme chgLayout">
        <pc:chgData name="VANEENOGE Camille" userId="6e7f4196-225c-4d88-a65f-4b95462c5fbf" providerId="ADAL" clId="{E5184C5F-F791-4D50-A591-6B1498651246}" dt="2023-12-28T10:56:29.313" v="209" actId="700"/>
        <pc:sldMkLst>
          <pc:docMk/>
          <pc:sldMk cId="4175321075" sldId="2147469233"/>
        </pc:sldMkLst>
      </pc:sldChg>
      <pc:sldChg chg="modSp mod modClrScheme chgLayout">
        <pc:chgData name="VANEENOGE Camille" userId="6e7f4196-225c-4d88-a65f-4b95462c5fbf" providerId="ADAL" clId="{E5184C5F-F791-4D50-A591-6B1498651246}" dt="2023-12-28T10:56:29.313" v="209" actId="700"/>
        <pc:sldMkLst>
          <pc:docMk/>
          <pc:sldMk cId="137568215" sldId="2147469234"/>
        </pc:sldMkLst>
      </pc:sldChg>
      <pc:sldChg chg="modSp mod modClrScheme chgLayout">
        <pc:chgData name="VANEENOGE Camille" userId="6e7f4196-225c-4d88-a65f-4b95462c5fbf" providerId="ADAL" clId="{E5184C5F-F791-4D50-A591-6B1498651246}" dt="2023-12-28T10:56:29.313" v="209" actId="700"/>
        <pc:sldMkLst>
          <pc:docMk/>
          <pc:sldMk cId="1014251268" sldId="2147469236"/>
        </pc:sldMkLst>
      </pc:sldChg>
      <pc:sldChg chg="modSp mod modClrScheme chgLayout">
        <pc:chgData name="VANEENOGE Camille" userId="6e7f4196-225c-4d88-a65f-4b95462c5fbf" providerId="ADAL" clId="{E5184C5F-F791-4D50-A591-6B1498651246}" dt="2023-12-28T10:56:29.313" v="209" actId="700"/>
        <pc:sldMkLst>
          <pc:docMk/>
          <pc:sldMk cId="2862034825" sldId="2147469237"/>
        </pc:sldMkLst>
      </pc:sldChg>
      <pc:sldChg chg="del">
        <pc:chgData name="VANEENOGE Camille" userId="6e7f4196-225c-4d88-a65f-4b95462c5fbf" providerId="ADAL" clId="{E5184C5F-F791-4D50-A591-6B1498651246}" dt="2023-12-28T10:51:26.023" v="175" actId="47"/>
        <pc:sldMkLst>
          <pc:docMk/>
          <pc:sldMk cId="297916462" sldId="2147469243"/>
        </pc:sldMkLst>
      </pc:sldChg>
      <pc:sldChg chg="modSp mod modClrScheme chgLayout">
        <pc:chgData name="VANEENOGE Camille" userId="6e7f4196-225c-4d88-a65f-4b95462c5fbf" providerId="ADAL" clId="{E5184C5F-F791-4D50-A591-6B1498651246}" dt="2023-12-28T10:56:29.313" v="209" actId="700"/>
        <pc:sldMkLst>
          <pc:docMk/>
          <pc:sldMk cId="906830166" sldId="2147469254"/>
        </pc:sldMkLst>
      </pc:sldChg>
      <pc:sldChg chg="modSp mod ord modClrScheme modShow chgLayout">
        <pc:chgData name="VANEENOGE Camille" userId="6e7f4196-225c-4d88-a65f-4b95462c5fbf" providerId="ADAL" clId="{E5184C5F-F791-4D50-A591-6B1498651246}" dt="2023-12-28T14:56:36.601" v="280" actId="700"/>
        <pc:sldMkLst>
          <pc:docMk/>
          <pc:sldMk cId="1030784313" sldId="2147469255"/>
        </pc:sldMkLst>
      </pc:sldChg>
      <pc:sldChg chg="modSp mod ord modClrScheme chgLayout">
        <pc:chgData name="VANEENOGE Camille" userId="6e7f4196-225c-4d88-a65f-4b95462c5fbf" providerId="ADAL" clId="{E5184C5F-F791-4D50-A591-6B1498651246}" dt="2023-12-28T10:56:19.829" v="208" actId="700"/>
        <pc:sldMkLst>
          <pc:docMk/>
          <pc:sldMk cId="2105868698" sldId="2147469259"/>
        </pc:sldMkLst>
      </pc:sldChg>
      <pc:sldChg chg="modSp mod ord modClrScheme chgLayout">
        <pc:chgData name="VANEENOGE Camille" userId="6e7f4196-225c-4d88-a65f-4b95462c5fbf" providerId="ADAL" clId="{E5184C5F-F791-4D50-A591-6B1498651246}" dt="2023-12-28T10:56:19.829" v="208" actId="700"/>
        <pc:sldMkLst>
          <pc:docMk/>
          <pc:sldMk cId="2853590062" sldId="2147469262"/>
        </pc:sldMkLst>
      </pc:sldChg>
      <pc:sldChg chg="modSp mod ord modClrScheme modShow chgLayout">
        <pc:chgData name="VANEENOGE Camille" userId="6e7f4196-225c-4d88-a65f-4b95462c5fbf" providerId="ADAL" clId="{E5184C5F-F791-4D50-A591-6B1498651246}" dt="2023-12-28T14:56:36.601" v="280" actId="700"/>
        <pc:sldMkLst>
          <pc:docMk/>
          <pc:sldMk cId="1632319133" sldId="2147469264"/>
        </pc:sldMkLst>
      </pc:sldChg>
      <pc:sldChg chg="modSp mod ord modClrScheme chgLayout">
        <pc:chgData name="VANEENOGE Camille" userId="6e7f4196-225c-4d88-a65f-4b95462c5fbf" providerId="ADAL" clId="{E5184C5F-F791-4D50-A591-6B1498651246}" dt="2023-12-28T10:56:19.829" v="208" actId="700"/>
        <pc:sldMkLst>
          <pc:docMk/>
          <pc:sldMk cId="596036060" sldId="2147469269"/>
        </pc:sldMkLst>
      </pc:sldChg>
      <pc:sldChg chg="modSp mod ord modClrScheme chgLayout">
        <pc:chgData name="VANEENOGE Camille" userId="6e7f4196-225c-4d88-a65f-4b95462c5fbf" providerId="ADAL" clId="{E5184C5F-F791-4D50-A591-6B1498651246}" dt="2023-12-28T10:56:19.829" v="208" actId="700"/>
        <pc:sldMkLst>
          <pc:docMk/>
          <pc:sldMk cId="1552375756" sldId="2147469272"/>
        </pc:sldMkLst>
      </pc:sldChg>
      <pc:sldChg chg="modSp mod modClrScheme chgLayout">
        <pc:chgData name="VANEENOGE Camille" userId="6e7f4196-225c-4d88-a65f-4b95462c5fbf" providerId="ADAL" clId="{E5184C5F-F791-4D50-A591-6B1498651246}" dt="2023-12-28T10:56:29.313" v="209" actId="700"/>
        <pc:sldMkLst>
          <pc:docMk/>
          <pc:sldMk cId="474180429" sldId="2147469278"/>
        </pc:sldMkLst>
      </pc:sldChg>
      <pc:sldChg chg="modSp mod modClrScheme chgLayout">
        <pc:chgData name="VANEENOGE Camille" userId="6e7f4196-225c-4d88-a65f-4b95462c5fbf" providerId="ADAL" clId="{E5184C5F-F791-4D50-A591-6B1498651246}" dt="2023-12-28T10:56:29.313" v="209" actId="700"/>
        <pc:sldMkLst>
          <pc:docMk/>
          <pc:sldMk cId="2139053399" sldId="2147469279"/>
        </pc:sldMkLst>
      </pc:sldChg>
      <pc:sldChg chg="del">
        <pc:chgData name="VANEENOGE Camille" userId="6e7f4196-225c-4d88-a65f-4b95462c5fbf" providerId="ADAL" clId="{E5184C5F-F791-4D50-A591-6B1498651246}" dt="2023-12-28T10:51:09.299" v="172" actId="47"/>
        <pc:sldMkLst>
          <pc:docMk/>
          <pc:sldMk cId="2459436980" sldId="2147469280"/>
        </pc:sldMkLst>
      </pc:sldChg>
      <pc:sldChg chg="delSp modSp mod modClrScheme addCm chgLayout">
        <pc:chgData name="VANEENOGE Camille" userId="6e7f4196-225c-4d88-a65f-4b95462c5fbf" providerId="ADAL" clId="{E5184C5F-F791-4D50-A591-6B1498651246}" dt="2023-12-28T15:05:19.153" v="285"/>
        <pc:sldMkLst>
          <pc:docMk/>
          <pc:sldMk cId="2217602409" sldId="2147469281"/>
        </pc:sldMkLst>
      </pc:sldChg>
      <pc:sldChg chg="del">
        <pc:chgData name="VANEENOGE Camille" userId="6e7f4196-225c-4d88-a65f-4b95462c5fbf" providerId="ADAL" clId="{E5184C5F-F791-4D50-A591-6B1498651246}" dt="2023-12-28T10:51:10.545" v="173" actId="47"/>
        <pc:sldMkLst>
          <pc:docMk/>
          <pc:sldMk cId="2894980669" sldId="2147469282"/>
        </pc:sldMkLst>
      </pc:sldChg>
      <pc:sldChg chg="delSp modSp mod modClrScheme chgLayout">
        <pc:chgData name="VANEENOGE Camille" userId="6e7f4196-225c-4d88-a65f-4b95462c5fbf" providerId="ADAL" clId="{E5184C5F-F791-4D50-A591-6B1498651246}" dt="2023-12-28T10:56:40.506" v="210" actId="700"/>
        <pc:sldMkLst>
          <pc:docMk/>
          <pc:sldMk cId="649732189" sldId="2147469286"/>
        </pc:sldMkLst>
      </pc:sldChg>
      <pc:sldChg chg="modSp mod ord modClrScheme delCm chgLayout">
        <pc:chgData name="VANEENOGE Camille" userId="6e7f4196-225c-4d88-a65f-4b95462c5fbf" providerId="ADAL" clId="{E5184C5F-F791-4D50-A591-6B1498651246}" dt="2023-12-28T14:56:36.601" v="280" actId="700"/>
        <pc:sldMkLst>
          <pc:docMk/>
          <pc:sldMk cId="505188205" sldId="2147469288"/>
        </pc:sldMkLst>
      </pc:sldChg>
      <pc:sldChg chg="modSp mod modClrScheme delCm chgLayout">
        <pc:chgData name="VANEENOGE Camille" userId="6e7f4196-225c-4d88-a65f-4b95462c5fbf" providerId="ADAL" clId="{E5184C5F-F791-4D50-A591-6B1498651246}" dt="2023-12-28T14:56:36.601" v="280" actId="700"/>
        <pc:sldMkLst>
          <pc:docMk/>
          <pc:sldMk cId="1893851666" sldId="2147469289"/>
        </pc:sldMkLst>
      </pc:sldChg>
      <pc:sldChg chg="modSp mod modClrScheme delCm chgLayout">
        <pc:chgData name="VANEENOGE Camille" userId="6e7f4196-225c-4d88-a65f-4b95462c5fbf" providerId="ADAL" clId="{E5184C5F-F791-4D50-A591-6B1498651246}" dt="2023-12-28T14:56:36.601" v="280" actId="700"/>
        <pc:sldMkLst>
          <pc:docMk/>
          <pc:sldMk cId="4090274451" sldId="2147469290"/>
        </pc:sldMkLst>
      </pc:sldChg>
      <pc:sldChg chg="modSp mod ord modClrScheme chgLayout">
        <pc:chgData name="VANEENOGE Camille" userId="6e7f4196-225c-4d88-a65f-4b95462c5fbf" providerId="ADAL" clId="{E5184C5F-F791-4D50-A591-6B1498651246}" dt="2023-12-28T14:56:36.601" v="280" actId="700"/>
        <pc:sldMkLst>
          <pc:docMk/>
          <pc:sldMk cId="913351391" sldId="2147469291"/>
        </pc:sldMkLst>
      </pc:sldChg>
      <pc:sldChg chg="modSp mod ord modClrScheme chgLayout">
        <pc:chgData name="VANEENOGE Camille" userId="6e7f4196-225c-4d88-a65f-4b95462c5fbf" providerId="ADAL" clId="{E5184C5F-F791-4D50-A591-6B1498651246}" dt="2023-12-28T15:02:56.951" v="282"/>
        <pc:sldMkLst>
          <pc:docMk/>
          <pc:sldMk cId="2267118433" sldId="2147469292"/>
        </pc:sldMkLst>
      </pc:sldChg>
      <pc:sldChg chg="modSp mod ord modClrScheme chgLayout">
        <pc:chgData name="VANEENOGE Camille" userId="6e7f4196-225c-4d88-a65f-4b95462c5fbf" providerId="ADAL" clId="{E5184C5F-F791-4D50-A591-6B1498651246}" dt="2023-12-28T10:54:30.908" v="196" actId="700"/>
        <pc:sldMkLst>
          <pc:docMk/>
          <pc:sldMk cId="39565805" sldId="2147481955"/>
        </pc:sldMkLst>
      </pc:sldChg>
      <pc:sldChg chg="modSp mod ord modClrScheme chgLayout">
        <pc:chgData name="VANEENOGE Camille" userId="6e7f4196-225c-4d88-a65f-4b95462c5fbf" providerId="ADAL" clId="{E5184C5F-F791-4D50-A591-6B1498651246}" dt="2023-12-28T10:54:30.908" v="196" actId="700"/>
        <pc:sldMkLst>
          <pc:docMk/>
          <pc:sldMk cId="3438293396" sldId="2147481973"/>
        </pc:sldMkLst>
      </pc:sldChg>
      <pc:sldChg chg="modSp mod ord modClrScheme chgLayout">
        <pc:chgData name="VANEENOGE Camille" userId="6e7f4196-225c-4d88-a65f-4b95462c5fbf" providerId="ADAL" clId="{E5184C5F-F791-4D50-A591-6B1498651246}" dt="2023-12-28T10:54:30.908" v="196" actId="700"/>
        <pc:sldMkLst>
          <pc:docMk/>
          <pc:sldMk cId="3580833316" sldId="2147481978"/>
        </pc:sldMkLst>
      </pc:sldChg>
      <pc:sldChg chg="modSp mod ord modClrScheme addCm modCm chgLayout">
        <pc:chgData name="VANEENOGE Camille" userId="6e7f4196-225c-4d88-a65f-4b95462c5fbf" providerId="ADAL" clId="{E5184C5F-F791-4D50-A591-6B1498651246}" dt="2023-12-28T15:43:20.518" v="324"/>
        <pc:sldMkLst>
          <pc:docMk/>
          <pc:sldMk cId="2738404544" sldId="2147481979"/>
        </pc:sldMkLst>
      </pc:sldChg>
      <pc:sldChg chg="modSp mod ord modClrScheme addCm modCm chgLayout">
        <pc:chgData name="VANEENOGE Camille" userId="6e7f4196-225c-4d88-a65f-4b95462c5fbf" providerId="ADAL" clId="{E5184C5F-F791-4D50-A591-6B1498651246}" dt="2023-12-28T16:08:38.184" v="352" actId="2056"/>
        <pc:sldMkLst>
          <pc:docMk/>
          <pc:sldMk cId="2251311509" sldId="2147481981"/>
        </pc:sldMkLst>
      </pc:sldChg>
      <pc:sldChg chg="modSp mod ord modClrScheme chgLayout">
        <pc:chgData name="VANEENOGE Camille" userId="6e7f4196-225c-4d88-a65f-4b95462c5fbf" providerId="ADAL" clId="{E5184C5F-F791-4D50-A591-6B1498651246}" dt="2023-12-28T15:12:01.832" v="292" actId="700"/>
        <pc:sldMkLst>
          <pc:docMk/>
          <pc:sldMk cId="4196752458" sldId="2147481983"/>
        </pc:sldMkLst>
      </pc:sldChg>
      <pc:sldChg chg="modSp mod ord modClrScheme chgLayout">
        <pc:chgData name="VANEENOGE Camille" userId="6e7f4196-225c-4d88-a65f-4b95462c5fbf" providerId="ADAL" clId="{E5184C5F-F791-4D50-A591-6B1498651246}" dt="2023-12-28T10:54:30.908" v="196" actId="700"/>
        <pc:sldMkLst>
          <pc:docMk/>
          <pc:sldMk cId="2629315225" sldId="2147481989"/>
        </pc:sldMkLst>
      </pc:sldChg>
      <pc:sldChg chg="modSp mod ord modClrScheme addCm modCm chgLayout">
        <pc:chgData name="VANEENOGE Camille" userId="6e7f4196-225c-4d88-a65f-4b95462c5fbf" providerId="ADAL" clId="{E5184C5F-F791-4D50-A591-6B1498651246}" dt="2023-12-28T16:23:09.928" v="355" actId="2056"/>
        <pc:sldMkLst>
          <pc:docMk/>
          <pc:sldMk cId="1611954198" sldId="2147481990"/>
        </pc:sldMkLst>
      </pc:sldChg>
      <pc:sldChg chg="modSp mod ord modClrScheme chgLayout">
        <pc:chgData name="VANEENOGE Camille" userId="6e7f4196-225c-4d88-a65f-4b95462c5fbf" providerId="ADAL" clId="{E5184C5F-F791-4D50-A591-6B1498651246}" dt="2023-12-28T15:12:01.832" v="292" actId="700"/>
        <pc:sldMkLst>
          <pc:docMk/>
          <pc:sldMk cId="3872359938" sldId="2147481991"/>
        </pc:sldMkLst>
      </pc:sldChg>
      <pc:sldChg chg="modSp mod ord modClrScheme addCm modCm chgLayout">
        <pc:chgData name="VANEENOGE Camille" userId="6e7f4196-225c-4d88-a65f-4b95462c5fbf" providerId="ADAL" clId="{E5184C5F-F791-4D50-A591-6B1498651246}" dt="2023-12-28T15:33:18.396" v="313"/>
        <pc:sldMkLst>
          <pc:docMk/>
          <pc:sldMk cId="1956832423" sldId="2147481992"/>
        </pc:sldMkLst>
      </pc:sldChg>
      <pc:sldChg chg="modSp mod ord modClrScheme chgLayout">
        <pc:chgData name="VANEENOGE Camille" userId="6e7f4196-225c-4d88-a65f-4b95462c5fbf" providerId="ADAL" clId="{E5184C5F-F791-4D50-A591-6B1498651246}" dt="2023-12-28T10:54:30.908" v="196" actId="700"/>
        <pc:sldMkLst>
          <pc:docMk/>
          <pc:sldMk cId="1441249587" sldId="2147481993"/>
        </pc:sldMkLst>
      </pc:sldChg>
      <pc:sldChg chg="modSp mod ord modClrScheme chgLayout">
        <pc:chgData name="VANEENOGE Camille" userId="6e7f4196-225c-4d88-a65f-4b95462c5fbf" providerId="ADAL" clId="{E5184C5F-F791-4D50-A591-6B1498651246}" dt="2023-12-28T10:54:30.908" v="196" actId="700"/>
        <pc:sldMkLst>
          <pc:docMk/>
          <pc:sldMk cId="1519864655" sldId="2147481994"/>
        </pc:sldMkLst>
      </pc:sldChg>
      <pc:sldChg chg="modSp mod modClrScheme chgLayout">
        <pc:chgData name="VANEENOGE Camille" userId="6e7f4196-225c-4d88-a65f-4b95462c5fbf" providerId="ADAL" clId="{E5184C5F-F791-4D50-A591-6B1498651246}" dt="2023-12-28T10:56:04.495" v="206" actId="700"/>
        <pc:sldMkLst>
          <pc:docMk/>
          <pc:sldMk cId="918475442" sldId="2147481995"/>
        </pc:sldMkLst>
      </pc:sldChg>
      <pc:sldChg chg="modSp mod ord modClrScheme chgLayout">
        <pc:chgData name="VANEENOGE Camille" userId="6e7f4196-225c-4d88-a65f-4b95462c5fbf" providerId="ADAL" clId="{E5184C5F-F791-4D50-A591-6B1498651246}" dt="2023-12-28T15:05:47.543" v="288" actId="1076"/>
        <pc:sldMkLst>
          <pc:docMk/>
          <pc:sldMk cId="2459300264" sldId="2147481996"/>
        </pc:sldMkLst>
      </pc:sldChg>
      <pc:sldChg chg="modSp mod ord modClrScheme addCm modCm chgLayout">
        <pc:chgData name="VANEENOGE Camille" userId="6e7f4196-225c-4d88-a65f-4b95462c5fbf" providerId="ADAL" clId="{E5184C5F-F791-4D50-A591-6B1498651246}" dt="2023-12-28T16:19:15.496" v="354" actId="2056"/>
        <pc:sldMkLst>
          <pc:docMk/>
          <pc:sldMk cId="619587472" sldId="2147481997"/>
        </pc:sldMkLst>
      </pc:sldChg>
      <pc:sldMasterChg chg="del delSldLayout">
        <pc:chgData name="VANEENOGE Camille" userId="6e7f4196-225c-4d88-a65f-4b95462c5fbf" providerId="ADAL" clId="{E5184C5F-F791-4D50-A591-6B1498651246}" dt="2023-12-28T10:57:49.974" v="268" actId="2696"/>
        <pc:sldMasterMkLst>
          <pc:docMk/>
          <pc:sldMasterMk cId="4264061012" sldId="2147483660"/>
        </pc:sldMasterMkLst>
        <pc:sldLayoutChg chg="del">
          <pc:chgData name="VANEENOGE Camille" userId="6e7f4196-225c-4d88-a65f-4b95462c5fbf" providerId="ADAL" clId="{E5184C5F-F791-4D50-A591-6B1498651246}" dt="2023-12-28T10:57:49.942" v="262" actId="2696"/>
          <pc:sldLayoutMkLst>
            <pc:docMk/>
            <pc:sldMasterMk cId="4264061012" sldId="2147483660"/>
            <pc:sldLayoutMk cId="1898613150" sldId="2147483661"/>
          </pc:sldLayoutMkLst>
        </pc:sldLayoutChg>
        <pc:sldLayoutChg chg="del">
          <pc:chgData name="VANEENOGE Camille" userId="6e7f4196-225c-4d88-a65f-4b95462c5fbf" providerId="ADAL" clId="{E5184C5F-F791-4D50-A591-6B1498651246}" dt="2023-12-28T10:57:49.958" v="263" actId="2696"/>
          <pc:sldLayoutMkLst>
            <pc:docMk/>
            <pc:sldMasterMk cId="4264061012" sldId="2147483660"/>
            <pc:sldLayoutMk cId="3650507965" sldId="2147483662"/>
          </pc:sldLayoutMkLst>
        </pc:sldLayoutChg>
        <pc:sldLayoutChg chg="del">
          <pc:chgData name="VANEENOGE Camille" userId="6e7f4196-225c-4d88-a65f-4b95462c5fbf" providerId="ADAL" clId="{E5184C5F-F791-4D50-A591-6B1498651246}" dt="2023-12-28T10:57:49.974" v="264" actId="2696"/>
          <pc:sldLayoutMkLst>
            <pc:docMk/>
            <pc:sldMasterMk cId="4264061012" sldId="2147483660"/>
            <pc:sldLayoutMk cId="3481183945" sldId="2147483663"/>
          </pc:sldLayoutMkLst>
        </pc:sldLayoutChg>
        <pc:sldLayoutChg chg="del">
          <pc:chgData name="VANEENOGE Camille" userId="6e7f4196-225c-4d88-a65f-4b95462c5fbf" providerId="ADAL" clId="{E5184C5F-F791-4D50-A591-6B1498651246}" dt="2023-12-28T10:57:49.974" v="266" actId="2696"/>
          <pc:sldLayoutMkLst>
            <pc:docMk/>
            <pc:sldMasterMk cId="4264061012" sldId="2147483660"/>
            <pc:sldLayoutMk cId="2939281924" sldId="2147483667"/>
          </pc:sldLayoutMkLst>
        </pc:sldLayoutChg>
        <pc:sldLayoutChg chg="del">
          <pc:chgData name="VANEENOGE Camille" userId="6e7f4196-225c-4d88-a65f-4b95462c5fbf" providerId="ADAL" clId="{E5184C5F-F791-4D50-A591-6B1498651246}" dt="2023-12-28T10:57:49.974" v="267" actId="2696"/>
          <pc:sldLayoutMkLst>
            <pc:docMk/>
            <pc:sldMasterMk cId="4264061012" sldId="2147483660"/>
            <pc:sldLayoutMk cId="426124576" sldId="2147483673"/>
          </pc:sldLayoutMkLst>
        </pc:sldLayoutChg>
        <pc:sldLayoutChg chg="del">
          <pc:chgData name="VANEENOGE Camille" userId="6e7f4196-225c-4d88-a65f-4b95462c5fbf" providerId="ADAL" clId="{E5184C5F-F791-4D50-A591-6B1498651246}" dt="2023-12-28T10:57:49.974" v="265" actId="2696"/>
          <pc:sldLayoutMkLst>
            <pc:docMk/>
            <pc:sldMasterMk cId="4264061012" sldId="2147483660"/>
            <pc:sldLayoutMk cId="3097334626" sldId="2147483677"/>
          </pc:sldLayoutMkLst>
        </pc:sldLayoutChg>
      </pc:sldMasterChg>
      <pc:sldMasterChg chg="del delSldLayout">
        <pc:chgData name="VANEENOGE Camille" userId="6e7f4196-225c-4d88-a65f-4b95462c5fbf" providerId="ADAL" clId="{E5184C5F-F791-4D50-A591-6B1498651246}" dt="2023-12-28T10:57:55.839" v="270" actId="2696"/>
        <pc:sldMasterMkLst>
          <pc:docMk/>
          <pc:sldMasterMk cId="2500260974" sldId="2147483678"/>
        </pc:sldMasterMkLst>
        <pc:sldLayoutChg chg="del">
          <pc:chgData name="VANEENOGE Camille" userId="6e7f4196-225c-4d88-a65f-4b95462c5fbf" providerId="ADAL" clId="{E5184C5F-F791-4D50-A591-6B1498651246}" dt="2023-12-28T10:57:55.839" v="269" actId="2696"/>
          <pc:sldLayoutMkLst>
            <pc:docMk/>
            <pc:sldMasterMk cId="2500260974" sldId="2147483678"/>
            <pc:sldLayoutMk cId="4251260444" sldId="2147483692"/>
          </pc:sldLayoutMkLst>
        </pc:sldLayoutChg>
      </pc:sldMasterChg>
      <pc:sldMasterChg chg="del delSldLayout">
        <pc:chgData name="VANEENOGE Camille" userId="6e7f4196-225c-4d88-a65f-4b95462c5fbf" providerId="ADAL" clId="{E5184C5F-F791-4D50-A591-6B1498651246}" dt="2023-12-28T10:57:27.843" v="229" actId="2696"/>
        <pc:sldMasterMkLst>
          <pc:docMk/>
          <pc:sldMasterMk cId="477976261" sldId="2147483693"/>
        </pc:sldMasterMkLst>
        <pc:sldLayoutChg chg="del">
          <pc:chgData name="VANEENOGE Camille" userId="6e7f4196-225c-4d88-a65f-4b95462c5fbf" providerId="ADAL" clId="{E5184C5F-F791-4D50-A591-6B1498651246}" dt="2023-12-28T10:57:27.769" v="214" actId="2696"/>
          <pc:sldLayoutMkLst>
            <pc:docMk/>
            <pc:sldMasterMk cId="477976261" sldId="2147483693"/>
            <pc:sldLayoutMk cId="3173908096" sldId="2147483694"/>
          </pc:sldLayoutMkLst>
        </pc:sldLayoutChg>
        <pc:sldLayoutChg chg="del">
          <pc:chgData name="VANEENOGE Camille" userId="6e7f4196-225c-4d88-a65f-4b95462c5fbf" providerId="ADAL" clId="{E5184C5F-F791-4D50-A591-6B1498651246}" dt="2023-12-28T10:57:27.769" v="215" actId="2696"/>
          <pc:sldLayoutMkLst>
            <pc:docMk/>
            <pc:sldMasterMk cId="477976261" sldId="2147483693"/>
            <pc:sldLayoutMk cId="1630772403" sldId="2147483695"/>
          </pc:sldLayoutMkLst>
        </pc:sldLayoutChg>
        <pc:sldLayoutChg chg="del">
          <pc:chgData name="VANEENOGE Camille" userId="6e7f4196-225c-4d88-a65f-4b95462c5fbf" providerId="ADAL" clId="{E5184C5F-F791-4D50-A591-6B1498651246}" dt="2023-12-28T10:57:27.769" v="216" actId="2696"/>
          <pc:sldLayoutMkLst>
            <pc:docMk/>
            <pc:sldMasterMk cId="477976261" sldId="2147483693"/>
            <pc:sldLayoutMk cId="388669323" sldId="2147483696"/>
          </pc:sldLayoutMkLst>
        </pc:sldLayoutChg>
        <pc:sldLayoutChg chg="del">
          <pc:chgData name="VANEENOGE Camille" userId="6e7f4196-225c-4d88-a65f-4b95462c5fbf" providerId="ADAL" clId="{E5184C5F-F791-4D50-A591-6B1498651246}" dt="2023-12-28T10:57:27.785" v="217" actId="2696"/>
          <pc:sldLayoutMkLst>
            <pc:docMk/>
            <pc:sldMasterMk cId="477976261" sldId="2147483693"/>
            <pc:sldLayoutMk cId="3360260218" sldId="2147483697"/>
          </pc:sldLayoutMkLst>
        </pc:sldLayoutChg>
        <pc:sldLayoutChg chg="del">
          <pc:chgData name="VANEENOGE Camille" userId="6e7f4196-225c-4d88-a65f-4b95462c5fbf" providerId="ADAL" clId="{E5184C5F-F791-4D50-A591-6B1498651246}" dt="2023-12-28T10:57:27.785" v="218" actId="2696"/>
          <pc:sldLayoutMkLst>
            <pc:docMk/>
            <pc:sldMasterMk cId="477976261" sldId="2147483693"/>
            <pc:sldLayoutMk cId="3250913446" sldId="2147483698"/>
          </pc:sldLayoutMkLst>
        </pc:sldLayoutChg>
        <pc:sldLayoutChg chg="del">
          <pc:chgData name="VANEENOGE Camille" userId="6e7f4196-225c-4d88-a65f-4b95462c5fbf" providerId="ADAL" clId="{E5184C5F-F791-4D50-A591-6B1498651246}" dt="2023-12-28T10:57:27.785" v="219" actId="2696"/>
          <pc:sldLayoutMkLst>
            <pc:docMk/>
            <pc:sldMasterMk cId="477976261" sldId="2147483693"/>
            <pc:sldLayoutMk cId="3173859810" sldId="2147483699"/>
          </pc:sldLayoutMkLst>
        </pc:sldLayoutChg>
        <pc:sldLayoutChg chg="del">
          <pc:chgData name="VANEENOGE Camille" userId="6e7f4196-225c-4d88-a65f-4b95462c5fbf" providerId="ADAL" clId="{E5184C5F-F791-4D50-A591-6B1498651246}" dt="2023-12-28T10:57:27.785" v="220" actId="2696"/>
          <pc:sldLayoutMkLst>
            <pc:docMk/>
            <pc:sldMasterMk cId="477976261" sldId="2147483693"/>
            <pc:sldLayoutMk cId="2285178864" sldId="2147483700"/>
          </pc:sldLayoutMkLst>
        </pc:sldLayoutChg>
        <pc:sldLayoutChg chg="del">
          <pc:chgData name="VANEENOGE Camille" userId="6e7f4196-225c-4d88-a65f-4b95462c5fbf" providerId="ADAL" clId="{E5184C5F-F791-4D50-A591-6B1498651246}" dt="2023-12-28T10:57:27.795" v="221" actId="2696"/>
          <pc:sldLayoutMkLst>
            <pc:docMk/>
            <pc:sldMasterMk cId="477976261" sldId="2147483693"/>
            <pc:sldLayoutMk cId="1235516949" sldId="2147483701"/>
          </pc:sldLayoutMkLst>
        </pc:sldLayoutChg>
        <pc:sldLayoutChg chg="del">
          <pc:chgData name="VANEENOGE Camille" userId="6e7f4196-225c-4d88-a65f-4b95462c5fbf" providerId="ADAL" clId="{E5184C5F-F791-4D50-A591-6B1498651246}" dt="2023-12-28T10:57:27.795" v="222" actId="2696"/>
          <pc:sldLayoutMkLst>
            <pc:docMk/>
            <pc:sldMasterMk cId="477976261" sldId="2147483693"/>
            <pc:sldLayoutMk cId="2763694412" sldId="2147483702"/>
          </pc:sldLayoutMkLst>
        </pc:sldLayoutChg>
        <pc:sldLayoutChg chg="del">
          <pc:chgData name="VANEENOGE Camille" userId="6e7f4196-225c-4d88-a65f-4b95462c5fbf" providerId="ADAL" clId="{E5184C5F-F791-4D50-A591-6B1498651246}" dt="2023-12-28T10:57:27.795" v="223" actId="2696"/>
          <pc:sldLayoutMkLst>
            <pc:docMk/>
            <pc:sldMasterMk cId="477976261" sldId="2147483693"/>
            <pc:sldLayoutMk cId="2847191318" sldId="2147483703"/>
          </pc:sldLayoutMkLst>
        </pc:sldLayoutChg>
        <pc:sldLayoutChg chg="del">
          <pc:chgData name="VANEENOGE Camille" userId="6e7f4196-225c-4d88-a65f-4b95462c5fbf" providerId="ADAL" clId="{E5184C5F-F791-4D50-A591-6B1498651246}" dt="2023-12-28T10:57:27.795" v="224" actId="2696"/>
          <pc:sldLayoutMkLst>
            <pc:docMk/>
            <pc:sldMasterMk cId="477976261" sldId="2147483693"/>
            <pc:sldLayoutMk cId="2194900661" sldId="2147483704"/>
          </pc:sldLayoutMkLst>
        </pc:sldLayoutChg>
        <pc:sldLayoutChg chg="del">
          <pc:chgData name="VANEENOGE Camille" userId="6e7f4196-225c-4d88-a65f-4b95462c5fbf" providerId="ADAL" clId="{E5184C5F-F791-4D50-A591-6B1498651246}" dt="2023-12-28T10:57:27.795" v="225" actId="2696"/>
          <pc:sldLayoutMkLst>
            <pc:docMk/>
            <pc:sldMasterMk cId="477976261" sldId="2147483693"/>
            <pc:sldLayoutMk cId="1086817458" sldId="2147483705"/>
          </pc:sldLayoutMkLst>
        </pc:sldLayoutChg>
        <pc:sldLayoutChg chg="del">
          <pc:chgData name="VANEENOGE Camille" userId="6e7f4196-225c-4d88-a65f-4b95462c5fbf" providerId="ADAL" clId="{E5184C5F-F791-4D50-A591-6B1498651246}" dt="2023-12-28T10:49:30.553" v="149" actId="47"/>
          <pc:sldLayoutMkLst>
            <pc:docMk/>
            <pc:sldMasterMk cId="477976261" sldId="2147483693"/>
            <pc:sldLayoutMk cId="3999884531" sldId="2147483706"/>
          </pc:sldLayoutMkLst>
        </pc:sldLayoutChg>
        <pc:sldLayoutChg chg="del">
          <pc:chgData name="VANEENOGE Camille" userId="6e7f4196-225c-4d88-a65f-4b95462c5fbf" providerId="ADAL" clId="{E5184C5F-F791-4D50-A591-6B1498651246}" dt="2023-12-28T10:57:27.811" v="226" actId="2696"/>
          <pc:sldLayoutMkLst>
            <pc:docMk/>
            <pc:sldMasterMk cId="477976261" sldId="2147483693"/>
            <pc:sldLayoutMk cId="3563512117" sldId="2147483707"/>
          </pc:sldLayoutMkLst>
        </pc:sldLayoutChg>
        <pc:sldLayoutChg chg="del">
          <pc:chgData name="VANEENOGE Camille" userId="6e7f4196-225c-4d88-a65f-4b95462c5fbf" providerId="ADAL" clId="{E5184C5F-F791-4D50-A591-6B1498651246}" dt="2023-12-28T10:57:27.827" v="227" actId="2696"/>
          <pc:sldLayoutMkLst>
            <pc:docMk/>
            <pc:sldMasterMk cId="477976261" sldId="2147483693"/>
            <pc:sldLayoutMk cId="3895360279" sldId="2147483708"/>
          </pc:sldLayoutMkLst>
        </pc:sldLayoutChg>
        <pc:sldLayoutChg chg="del">
          <pc:chgData name="VANEENOGE Camille" userId="6e7f4196-225c-4d88-a65f-4b95462c5fbf" providerId="ADAL" clId="{E5184C5F-F791-4D50-A591-6B1498651246}" dt="2023-12-28T10:57:27.843" v="228" actId="2696"/>
          <pc:sldLayoutMkLst>
            <pc:docMk/>
            <pc:sldMasterMk cId="477976261" sldId="2147483693"/>
            <pc:sldLayoutMk cId="2805819711" sldId="2147483709"/>
          </pc:sldLayoutMkLst>
        </pc:sldLayoutChg>
      </pc:sldMasterChg>
      <pc:sldMasterChg chg="del delSldLayout">
        <pc:chgData name="VANEENOGE Camille" userId="6e7f4196-225c-4d88-a65f-4b95462c5fbf" providerId="ADAL" clId="{E5184C5F-F791-4D50-A591-6B1498651246}" dt="2023-12-28T10:57:33.155" v="246" actId="2696"/>
        <pc:sldMasterMkLst>
          <pc:docMk/>
          <pc:sldMasterMk cId="3434663049" sldId="2147483710"/>
        </pc:sldMasterMkLst>
        <pc:sldLayoutChg chg="del">
          <pc:chgData name="VANEENOGE Camille" userId="6e7f4196-225c-4d88-a65f-4b95462c5fbf" providerId="ADAL" clId="{E5184C5F-F791-4D50-A591-6B1498651246}" dt="2023-12-28T10:57:33.107" v="230" actId="2696"/>
          <pc:sldLayoutMkLst>
            <pc:docMk/>
            <pc:sldMasterMk cId="3434663049" sldId="2147483710"/>
            <pc:sldLayoutMk cId="3403687229" sldId="2147483711"/>
          </pc:sldLayoutMkLst>
        </pc:sldLayoutChg>
        <pc:sldLayoutChg chg="del">
          <pc:chgData name="VANEENOGE Camille" userId="6e7f4196-225c-4d88-a65f-4b95462c5fbf" providerId="ADAL" clId="{E5184C5F-F791-4D50-A591-6B1498651246}" dt="2023-12-28T10:57:33.107" v="231" actId="2696"/>
          <pc:sldLayoutMkLst>
            <pc:docMk/>
            <pc:sldMasterMk cId="3434663049" sldId="2147483710"/>
            <pc:sldLayoutMk cId="524081355" sldId="2147483712"/>
          </pc:sldLayoutMkLst>
        </pc:sldLayoutChg>
        <pc:sldLayoutChg chg="del">
          <pc:chgData name="VANEENOGE Camille" userId="6e7f4196-225c-4d88-a65f-4b95462c5fbf" providerId="ADAL" clId="{E5184C5F-F791-4D50-A591-6B1498651246}" dt="2023-12-28T10:57:33.107" v="232" actId="2696"/>
          <pc:sldLayoutMkLst>
            <pc:docMk/>
            <pc:sldMasterMk cId="3434663049" sldId="2147483710"/>
            <pc:sldLayoutMk cId="837802598" sldId="2147483713"/>
          </pc:sldLayoutMkLst>
        </pc:sldLayoutChg>
        <pc:sldLayoutChg chg="del">
          <pc:chgData name="VANEENOGE Camille" userId="6e7f4196-225c-4d88-a65f-4b95462c5fbf" providerId="ADAL" clId="{E5184C5F-F791-4D50-A591-6B1498651246}" dt="2023-12-28T10:57:33.107" v="233" actId="2696"/>
          <pc:sldLayoutMkLst>
            <pc:docMk/>
            <pc:sldMasterMk cId="3434663049" sldId="2147483710"/>
            <pc:sldLayoutMk cId="318162438" sldId="2147483714"/>
          </pc:sldLayoutMkLst>
        </pc:sldLayoutChg>
        <pc:sldLayoutChg chg="del">
          <pc:chgData name="VANEENOGE Camille" userId="6e7f4196-225c-4d88-a65f-4b95462c5fbf" providerId="ADAL" clId="{E5184C5F-F791-4D50-A591-6B1498651246}" dt="2023-12-28T10:57:33.123" v="234" actId="2696"/>
          <pc:sldLayoutMkLst>
            <pc:docMk/>
            <pc:sldMasterMk cId="3434663049" sldId="2147483710"/>
            <pc:sldLayoutMk cId="46294297" sldId="2147483715"/>
          </pc:sldLayoutMkLst>
        </pc:sldLayoutChg>
        <pc:sldLayoutChg chg="del">
          <pc:chgData name="VANEENOGE Camille" userId="6e7f4196-225c-4d88-a65f-4b95462c5fbf" providerId="ADAL" clId="{E5184C5F-F791-4D50-A591-6B1498651246}" dt="2023-12-28T10:57:33.123" v="235" actId="2696"/>
          <pc:sldLayoutMkLst>
            <pc:docMk/>
            <pc:sldMasterMk cId="3434663049" sldId="2147483710"/>
            <pc:sldLayoutMk cId="234165598" sldId="2147483716"/>
          </pc:sldLayoutMkLst>
        </pc:sldLayoutChg>
        <pc:sldLayoutChg chg="del">
          <pc:chgData name="VANEENOGE Camille" userId="6e7f4196-225c-4d88-a65f-4b95462c5fbf" providerId="ADAL" clId="{E5184C5F-F791-4D50-A591-6B1498651246}" dt="2023-12-28T10:57:33.123" v="236" actId="2696"/>
          <pc:sldLayoutMkLst>
            <pc:docMk/>
            <pc:sldMasterMk cId="3434663049" sldId="2147483710"/>
            <pc:sldLayoutMk cId="3405213988" sldId="2147483717"/>
          </pc:sldLayoutMkLst>
        </pc:sldLayoutChg>
        <pc:sldLayoutChg chg="del">
          <pc:chgData name="VANEENOGE Camille" userId="6e7f4196-225c-4d88-a65f-4b95462c5fbf" providerId="ADAL" clId="{E5184C5F-F791-4D50-A591-6B1498651246}" dt="2023-12-28T10:57:33.123" v="237" actId="2696"/>
          <pc:sldLayoutMkLst>
            <pc:docMk/>
            <pc:sldMasterMk cId="3434663049" sldId="2147483710"/>
            <pc:sldLayoutMk cId="2420152457" sldId="2147483718"/>
          </pc:sldLayoutMkLst>
        </pc:sldLayoutChg>
        <pc:sldLayoutChg chg="del">
          <pc:chgData name="VANEENOGE Camille" userId="6e7f4196-225c-4d88-a65f-4b95462c5fbf" providerId="ADAL" clId="{E5184C5F-F791-4D50-A591-6B1498651246}" dt="2023-12-28T10:57:33.123" v="238" actId="2696"/>
          <pc:sldLayoutMkLst>
            <pc:docMk/>
            <pc:sldMasterMk cId="3434663049" sldId="2147483710"/>
            <pc:sldLayoutMk cId="849366644" sldId="2147483719"/>
          </pc:sldLayoutMkLst>
        </pc:sldLayoutChg>
        <pc:sldLayoutChg chg="del">
          <pc:chgData name="VANEENOGE Camille" userId="6e7f4196-225c-4d88-a65f-4b95462c5fbf" providerId="ADAL" clId="{E5184C5F-F791-4D50-A591-6B1498651246}" dt="2023-12-28T10:57:33.139" v="239" actId="2696"/>
          <pc:sldLayoutMkLst>
            <pc:docMk/>
            <pc:sldMasterMk cId="3434663049" sldId="2147483710"/>
            <pc:sldLayoutMk cId="1726261790" sldId="2147483720"/>
          </pc:sldLayoutMkLst>
        </pc:sldLayoutChg>
        <pc:sldLayoutChg chg="del">
          <pc:chgData name="VANEENOGE Camille" userId="6e7f4196-225c-4d88-a65f-4b95462c5fbf" providerId="ADAL" clId="{E5184C5F-F791-4D50-A591-6B1498651246}" dt="2023-12-28T10:57:33.139" v="240" actId="2696"/>
          <pc:sldLayoutMkLst>
            <pc:docMk/>
            <pc:sldMasterMk cId="3434663049" sldId="2147483710"/>
            <pc:sldLayoutMk cId="1353845911" sldId="2147483721"/>
          </pc:sldLayoutMkLst>
        </pc:sldLayoutChg>
        <pc:sldLayoutChg chg="del">
          <pc:chgData name="VANEENOGE Camille" userId="6e7f4196-225c-4d88-a65f-4b95462c5fbf" providerId="ADAL" clId="{E5184C5F-F791-4D50-A591-6B1498651246}" dt="2023-12-28T10:57:33.139" v="241" actId="2696"/>
          <pc:sldLayoutMkLst>
            <pc:docMk/>
            <pc:sldMasterMk cId="3434663049" sldId="2147483710"/>
            <pc:sldLayoutMk cId="1051716084" sldId="2147483722"/>
          </pc:sldLayoutMkLst>
        </pc:sldLayoutChg>
        <pc:sldLayoutChg chg="del">
          <pc:chgData name="VANEENOGE Camille" userId="6e7f4196-225c-4d88-a65f-4b95462c5fbf" providerId="ADAL" clId="{E5184C5F-F791-4D50-A591-6B1498651246}" dt="2023-12-28T10:57:33.139" v="242" actId="2696"/>
          <pc:sldLayoutMkLst>
            <pc:docMk/>
            <pc:sldMasterMk cId="3434663049" sldId="2147483710"/>
            <pc:sldLayoutMk cId="683132761" sldId="2147483723"/>
          </pc:sldLayoutMkLst>
        </pc:sldLayoutChg>
        <pc:sldLayoutChg chg="del">
          <pc:chgData name="VANEENOGE Camille" userId="6e7f4196-225c-4d88-a65f-4b95462c5fbf" providerId="ADAL" clId="{E5184C5F-F791-4D50-A591-6B1498651246}" dt="2023-12-28T10:57:33.139" v="243" actId="2696"/>
          <pc:sldLayoutMkLst>
            <pc:docMk/>
            <pc:sldMasterMk cId="3434663049" sldId="2147483710"/>
            <pc:sldLayoutMk cId="2291432830" sldId="2147483724"/>
          </pc:sldLayoutMkLst>
        </pc:sldLayoutChg>
        <pc:sldLayoutChg chg="del">
          <pc:chgData name="VANEENOGE Camille" userId="6e7f4196-225c-4d88-a65f-4b95462c5fbf" providerId="ADAL" clId="{E5184C5F-F791-4D50-A591-6B1498651246}" dt="2023-12-28T10:57:33.139" v="244" actId="2696"/>
          <pc:sldLayoutMkLst>
            <pc:docMk/>
            <pc:sldMasterMk cId="3434663049" sldId="2147483710"/>
            <pc:sldLayoutMk cId="523292305" sldId="2147483725"/>
          </pc:sldLayoutMkLst>
        </pc:sldLayoutChg>
        <pc:sldLayoutChg chg="del">
          <pc:chgData name="VANEENOGE Camille" userId="6e7f4196-225c-4d88-a65f-4b95462c5fbf" providerId="ADAL" clId="{E5184C5F-F791-4D50-A591-6B1498651246}" dt="2023-12-28T10:57:33.155" v="245" actId="2696"/>
          <pc:sldLayoutMkLst>
            <pc:docMk/>
            <pc:sldMasterMk cId="3434663049" sldId="2147483710"/>
            <pc:sldLayoutMk cId="1924068587" sldId="2147483741"/>
          </pc:sldLayoutMkLst>
        </pc:sldLayoutChg>
      </pc:sldMasterChg>
      <pc:sldMasterChg chg="del delSldLayout">
        <pc:chgData name="VANEENOGE Camille" userId="6e7f4196-225c-4d88-a65f-4b95462c5fbf" providerId="ADAL" clId="{E5184C5F-F791-4D50-A591-6B1498651246}" dt="2023-12-28T10:57:37.348" v="261" actId="2696"/>
        <pc:sldMasterMkLst>
          <pc:docMk/>
          <pc:sldMasterMk cId="673654927" sldId="2147483726"/>
        </pc:sldMasterMkLst>
        <pc:sldLayoutChg chg="del">
          <pc:chgData name="VANEENOGE Camille" userId="6e7f4196-225c-4d88-a65f-4b95462c5fbf" providerId="ADAL" clId="{E5184C5F-F791-4D50-A591-6B1498651246}" dt="2023-12-28T10:57:37.316" v="247" actId="2696"/>
          <pc:sldLayoutMkLst>
            <pc:docMk/>
            <pc:sldMasterMk cId="673654927" sldId="2147483726"/>
            <pc:sldLayoutMk cId="3158763729" sldId="2147483727"/>
          </pc:sldLayoutMkLst>
        </pc:sldLayoutChg>
        <pc:sldLayoutChg chg="del">
          <pc:chgData name="VANEENOGE Camille" userId="6e7f4196-225c-4d88-a65f-4b95462c5fbf" providerId="ADAL" clId="{E5184C5F-F791-4D50-A591-6B1498651246}" dt="2023-12-28T10:57:37.316" v="248" actId="2696"/>
          <pc:sldLayoutMkLst>
            <pc:docMk/>
            <pc:sldMasterMk cId="673654927" sldId="2147483726"/>
            <pc:sldLayoutMk cId="2623063743" sldId="2147483728"/>
          </pc:sldLayoutMkLst>
        </pc:sldLayoutChg>
        <pc:sldLayoutChg chg="del">
          <pc:chgData name="VANEENOGE Camille" userId="6e7f4196-225c-4d88-a65f-4b95462c5fbf" providerId="ADAL" clId="{E5184C5F-F791-4D50-A591-6B1498651246}" dt="2023-12-28T10:57:37.316" v="249" actId="2696"/>
          <pc:sldLayoutMkLst>
            <pc:docMk/>
            <pc:sldMasterMk cId="673654927" sldId="2147483726"/>
            <pc:sldLayoutMk cId="2480546161" sldId="2147483729"/>
          </pc:sldLayoutMkLst>
        </pc:sldLayoutChg>
        <pc:sldLayoutChg chg="del">
          <pc:chgData name="VANEENOGE Camille" userId="6e7f4196-225c-4d88-a65f-4b95462c5fbf" providerId="ADAL" clId="{E5184C5F-F791-4D50-A591-6B1498651246}" dt="2023-12-28T10:57:37.316" v="250" actId="2696"/>
          <pc:sldLayoutMkLst>
            <pc:docMk/>
            <pc:sldMasterMk cId="673654927" sldId="2147483726"/>
            <pc:sldLayoutMk cId="1578993083" sldId="2147483730"/>
          </pc:sldLayoutMkLst>
        </pc:sldLayoutChg>
        <pc:sldLayoutChg chg="del">
          <pc:chgData name="VANEENOGE Camille" userId="6e7f4196-225c-4d88-a65f-4b95462c5fbf" providerId="ADAL" clId="{E5184C5F-F791-4D50-A591-6B1498651246}" dt="2023-12-28T10:57:37.316" v="251" actId="2696"/>
          <pc:sldLayoutMkLst>
            <pc:docMk/>
            <pc:sldMasterMk cId="673654927" sldId="2147483726"/>
            <pc:sldLayoutMk cId="1608820301" sldId="2147483731"/>
          </pc:sldLayoutMkLst>
        </pc:sldLayoutChg>
        <pc:sldLayoutChg chg="del">
          <pc:chgData name="VANEENOGE Camille" userId="6e7f4196-225c-4d88-a65f-4b95462c5fbf" providerId="ADAL" clId="{E5184C5F-F791-4D50-A591-6B1498651246}" dt="2023-12-28T10:57:37.333" v="252" actId="2696"/>
          <pc:sldLayoutMkLst>
            <pc:docMk/>
            <pc:sldMasterMk cId="673654927" sldId="2147483726"/>
            <pc:sldLayoutMk cId="49262620" sldId="2147483732"/>
          </pc:sldLayoutMkLst>
        </pc:sldLayoutChg>
        <pc:sldLayoutChg chg="del">
          <pc:chgData name="VANEENOGE Camille" userId="6e7f4196-225c-4d88-a65f-4b95462c5fbf" providerId="ADAL" clId="{E5184C5F-F791-4D50-A591-6B1498651246}" dt="2023-12-28T10:57:37.333" v="253" actId="2696"/>
          <pc:sldLayoutMkLst>
            <pc:docMk/>
            <pc:sldMasterMk cId="673654927" sldId="2147483726"/>
            <pc:sldLayoutMk cId="1867773621" sldId="2147483733"/>
          </pc:sldLayoutMkLst>
        </pc:sldLayoutChg>
        <pc:sldLayoutChg chg="del">
          <pc:chgData name="VANEENOGE Camille" userId="6e7f4196-225c-4d88-a65f-4b95462c5fbf" providerId="ADAL" clId="{E5184C5F-F791-4D50-A591-6B1498651246}" dt="2023-12-28T10:57:37.333" v="254" actId="2696"/>
          <pc:sldLayoutMkLst>
            <pc:docMk/>
            <pc:sldMasterMk cId="673654927" sldId="2147483726"/>
            <pc:sldLayoutMk cId="938391768" sldId="2147483734"/>
          </pc:sldLayoutMkLst>
        </pc:sldLayoutChg>
        <pc:sldLayoutChg chg="del">
          <pc:chgData name="VANEENOGE Camille" userId="6e7f4196-225c-4d88-a65f-4b95462c5fbf" providerId="ADAL" clId="{E5184C5F-F791-4D50-A591-6B1498651246}" dt="2023-12-28T10:57:37.333" v="255" actId="2696"/>
          <pc:sldLayoutMkLst>
            <pc:docMk/>
            <pc:sldMasterMk cId="673654927" sldId="2147483726"/>
            <pc:sldLayoutMk cId="3280368616" sldId="2147483735"/>
          </pc:sldLayoutMkLst>
        </pc:sldLayoutChg>
        <pc:sldLayoutChg chg="del">
          <pc:chgData name="VANEENOGE Camille" userId="6e7f4196-225c-4d88-a65f-4b95462c5fbf" providerId="ADAL" clId="{E5184C5F-F791-4D50-A591-6B1498651246}" dt="2023-12-28T10:57:37.333" v="256" actId="2696"/>
          <pc:sldLayoutMkLst>
            <pc:docMk/>
            <pc:sldMasterMk cId="673654927" sldId="2147483726"/>
            <pc:sldLayoutMk cId="632571819" sldId="2147483736"/>
          </pc:sldLayoutMkLst>
        </pc:sldLayoutChg>
        <pc:sldLayoutChg chg="del">
          <pc:chgData name="VANEENOGE Camille" userId="6e7f4196-225c-4d88-a65f-4b95462c5fbf" providerId="ADAL" clId="{E5184C5F-F791-4D50-A591-6B1498651246}" dt="2023-12-28T10:57:37.348" v="257" actId="2696"/>
          <pc:sldLayoutMkLst>
            <pc:docMk/>
            <pc:sldMasterMk cId="673654927" sldId="2147483726"/>
            <pc:sldLayoutMk cId="1923385820" sldId="2147483737"/>
          </pc:sldLayoutMkLst>
        </pc:sldLayoutChg>
        <pc:sldLayoutChg chg="del">
          <pc:chgData name="VANEENOGE Camille" userId="6e7f4196-225c-4d88-a65f-4b95462c5fbf" providerId="ADAL" clId="{E5184C5F-F791-4D50-A591-6B1498651246}" dt="2023-12-28T10:57:37.348" v="258" actId="2696"/>
          <pc:sldLayoutMkLst>
            <pc:docMk/>
            <pc:sldMasterMk cId="673654927" sldId="2147483726"/>
            <pc:sldLayoutMk cId="1094578946" sldId="2147483738"/>
          </pc:sldLayoutMkLst>
        </pc:sldLayoutChg>
        <pc:sldLayoutChg chg="del">
          <pc:chgData name="VANEENOGE Camille" userId="6e7f4196-225c-4d88-a65f-4b95462c5fbf" providerId="ADAL" clId="{E5184C5F-F791-4D50-A591-6B1498651246}" dt="2023-12-28T10:57:37.348" v="259" actId="2696"/>
          <pc:sldLayoutMkLst>
            <pc:docMk/>
            <pc:sldMasterMk cId="673654927" sldId="2147483726"/>
            <pc:sldLayoutMk cId="898603863" sldId="2147483739"/>
          </pc:sldLayoutMkLst>
        </pc:sldLayoutChg>
        <pc:sldLayoutChg chg="del">
          <pc:chgData name="VANEENOGE Camille" userId="6e7f4196-225c-4d88-a65f-4b95462c5fbf" providerId="ADAL" clId="{E5184C5F-F791-4D50-A591-6B1498651246}" dt="2023-12-28T10:57:37.348" v="260" actId="2696"/>
          <pc:sldLayoutMkLst>
            <pc:docMk/>
            <pc:sldMasterMk cId="673654927" sldId="2147483726"/>
            <pc:sldLayoutMk cId="4270093489" sldId="2147483740"/>
          </pc:sldLayoutMkLst>
        </pc:sldLayoutChg>
      </pc:sldMasterChg>
      <pc:sldMasterChg chg="delSldLayout">
        <pc:chgData name="VANEENOGE Camille" userId="6e7f4196-225c-4d88-a65f-4b95462c5fbf" providerId="ADAL" clId="{E5184C5F-F791-4D50-A591-6B1498651246}" dt="2023-12-28T10:58:04.189" v="271" actId="2696"/>
        <pc:sldMasterMkLst>
          <pc:docMk/>
          <pc:sldMasterMk cId="336541964" sldId="2147483758"/>
        </pc:sldMasterMkLst>
        <pc:sldLayoutChg chg="del">
          <pc:chgData name="VANEENOGE Camille" userId="6e7f4196-225c-4d88-a65f-4b95462c5fbf" providerId="ADAL" clId="{E5184C5F-F791-4D50-A591-6B1498651246}" dt="2023-12-28T10:58:04.189" v="271" actId="2696"/>
          <pc:sldLayoutMkLst>
            <pc:docMk/>
            <pc:sldMasterMk cId="336541964" sldId="2147483758"/>
            <pc:sldLayoutMk cId="3416775264" sldId="2147483758"/>
          </pc:sldLayoutMkLst>
        </pc:sldLayoutChg>
      </pc:sldMasterChg>
    </pc:docChg>
  </pc:docChgLst>
  <pc:docChgLst>
    <pc:chgData name="Stéphanie Chatagner" userId="43a90851-419b-46ca-ab03-9ac21f8b019f" providerId="ADAL" clId="{F36C8424-3F5D-4086-A81B-5217FA83A057}"/>
    <pc:docChg chg="undo redo custSel addSld delSld modSld sldOrd modSection">
      <pc:chgData name="Stéphanie Chatagner" userId="43a90851-419b-46ca-ab03-9ac21f8b019f" providerId="ADAL" clId="{F36C8424-3F5D-4086-A81B-5217FA83A057}" dt="2023-01-10T11:52:47.246" v="2610" actId="1037"/>
      <pc:docMkLst>
        <pc:docMk/>
      </pc:docMkLst>
      <pc:sldChg chg="addSp modSp">
        <pc:chgData name="Stéphanie Chatagner" userId="43a90851-419b-46ca-ab03-9ac21f8b019f" providerId="ADAL" clId="{F36C8424-3F5D-4086-A81B-5217FA83A057}" dt="2023-01-09T16:32:40.252" v="2537"/>
        <pc:sldMkLst>
          <pc:docMk/>
          <pc:sldMk cId="2972058130" sldId="2147469095"/>
        </pc:sldMkLst>
      </pc:sldChg>
      <pc:sldChg chg="addSp modSp">
        <pc:chgData name="Stéphanie Chatagner" userId="43a90851-419b-46ca-ab03-9ac21f8b019f" providerId="ADAL" clId="{F36C8424-3F5D-4086-A81B-5217FA83A057}" dt="2023-01-09T16:32:41.692" v="2538"/>
        <pc:sldMkLst>
          <pc:docMk/>
          <pc:sldMk cId="3241130360" sldId="2147469112"/>
        </pc:sldMkLst>
      </pc:sldChg>
      <pc:sldChg chg="addSp delSp modSp mod modClrScheme modShow chgLayout">
        <pc:chgData name="Stéphanie Chatagner" userId="43a90851-419b-46ca-ab03-9ac21f8b019f" providerId="ADAL" clId="{F36C8424-3F5D-4086-A81B-5217FA83A057}" dt="2023-01-09T14:35:05.447" v="2313" actId="729"/>
        <pc:sldMkLst>
          <pc:docMk/>
          <pc:sldMk cId="1867449557" sldId="2147469131"/>
        </pc:sldMkLst>
      </pc:sldChg>
      <pc:sldChg chg="addSp delSp modSp mod modShow">
        <pc:chgData name="Stéphanie Chatagner" userId="43a90851-419b-46ca-ab03-9ac21f8b019f" providerId="ADAL" clId="{F36C8424-3F5D-4086-A81B-5217FA83A057}" dt="2023-01-09T16:33:23.099" v="2543" actId="478"/>
        <pc:sldMkLst>
          <pc:docMk/>
          <pc:sldMk cId="1678300054" sldId="2147469140"/>
        </pc:sldMkLst>
      </pc:sldChg>
      <pc:sldChg chg="addSp modSp">
        <pc:chgData name="Stéphanie Chatagner" userId="43a90851-419b-46ca-ab03-9ac21f8b019f" providerId="ADAL" clId="{F36C8424-3F5D-4086-A81B-5217FA83A057}" dt="2023-01-09T16:32:26.441" v="2535"/>
        <pc:sldMkLst>
          <pc:docMk/>
          <pc:sldMk cId="1578203440" sldId="2147469214"/>
        </pc:sldMkLst>
      </pc:sldChg>
      <pc:sldChg chg="addSp modSp">
        <pc:chgData name="Stéphanie Chatagner" userId="43a90851-419b-46ca-ab03-9ac21f8b019f" providerId="ADAL" clId="{F36C8424-3F5D-4086-A81B-5217FA83A057}" dt="2023-01-09T16:32:10.380" v="2530"/>
        <pc:sldMkLst>
          <pc:docMk/>
          <pc:sldMk cId="1859233551" sldId="2147469215"/>
        </pc:sldMkLst>
      </pc:sldChg>
      <pc:sldChg chg="modSp mod modCm">
        <pc:chgData name="Stéphanie Chatagner" userId="43a90851-419b-46ca-ab03-9ac21f8b019f" providerId="ADAL" clId="{F36C8424-3F5D-4086-A81B-5217FA83A057}" dt="2023-01-09T14:35:49.852" v="2333"/>
        <pc:sldMkLst>
          <pc:docMk/>
          <pc:sldMk cId="3937719075" sldId="2147469217"/>
        </pc:sldMkLst>
      </pc:sldChg>
      <pc:sldChg chg="modSp mod modCm">
        <pc:chgData name="Stéphanie Chatagner" userId="43a90851-419b-46ca-ab03-9ac21f8b019f" providerId="ADAL" clId="{F36C8424-3F5D-4086-A81B-5217FA83A057}" dt="2023-01-09T16:36:40.645" v="2549"/>
        <pc:sldMkLst>
          <pc:docMk/>
          <pc:sldMk cId="454162624" sldId="2147469219"/>
        </pc:sldMkLst>
      </pc:sldChg>
      <pc:sldChg chg="addSp modSp modCm">
        <pc:chgData name="Stéphanie Chatagner" userId="43a90851-419b-46ca-ab03-9ac21f8b019f" providerId="ADAL" clId="{F36C8424-3F5D-4086-A81B-5217FA83A057}" dt="2023-01-09T16:38:05.380" v="2553"/>
        <pc:sldMkLst>
          <pc:docMk/>
          <pc:sldMk cId="1723624365" sldId="2147469222"/>
        </pc:sldMkLst>
      </pc:sldChg>
      <pc:sldChg chg="addSp delSp modSp mod modAnim modCm">
        <pc:chgData name="Stéphanie Chatagner" userId="43a90851-419b-46ca-ab03-9ac21f8b019f" providerId="ADAL" clId="{F36C8424-3F5D-4086-A81B-5217FA83A057}" dt="2023-01-09T14:49:35.421" v="2376" actId="1076"/>
        <pc:sldMkLst>
          <pc:docMk/>
          <pc:sldMk cId="1007324685" sldId="2147469225"/>
        </pc:sldMkLst>
      </pc:sldChg>
      <pc:sldChg chg="modCm">
        <pc:chgData name="Stéphanie Chatagner" userId="43a90851-419b-46ca-ab03-9ac21f8b019f" providerId="ADAL" clId="{F36C8424-3F5D-4086-A81B-5217FA83A057}" dt="2023-01-09T16:37:35.778" v="2551"/>
        <pc:sldMkLst>
          <pc:docMk/>
          <pc:sldMk cId="3536625796" sldId="2147469228"/>
        </pc:sldMkLst>
      </pc:sldChg>
      <pc:sldChg chg="modCm">
        <pc:chgData name="Stéphanie Chatagner" userId="43a90851-419b-46ca-ab03-9ac21f8b019f" providerId="ADAL" clId="{F36C8424-3F5D-4086-A81B-5217FA83A057}" dt="2023-01-05T13:19:41.071" v="0"/>
        <pc:sldMkLst>
          <pc:docMk/>
          <pc:sldMk cId="3934546814" sldId="2147469230"/>
        </pc:sldMkLst>
      </pc:sldChg>
      <pc:sldChg chg="addSp modSp mod modCm">
        <pc:chgData name="Stéphanie Chatagner" userId="43a90851-419b-46ca-ab03-9ac21f8b019f" providerId="ADAL" clId="{F36C8424-3F5D-4086-A81B-5217FA83A057}" dt="2023-01-10T11:52:47.246" v="2610" actId="1037"/>
        <pc:sldMkLst>
          <pc:docMk/>
          <pc:sldMk cId="1863786756" sldId="2147469240"/>
        </pc:sldMkLst>
      </pc:sldChg>
      <pc:sldChg chg="addSp modSp ord">
        <pc:chgData name="Stéphanie Chatagner" userId="43a90851-419b-46ca-ab03-9ac21f8b019f" providerId="ADAL" clId="{F36C8424-3F5D-4086-A81B-5217FA83A057}" dt="2023-01-09T16:35:14.420" v="2546"/>
        <pc:sldMkLst>
          <pc:docMk/>
          <pc:sldMk cId="1717254701" sldId="2147469247"/>
        </pc:sldMkLst>
      </pc:sldChg>
      <pc:sldChg chg="addSp modSp">
        <pc:chgData name="Stéphanie Chatagner" userId="43a90851-419b-46ca-ab03-9ac21f8b019f" providerId="ADAL" clId="{F36C8424-3F5D-4086-A81B-5217FA83A057}" dt="2023-01-09T16:32:34.496" v="2536"/>
        <pc:sldMkLst>
          <pc:docMk/>
          <pc:sldMk cId="2705986338" sldId="2147469253"/>
        </pc:sldMkLst>
      </pc:sldChg>
      <pc:sldChg chg="del">
        <pc:chgData name="Stéphanie Chatagner" userId="43a90851-419b-46ca-ab03-9ac21f8b019f" providerId="ADAL" clId="{F36C8424-3F5D-4086-A81B-5217FA83A057}" dt="2023-01-09T16:33:36.291" v="2545" actId="2696"/>
        <pc:sldMkLst>
          <pc:docMk/>
          <pc:sldMk cId="1450007021" sldId="2147469263"/>
        </pc:sldMkLst>
      </pc:sldChg>
      <pc:sldChg chg="modSp del mod">
        <pc:chgData name="Stéphanie Chatagner" userId="43a90851-419b-46ca-ab03-9ac21f8b019f" providerId="ADAL" clId="{F36C8424-3F5D-4086-A81B-5217FA83A057}" dt="2023-01-09T16:33:33.492" v="2544" actId="2696"/>
        <pc:sldMkLst>
          <pc:docMk/>
          <pc:sldMk cId="922742973" sldId="2147469277"/>
        </pc:sldMkLst>
      </pc:sldChg>
      <pc:sldChg chg="addSp modSp">
        <pc:chgData name="Stéphanie Chatagner" userId="43a90851-419b-46ca-ab03-9ac21f8b019f" providerId="ADAL" clId="{F36C8424-3F5D-4086-A81B-5217FA83A057}" dt="2023-01-09T16:32:15.473" v="2532"/>
        <pc:sldMkLst>
          <pc:docMk/>
          <pc:sldMk cId="474180429" sldId="2147469278"/>
        </pc:sldMkLst>
      </pc:sldChg>
      <pc:sldChg chg="add del">
        <pc:chgData name="Stéphanie Chatagner" userId="43a90851-419b-46ca-ab03-9ac21f8b019f" providerId="ADAL" clId="{F36C8424-3F5D-4086-A81B-5217FA83A057}" dt="2023-01-05T14:06:36.122" v="51" actId="2890"/>
        <pc:sldMkLst>
          <pc:docMk/>
          <pc:sldMk cId="73920034" sldId="2147469280"/>
        </pc:sldMkLst>
      </pc:sldChg>
    </pc:docChg>
  </pc:docChgLst>
  <pc:docChgLst>
    <pc:chgData name="PERSOZ Christophe" userId="3d528581-6bb6-4b37-8a8c-d9671d7b7875" providerId="ADAL" clId="{82264027-FABB-42CF-B452-C0226BB52EB0}"/>
    <pc:docChg chg="custSel modSld">
      <pc:chgData name="PERSOZ Christophe" userId="3d528581-6bb6-4b37-8a8c-d9671d7b7875" providerId="ADAL" clId="{82264027-FABB-42CF-B452-C0226BB52EB0}" dt="2025-01-08T08:34:46.173" v="178" actId="20577"/>
      <pc:docMkLst>
        <pc:docMk/>
      </pc:docMkLst>
      <pc:sldChg chg="delSp modSp mod">
        <pc:chgData name="PERSOZ Christophe" userId="3d528581-6bb6-4b37-8a8c-d9671d7b7875" providerId="ADAL" clId="{82264027-FABB-42CF-B452-C0226BB52EB0}" dt="2025-01-07T20:01:57.511" v="5" actId="478"/>
        <pc:sldMkLst>
          <pc:docMk/>
          <pc:sldMk cId="309551484" sldId="265"/>
        </pc:sldMkLst>
        <pc:spChg chg="mod">
          <ac:chgData name="PERSOZ Christophe" userId="3d528581-6bb6-4b37-8a8c-d9671d7b7875" providerId="ADAL" clId="{82264027-FABB-42CF-B452-C0226BB52EB0}" dt="2025-01-07T20:01:54.615" v="4" actId="13926"/>
          <ac:spMkLst>
            <pc:docMk/>
            <pc:sldMk cId="309551484" sldId="265"/>
            <ac:spMk id="2" creationId="{38AAAC18-4374-E4E0-A706-270B5A442DEE}"/>
          </ac:spMkLst>
        </pc:spChg>
      </pc:sldChg>
      <pc:sldChg chg="delSp modSp mod">
        <pc:chgData name="PERSOZ Christophe" userId="3d528581-6bb6-4b37-8a8c-d9671d7b7875" providerId="ADAL" clId="{82264027-FABB-42CF-B452-C0226BB52EB0}" dt="2025-01-07T20:05:36.398" v="49" actId="13926"/>
        <pc:sldMkLst>
          <pc:docMk/>
          <pc:sldMk cId="2453841614" sldId="2147137599"/>
        </pc:sldMkLst>
        <pc:spChg chg="mod">
          <ac:chgData name="PERSOZ Christophe" userId="3d528581-6bb6-4b37-8a8c-d9671d7b7875" providerId="ADAL" clId="{82264027-FABB-42CF-B452-C0226BB52EB0}" dt="2025-01-07T20:05:36.398" v="49" actId="13926"/>
          <ac:spMkLst>
            <pc:docMk/>
            <pc:sldMk cId="2453841614" sldId="2147137599"/>
            <ac:spMk id="2" creationId="{9576E01A-75AF-AECE-FE11-51D9066F11B6}"/>
          </ac:spMkLst>
        </pc:spChg>
      </pc:sldChg>
      <pc:sldChg chg="addSp modSp mod">
        <pc:chgData name="PERSOZ Christophe" userId="3d528581-6bb6-4b37-8a8c-d9671d7b7875" providerId="ADAL" clId="{82264027-FABB-42CF-B452-C0226BB52EB0}" dt="2025-01-07T20:20:46.889" v="147" actId="1076"/>
        <pc:sldMkLst>
          <pc:docMk/>
          <pc:sldMk cId="2217602409" sldId="2147469281"/>
        </pc:sldMkLst>
        <pc:spChg chg="mod">
          <ac:chgData name="PERSOZ Christophe" userId="3d528581-6bb6-4b37-8a8c-d9671d7b7875" providerId="ADAL" clId="{82264027-FABB-42CF-B452-C0226BB52EB0}" dt="2025-01-07T20:18:14.965" v="79" actId="20577"/>
          <ac:spMkLst>
            <pc:docMk/>
            <pc:sldMk cId="2217602409" sldId="2147469281"/>
            <ac:spMk id="3" creationId="{B3543586-D0CC-83BF-4600-FBC923FA3C57}"/>
          </ac:spMkLst>
        </pc:spChg>
      </pc:sldChg>
      <pc:sldChg chg="delSp modSp mod">
        <pc:chgData name="PERSOZ Christophe" userId="3d528581-6bb6-4b37-8a8c-d9671d7b7875" providerId="ADAL" clId="{82264027-FABB-42CF-B452-C0226BB52EB0}" dt="2025-01-07T20:04:17.447" v="25" actId="14100"/>
        <pc:sldMkLst>
          <pc:docMk/>
          <pc:sldMk cId="2294161181" sldId="2147480052"/>
        </pc:sldMkLst>
        <pc:spChg chg="mod">
          <ac:chgData name="PERSOZ Christophe" userId="3d528581-6bb6-4b37-8a8c-d9671d7b7875" providerId="ADAL" clId="{82264027-FABB-42CF-B452-C0226BB52EB0}" dt="2025-01-07T20:04:17.447" v="25" actId="14100"/>
          <ac:spMkLst>
            <pc:docMk/>
            <pc:sldMk cId="2294161181" sldId="2147480052"/>
            <ac:spMk id="58" creationId="{C5E10682-C1AD-30B4-55E7-686916314904}"/>
          </ac:spMkLst>
        </pc:spChg>
      </pc:sldChg>
      <pc:sldChg chg="addSp modSp mod modCm">
        <pc:chgData name="PERSOZ Christophe" userId="3d528581-6bb6-4b37-8a8c-d9671d7b7875" providerId="ADAL" clId="{82264027-FABB-42CF-B452-C0226BB52EB0}" dt="2025-01-08T08:33:39.741" v="173" actId="13926"/>
        <pc:sldMkLst>
          <pc:docMk/>
          <pc:sldMk cId="1257207121" sldId="2147481999"/>
        </pc:sldMkLst>
        <pc:spChg chg="add mod">
          <ac:chgData name="PERSOZ Christophe" userId="3d528581-6bb6-4b37-8a8c-d9671d7b7875" providerId="ADAL" clId="{82264027-FABB-42CF-B452-C0226BB52EB0}" dt="2025-01-08T08:33:39.741" v="173" actId="13926"/>
          <ac:spMkLst>
            <pc:docMk/>
            <pc:sldMk cId="1257207121" sldId="2147481999"/>
            <ac:spMk id="3" creationId="{00B58B82-0424-C18A-6F01-ED207B9DB8D7}"/>
          </ac:spMkLst>
        </pc:spChg>
        <pc:extLst>
          <p:ext xmlns:p="http://schemas.openxmlformats.org/presentationml/2006/main" uri="{D6D511B9-2390-475A-947B-AFAB55BFBCF1}">
            <pc226:cmChg xmlns:pc226="http://schemas.microsoft.com/office/powerpoint/2022/06/main/command" chg="mod">
              <pc226:chgData name="PERSOZ Christophe" userId="3d528581-6bb6-4b37-8a8c-d9671d7b7875" providerId="ADAL" clId="{82264027-FABB-42CF-B452-C0226BB52EB0}" dt="2025-01-08T08:33:32.931" v="172" actId="20577"/>
              <pc2:cmMkLst xmlns:pc2="http://schemas.microsoft.com/office/powerpoint/2019/9/main/command">
                <pc:docMk/>
                <pc:sldMk cId="1257207121" sldId="2147481999"/>
                <pc2:cmMk id="{9E0705F1-9E39-4570-8D8D-65A08E9B0B90}"/>
              </pc2:cmMkLst>
            </pc226:cmChg>
          </p:ext>
        </pc:extLst>
      </pc:sldChg>
      <pc:sldChg chg="modSp mod">
        <pc:chgData name="PERSOZ Christophe" userId="3d528581-6bb6-4b37-8a8c-d9671d7b7875" providerId="ADAL" clId="{82264027-FABB-42CF-B452-C0226BB52EB0}" dt="2025-01-08T08:34:46.173" v="178" actId="20577"/>
        <pc:sldMkLst>
          <pc:docMk/>
          <pc:sldMk cId="428757134" sldId="2147482017"/>
        </pc:sldMkLst>
        <pc:graphicFrameChg chg="modGraphic">
          <ac:chgData name="PERSOZ Christophe" userId="3d528581-6bb6-4b37-8a8c-d9671d7b7875" providerId="ADAL" clId="{82264027-FABB-42CF-B452-C0226BB52EB0}" dt="2025-01-08T08:34:46.173" v="178" actId="20577"/>
          <ac:graphicFrameMkLst>
            <pc:docMk/>
            <pc:sldMk cId="428757134" sldId="2147482017"/>
            <ac:graphicFrameMk id="14" creationId="{E8758298-8DAC-B4C3-CD5D-95B53529EF23}"/>
          </ac:graphicFrameMkLst>
        </pc:graphicFrameChg>
      </pc:sldChg>
      <pc:sldChg chg="modSp mod">
        <pc:chgData name="PERSOZ Christophe" userId="3d528581-6bb6-4b37-8a8c-d9671d7b7875" providerId="ADAL" clId="{82264027-FABB-42CF-B452-C0226BB52EB0}" dt="2025-01-07T20:01:24.071" v="3" actId="20577"/>
        <pc:sldMkLst>
          <pc:docMk/>
          <pc:sldMk cId="3509200503" sldId="2147482019"/>
        </pc:sldMkLst>
        <pc:spChg chg="mod">
          <ac:chgData name="PERSOZ Christophe" userId="3d528581-6bb6-4b37-8a8c-d9671d7b7875" providerId="ADAL" clId="{82264027-FABB-42CF-B452-C0226BB52EB0}" dt="2025-01-07T20:01:24.071" v="3" actId="20577"/>
          <ac:spMkLst>
            <pc:docMk/>
            <pc:sldMk cId="3509200503" sldId="2147482019"/>
            <ac:spMk id="26" creationId="{89328BA3-49B7-3153-10D1-4AA77449E83E}"/>
          </ac:spMkLst>
        </pc:spChg>
        <pc:spChg chg="mod">
          <ac:chgData name="PERSOZ Christophe" userId="3d528581-6bb6-4b37-8a8c-d9671d7b7875" providerId="ADAL" clId="{82264027-FABB-42CF-B452-C0226BB52EB0}" dt="2025-01-07T20:01:20.608" v="2" actId="20577"/>
          <ac:spMkLst>
            <pc:docMk/>
            <pc:sldMk cId="3509200503" sldId="2147482019"/>
            <ac:spMk id="61" creationId="{71A58203-A04E-AC35-A769-A154C8A2D8AB}"/>
          </ac:spMkLst>
        </pc:spChg>
      </pc:sldChg>
      <pc:sldChg chg="delSp modSp mod">
        <pc:chgData name="PERSOZ Christophe" userId="3d528581-6bb6-4b37-8a8c-d9671d7b7875" providerId="ADAL" clId="{82264027-FABB-42CF-B452-C0226BB52EB0}" dt="2025-01-07T20:05:11.405" v="42" actId="20577"/>
        <pc:sldMkLst>
          <pc:docMk/>
          <pc:sldMk cId="3414067080" sldId="2147483041"/>
        </pc:sldMkLst>
        <pc:spChg chg="mod">
          <ac:chgData name="PERSOZ Christophe" userId="3d528581-6bb6-4b37-8a8c-d9671d7b7875" providerId="ADAL" clId="{82264027-FABB-42CF-B452-C0226BB52EB0}" dt="2025-01-07T20:04:54.419" v="35" actId="20577"/>
          <ac:spMkLst>
            <pc:docMk/>
            <pc:sldMk cId="3414067080" sldId="2147483041"/>
            <ac:spMk id="2" creationId="{9576E01A-75AF-AECE-FE11-51D9066F11B6}"/>
          </ac:spMkLst>
        </pc:spChg>
        <pc:graphicFrameChg chg="modGraphic">
          <ac:chgData name="PERSOZ Christophe" userId="3d528581-6bb6-4b37-8a8c-d9671d7b7875" providerId="ADAL" clId="{82264027-FABB-42CF-B452-C0226BB52EB0}" dt="2025-01-07T20:05:11.405" v="42" actId="20577"/>
          <ac:graphicFrameMkLst>
            <pc:docMk/>
            <pc:sldMk cId="3414067080" sldId="2147483041"/>
            <ac:graphicFrameMk id="19" creationId="{44E43776-5E3C-8A06-EC53-637AB5DC5EEB}"/>
          </ac:graphicFrameMkLst>
        </pc:graphicFrameChg>
      </pc:sldChg>
      <pc:sldChg chg="delSp modSp mod">
        <pc:chgData name="PERSOZ Christophe" userId="3d528581-6bb6-4b37-8a8c-d9671d7b7875" providerId="ADAL" clId="{82264027-FABB-42CF-B452-C0226BB52EB0}" dt="2025-01-07T20:02:47.418" v="12" actId="13926"/>
        <pc:sldMkLst>
          <pc:docMk/>
          <pc:sldMk cId="2625374015" sldId="2147483138"/>
        </pc:sldMkLst>
        <pc:spChg chg="mod">
          <ac:chgData name="PERSOZ Christophe" userId="3d528581-6bb6-4b37-8a8c-d9671d7b7875" providerId="ADAL" clId="{82264027-FABB-42CF-B452-C0226BB52EB0}" dt="2025-01-07T20:02:47.418" v="12" actId="13926"/>
          <ac:spMkLst>
            <pc:docMk/>
            <pc:sldMk cId="2625374015" sldId="2147483138"/>
            <ac:spMk id="2" creationId="{8ACC4143-9229-1B46-AE73-FCC92C114EDC}"/>
          </ac:spMkLst>
        </pc:spChg>
      </pc:sldChg>
    </pc:docChg>
  </pc:docChgLst>
  <pc:docChgLst>
    <pc:chgData name="Stéphanie Chatagner" userId="43a90851-419b-46ca-ab03-9ac21f8b019f" providerId="ADAL" clId="{B55C3318-D762-4E78-90F9-9ADFFF31BBF6}"/>
    <pc:docChg chg="undo redo custSel addSld delSld modSld sldOrd">
      <pc:chgData name="Stéphanie Chatagner" userId="43a90851-419b-46ca-ab03-9ac21f8b019f" providerId="ADAL" clId="{B55C3318-D762-4E78-90F9-9ADFFF31BBF6}" dt="2023-02-15T17:49:20.845" v="1981" actId="478"/>
      <pc:docMkLst>
        <pc:docMk/>
      </pc:docMkLst>
      <pc:sldChg chg="addSp delSp modSp mod modCm">
        <pc:chgData name="Stéphanie Chatagner" userId="43a90851-419b-46ca-ab03-9ac21f8b019f" providerId="ADAL" clId="{B55C3318-D762-4E78-90F9-9ADFFF31BBF6}" dt="2023-02-15T17:03:37.517" v="1446" actId="478"/>
        <pc:sldMkLst>
          <pc:docMk/>
          <pc:sldMk cId="2972058130" sldId="2147469095"/>
        </pc:sldMkLst>
      </pc:sldChg>
      <pc:sldChg chg="delSp modSp mod modCm">
        <pc:chgData name="Stéphanie Chatagner" userId="43a90851-419b-46ca-ab03-9ac21f8b019f" providerId="ADAL" clId="{B55C3318-D762-4E78-90F9-9ADFFF31BBF6}" dt="2023-02-15T17:03:44.269" v="1447" actId="478"/>
        <pc:sldMkLst>
          <pc:docMk/>
          <pc:sldMk cId="3241130360" sldId="2147469112"/>
        </pc:sldMkLst>
      </pc:sldChg>
      <pc:sldChg chg="delSp modSp mod modCm">
        <pc:chgData name="Stéphanie Chatagner" userId="43a90851-419b-46ca-ab03-9ac21f8b019f" providerId="ADAL" clId="{B55C3318-D762-4E78-90F9-9ADFFF31BBF6}" dt="2023-02-15T15:20:11.969" v="234"/>
        <pc:sldMkLst>
          <pc:docMk/>
          <pc:sldMk cId="2433366989" sldId="2147469201"/>
        </pc:sldMkLst>
      </pc:sldChg>
      <pc:sldChg chg="delCm modCm">
        <pc:chgData name="Stéphanie Chatagner" userId="43a90851-419b-46ca-ab03-9ac21f8b019f" providerId="ADAL" clId="{B55C3318-D762-4E78-90F9-9ADFFF31BBF6}" dt="2023-02-15T17:41:01.166" v="1965"/>
        <pc:sldMkLst>
          <pc:docMk/>
          <pc:sldMk cId="1832773" sldId="2147469209"/>
        </pc:sldMkLst>
      </pc:sldChg>
      <pc:sldChg chg="addSp delSp modSp mod ord modCm">
        <pc:chgData name="Stéphanie Chatagner" userId="43a90851-419b-46ca-ab03-9ac21f8b019f" providerId="ADAL" clId="{B55C3318-D762-4E78-90F9-9ADFFF31BBF6}" dt="2023-02-15T17:43:30.949" v="1978" actId="20577"/>
        <pc:sldMkLst>
          <pc:docMk/>
          <pc:sldMk cId="1578203440" sldId="2147469214"/>
        </pc:sldMkLst>
      </pc:sldChg>
      <pc:sldChg chg="addSp delSp modSp mod modCm">
        <pc:chgData name="Stéphanie Chatagner" userId="43a90851-419b-46ca-ab03-9ac21f8b019f" providerId="ADAL" clId="{B55C3318-D762-4E78-90F9-9ADFFF31BBF6}" dt="2023-02-15T15:21:14.639" v="269" actId="1076"/>
        <pc:sldMkLst>
          <pc:docMk/>
          <pc:sldMk cId="1859233551" sldId="2147469215"/>
        </pc:sldMkLst>
      </pc:sldChg>
      <pc:sldChg chg="modSp">
        <pc:chgData name="Stéphanie Chatagner" userId="43a90851-419b-46ca-ab03-9ac21f8b019f" providerId="ADAL" clId="{B55C3318-D762-4E78-90F9-9ADFFF31BBF6}" dt="2023-02-15T15:17:53.047" v="232"/>
        <pc:sldMkLst>
          <pc:docMk/>
          <pc:sldMk cId="1451093172" sldId="2147469218"/>
        </pc:sldMkLst>
      </pc:sldChg>
      <pc:sldChg chg="modSp">
        <pc:chgData name="Stéphanie Chatagner" userId="43a90851-419b-46ca-ab03-9ac21f8b019f" providerId="ADAL" clId="{B55C3318-D762-4E78-90F9-9ADFFF31BBF6}" dt="2023-02-15T15:17:53.047" v="232"/>
        <pc:sldMkLst>
          <pc:docMk/>
          <pc:sldMk cId="3934546814" sldId="2147469230"/>
        </pc:sldMkLst>
      </pc:sldChg>
      <pc:sldChg chg="modSp">
        <pc:chgData name="Stéphanie Chatagner" userId="43a90851-419b-46ca-ab03-9ac21f8b019f" providerId="ADAL" clId="{B55C3318-D762-4E78-90F9-9ADFFF31BBF6}" dt="2023-02-15T15:17:53.047" v="232"/>
        <pc:sldMkLst>
          <pc:docMk/>
          <pc:sldMk cId="137568215" sldId="2147469234"/>
        </pc:sldMkLst>
      </pc:sldChg>
      <pc:sldChg chg="addSp delSp modSp mod">
        <pc:chgData name="Stéphanie Chatagner" userId="43a90851-419b-46ca-ab03-9ac21f8b019f" providerId="ADAL" clId="{B55C3318-D762-4E78-90F9-9ADFFF31BBF6}" dt="2023-02-15T17:49:20.845" v="1981" actId="478"/>
        <pc:sldMkLst>
          <pc:docMk/>
          <pc:sldMk cId="1863786756" sldId="2147469240"/>
        </pc:sldMkLst>
      </pc:sldChg>
      <pc:sldChg chg="modSp">
        <pc:chgData name="Stéphanie Chatagner" userId="43a90851-419b-46ca-ab03-9ac21f8b019f" providerId="ADAL" clId="{B55C3318-D762-4E78-90F9-9ADFFF31BBF6}" dt="2023-02-15T15:17:53.047" v="232"/>
        <pc:sldMkLst>
          <pc:docMk/>
          <pc:sldMk cId="1717254701" sldId="2147469247"/>
        </pc:sldMkLst>
      </pc:sldChg>
      <pc:sldChg chg="modSp">
        <pc:chgData name="Stéphanie Chatagner" userId="43a90851-419b-46ca-ab03-9ac21f8b019f" providerId="ADAL" clId="{B55C3318-D762-4E78-90F9-9ADFFF31BBF6}" dt="2023-02-15T15:17:53.047" v="232"/>
        <pc:sldMkLst>
          <pc:docMk/>
          <pc:sldMk cId="2528676621" sldId="2147469252"/>
        </pc:sldMkLst>
      </pc:sldChg>
      <pc:sldChg chg="modSp mod modCm">
        <pc:chgData name="Stéphanie Chatagner" userId="43a90851-419b-46ca-ab03-9ac21f8b019f" providerId="ADAL" clId="{B55C3318-D762-4E78-90F9-9ADFFF31BBF6}" dt="2023-02-15T17:43:46.696" v="1979" actId="1076"/>
        <pc:sldMkLst>
          <pc:docMk/>
          <pc:sldMk cId="2705986338" sldId="2147469253"/>
        </pc:sldMkLst>
      </pc:sldChg>
      <pc:sldChg chg="modSp">
        <pc:chgData name="Stéphanie Chatagner" userId="43a90851-419b-46ca-ab03-9ac21f8b019f" providerId="ADAL" clId="{B55C3318-D762-4E78-90F9-9ADFFF31BBF6}" dt="2023-02-15T15:17:53.047" v="232"/>
        <pc:sldMkLst>
          <pc:docMk/>
          <pc:sldMk cId="1030784313" sldId="2147469255"/>
        </pc:sldMkLst>
      </pc:sldChg>
      <pc:sldChg chg="addSp delSp modSp mod ord modCm">
        <pc:chgData name="Stéphanie Chatagner" userId="43a90851-419b-46ca-ab03-9ac21f8b019f" providerId="ADAL" clId="{B55C3318-D762-4E78-90F9-9ADFFF31BBF6}" dt="2023-02-15T17:38:19.892" v="1938"/>
        <pc:sldMkLst>
          <pc:docMk/>
          <pc:sldMk cId="2853590062" sldId="2147469262"/>
        </pc:sldMkLst>
      </pc:sldChg>
      <pc:sldChg chg="delSp modSp mod ord delCm modCm">
        <pc:chgData name="Stéphanie Chatagner" userId="43a90851-419b-46ca-ab03-9ac21f8b019f" providerId="ADAL" clId="{B55C3318-D762-4E78-90F9-9ADFFF31BBF6}" dt="2023-02-15T16:18:04.355" v="755"/>
        <pc:sldMkLst>
          <pc:docMk/>
          <pc:sldMk cId="1876804831" sldId="2147469265"/>
        </pc:sldMkLst>
      </pc:sldChg>
      <pc:sldChg chg="addSp delSp modSp mod modCm">
        <pc:chgData name="Stéphanie Chatagner" userId="43a90851-419b-46ca-ab03-9ac21f8b019f" providerId="ADAL" clId="{B55C3318-D762-4E78-90F9-9ADFFF31BBF6}" dt="2023-02-15T17:40:24.328" v="1963" actId="478"/>
        <pc:sldMkLst>
          <pc:docMk/>
          <pc:sldMk cId="596036060" sldId="2147469269"/>
        </pc:sldMkLst>
      </pc:sldChg>
      <pc:sldChg chg="addSp delSp modSp mod modCm">
        <pc:chgData name="Stéphanie Chatagner" userId="43a90851-419b-46ca-ab03-9ac21f8b019f" providerId="ADAL" clId="{B55C3318-D762-4E78-90F9-9ADFFF31BBF6}" dt="2023-02-15T17:31:52.699" v="1830" actId="108"/>
        <pc:sldMkLst>
          <pc:docMk/>
          <pc:sldMk cId="27772628" sldId="2147469270"/>
        </pc:sldMkLst>
      </pc:sldChg>
      <pc:sldChg chg="addSp delSp modSp mod modCm">
        <pc:chgData name="Stéphanie Chatagner" userId="43a90851-419b-46ca-ab03-9ac21f8b019f" providerId="ADAL" clId="{B55C3318-D762-4E78-90F9-9ADFFF31BBF6}" dt="2023-02-15T17:32:57.104" v="1881"/>
        <pc:sldMkLst>
          <pc:docMk/>
          <pc:sldMk cId="1552375756" sldId="2147469272"/>
        </pc:sldMkLst>
      </pc:sldChg>
      <pc:sldChg chg="modSp mod modCm">
        <pc:chgData name="Stéphanie Chatagner" userId="43a90851-419b-46ca-ab03-9ac21f8b019f" providerId="ADAL" clId="{B55C3318-D762-4E78-90F9-9ADFFF31BBF6}" dt="2023-02-15T17:23:23.037" v="1630"/>
        <pc:sldMkLst>
          <pc:docMk/>
          <pc:sldMk cId="483041667" sldId="2147469276"/>
        </pc:sldMkLst>
      </pc:sldChg>
      <pc:sldChg chg="modSp">
        <pc:chgData name="Stéphanie Chatagner" userId="43a90851-419b-46ca-ab03-9ac21f8b019f" providerId="ADAL" clId="{B55C3318-D762-4E78-90F9-9ADFFF31BBF6}" dt="2023-02-15T15:17:53.047" v="232"/>
        <pc:sldMkLst>
          <pc:docMk/>
          <pc:sldMk cId="474180429" sldId="2147469278"/>
        </pc:sldMkLst>
      </pc:sldChg>
      <pc:sldChg chg="add del">
        <pc:chgData name="Stéphanie Chatagner" userId="43a90851-419b-46ca-ab03-9ac21f8b019f" providerId="ADAL" clId="{B55C3318-D762-4E78-90F9-9ADFFF31BBF6}" dt="2023-02-15T15:34:10.358" v="334"/>
        <pc:sldMkLst>
          <pc:docMk/>
          <pc:sldMk cId="1706458706" sldId="2147469280"/>
        </pc:sldMkLst>
      </pc:sldChg>
    </pc:docChg>
  </pc:docChgLst>
  <pc:docChgLst>
    <pc:chgData name="Stéphanie Chatagner" userId="S::stephanie.chatagner_avanade.com#ext#@vincic.onmicrosoft.com::413dce0f-1b71-4edd-8872-aae39c2f786a" providerId="AD" clId="Web-{FD1BE31A-3FF5-4DD8-B716-339F85ADF287}"/>
    <pc:docChg chg="modSld">
      <pc:chgData name="Stéphanie Chatagner" userId="S::stephanie.chatagner_avanade.com#ext#@vincic.onmicrosoft.com::413dce0f-1b71-4edd-8872-aae39c2f786a" providerId="AD" clId="Web-{FD1BE31A-3FF5-4DD8-B716-339F85ADF287}" dt="2023-01-10T09:48:30.673" v="6" actId="1076"/>
      <pc:docMkLst>
        <pc:docMk/>
      </pc:docMkLst>
      <pc:sldChg chg="modSp">
        <pc:chgData name="Stéphanie Chatagner" userId="S::stephanie.chatagner_avanade.com#ext#@vincic.onmicrosoft.com::413dce0f-1b71-4edd-8872-aae39c2f786a" providerId="AD" clId="Web-{FD1BE31A-3FF5-4DD8-B716-339F85ADF287}" dt="2023-01-10T09:48:30.673" v="6" actId="1076"/>
        <pc:sldMkLst>
          <pc:docMk/>
          <pc:sldMk cId="1007324685" sldId="2147469225"/>
        </pc:sldMkLst>
      </pc:sldChg>
    </pc:docChg>
  </pc:docChgLst>
  <pc:docChgLst>
    <pc:chgData name="Stéphanie Chatagner" userId="S::stephanie.chatagner_avanade.com#ext#@vincic.onmicrosoft.com::413dce0f-1b71-4edd-8872-aae39c2f786a" providerId="AD" clId="Web-{148F86FF-2B48-9F6B-59B1-41266C53EBD7}"/>
    <pc:docChg chg="modSld">
      <pc:chgData name="Stéphanie Chatagner" userId="S::stephanie.chatagner_avanade.com#ext#@vincic.onmicrosoft.com::413dce0f-1b71-4edd-8872-aae39c2f786a" providerId="AD" clId="Web-{148F86FF-2B48-9F6B-59B1-41266C53EBD7}" dt="2023-02-15T15:29:27.377" v="84" actId="20577"/>
      <pc:docMkLst>
        <pc:docMk/>
      </pc:docMkLst>
      <pc:sldChg chg="modSp">
        <pc:chgData name="Stéphanie Chatagner" userId="S::stephanie.chatagner_avanade.com#ext#@vincic.onmicrosoft.com::413dce0f-1b71-4edd-8872-aae39c2f786a" providerId="AD" clId="Web-{148F86FF-2B48-9F6B-59B1-41266C53EBD7}" dt="2023-02-15T15:29:27.377" v="84" actId="20577"/>
        <pc:sldMkLst>
          <pc:docMk/>
          <pc:sldMk cId="2433366989" sldId="2147469201"/>
        </pc:sldMkLst>
      </pc:sldChg>
      <pc:sldChg chg="delSp modSp">
        <pc:chgData name="Stéphanie Chatagner" userId="S::stephanie.chatagner_avanade.com#ext#@vincic.onmicrosoft.com::413dce0f-1b71-4edd-8872-aae39c2f786a" providerId="AD" clId="Web-{148F86FF-2B48-9F6B-59B1-41266C53EBD7}" dt="2023-02-15T15:27:35.186" v="67" actId="20577"/>
        <pc:sldMkLst>
          <pc:docMk/>
          <pc:sldMk cId="1859233551" sldId="2147469215"/>
        </pc:sldMkLst>
      </pc:sldChg>
      <pc:sldChg chg="modSp modCm">
        <pc:chgData name="Stéphanie Chatagner" userId="S::stephanie.chatagner_avanade.com#ext#@vincic.onmicrosoft.com::413dce0f-1b71-4edd-8872-aae39c2f786a" providerId="AD" clId="Web-{148F86FF-2B48-9F6B-59B1-41266C53EBD7}" dt="2023-02-15T15:27:43.186" v="70" actId="20577"/>
        <pc:sldMkLst>
          <pc:docMk/>
          <pc:sldMk cId="1876804831" sldId="2147469265"/>
        </pc:sldMkLst>
      </pc:sldChg>
    </pc:docChg>
  </pc:docChgLst>
  <pc:docChgLst>
    <pc:chgData name="PERSOZ Christophe" userId="3d528581-6bb6-4b37-8a8c-d9671d7b7875" providerId="ADAL" clId="{72D46F52-A06B-4ACE-8BD2-5AF00EC16D06}"/>
    <pc:docChg chg="custSel addSld delSld modSld sldOrd addSection modSection">
      <pc:chgData name="PERSOZ Christophe" userId="3d528581-6bb6-4b37-8a8c-d9671d7b7875" providerId="ADAL" clId="{72D46F52-A06B-4ACE-8BD2-5AF00EC16D06}" dt="2024-08-02T19:57:05.461" v="296" actId="20577"/>
      <pc:docMkLst>
        <pc:docMk/>
      </pc:docMkLst>
      <pc:sldChg chg="addSp modSp mod">
        <pc:chgData name="PERSOZ Christophe" userId="3d528581-6bb6-4b37-8a8c-d9671d7b7875" providerId="ADAL" clId="{72D46F52-A06B-4ACE-8BD2-5AF00EC16D06}" dt="2024-08-02T19:31:56.632" v="186" actId="20577"/>
        <pc:sldMkLst>
          <pc:docMk/>
          <pc:sldMk cId="2631057792" sldId="2076137815"/>
        </pc:sldMkLst>
      </pc:sldChg>
      <pc:sldChg chg="modSp add mod ord">
        <pc:chgData name="PERSOZ Christophe" userId="3d528581-6bb6-4b37-8a8c-d9671d7b7875" providerId="ADAL" clId="{72D46F52-A06B-4ACE-8BD2-5AF00EC16D06}" dt="2024-08-02T19:33:48.737" v="201" actId="20577"/>
        <pc:sldMkLst>
          <pc:docMk/>
          <pc:sldMk cId="604372831" sldId="2147469057"/>
        </pc:sldMkLst>
      </pc:sldChg>
      <pc:sldChg chg="modSp add del mod">
        <pc:chgData name="PERSOZ Christophe" userId="3d528581-6bb6-4b37-8a8c-d9671d7b7875" providerId="ADAL" clId="{72D46F52-A06B-4ACE-8BD2-5AF00EC16D06}" dt="2024-08-02T19:45:55.183" v="250" actId="20577"/>
        <pc:sldMkLst>
          <pc:docMk/>
          <pc:sldMk cId="1867449557" sldId="2147469131"/>
        </pc:sldMkLst>
      </pc:sldChg>
      <pc:sldChg chg="add del">
        <pc:chgData name="PERSOZ Christophe" userId="3d528581-6bb6-4b37-8a8c-d9671d7b7875" providerId="ADAL" clId="{72D46F52-A06B-4ACE-8BD2-5AF00EC16D06}" dt="2024-08-02T19:29:49.835" v="167"/>
        <pc:sldMkLst>
          <pc:docMk/>
          <pc:sldMk cId="875313532" sldId="2147469202"/>
        </pc:sldMkLst>
      </pc:sldChg>
      <pc:sldChg chg="add">
        <pc:chgData name="PERSOZ Christophe" userId="3d528581-6bb6-4b37-8a8c-d9671d7b7875" providerId="ADAL" clId="{72D46F52-A06B-4ACE-8BD2-5AF00EC16D06}" dt="2024-08-02T19:40:54.903" v="249"/>
        <pc:sldMkLst>
          <pc:docMk/>
          <pc:sldMk cId="1859233551" sldId="2147469215"/>
        </pc:sldMkLst>
      </pc:sldChg>
      <pc:sldChg chg="modSp add mod">
        <pc:chgData name="PERSOZ Christophe" userId="3d528581-6bb6-4b37-8a8c-d9671d7b7875" providerId="ADAL" clId="{72D46F52-A06B-4ACE-8BD2-5AF00EC16D06}" dt="2024-08-02T19:51:46.103" v="281" actId="20577"/>
        <pc:sldMkLst>
          <pc:docMk/>
          <pc:sldMk cId="1717254701" sldId="2147469247"/>
        </pc:sldMkLst>
      </pc:sldChg>
      <pc:sldChg chg="delSp modSp add del mod">
        <pc:chgData name="PERSOZ Christophe" userId="3d528581-6bb6-4b37-8a8c-d9671d7b7875" providerId="ADAL" clId="{72D46F52-A06B-4ACE-8BD2-5AF00EC16D06}" dt="2024-08-02T19:46:19.891" v="251" actId="20577"/>
        <pc:sldMkLst>
          <pc:docMk/>
          <pc:sldMk cId="2528676621" sldId="2147469252"/>
        </pc:sldMkLst>
      </pc:sldChg>
      <pc:sldChg chg="modSp add mod">
        <pc:chgData name="PERSOZ Christophe" userId="3d528581-6bb6-4b37-8a8c-d9671d7b7875" providerId="ADAL" clId="{72D46F52-A06B-4ACE-8BD2-5AF00EC16D06}" dt="2024-08-02T19:49:45.899" v="277" actId="13926"/>
        <pc:sldMkLst>
          <pc:docMk/>
          <pc:sldMk cId="1876804831" sldId="2147469265"/>
        </pc:sldMkLst>
      </pc:sldChg>
      <pc:sldChg chg="modSp mod">
        <pc:chgData name="PERSOZ Christophe" userId="3d528581-6bb6-4b37-8a8c-d9671d7b7875" providerId="ADAL" clId="{72D46F52-A06B-4ACE-8BD2-5AF00EC16D06}" dt="2024-08-02T19:25:43.012" v="35" actId="20577"/>
        <pc:sldMkLst>
          <pc:docMk/>
          <pc:sldMk cId="2217602409" sldId="2147469281"/>
        </pc:sldMkLst>
      </pc:sldChg>
      <pc:sldChg chg="ord">
        <pc:chgData name="PERSOZ Christophe" userId="3d528581-6bb6-4b37-8a8c-d9671d7b7875" providerId="ADAL" clId="{72D46F52-A06B-4ACE-8BD2-5AF00EC16D06}" dt="2024-08-02T19:35:00.268" v="223"/>
        <pc:sldMkLst>
          <pc:docMk/>
          <pc:sldMk cId="649732189" sldId="2147469286"/>
        </pc:sldMkLst>
      </pc:sldChg>
      <pc:sldChg chg="modSp mod">
        <pc:chgData name="PERSOZ Christophe" userId="3d528581-6bb6-4b37-8a8c-d9671d7b7875" providerId="ADAL" clId="{72D46F52-A06B-4ACE-8BD2-5AF00EC16D06}" dt="2024-08-02T19:28:52.628" v="164" actId="20577"/>
        <pc:sldMkLst>
          <pc:docMk/>
          <pc:sldMk cId="3897447519" sldId="2147469287"/>
        </pc:sldMkLst>
      </pc:sldChg>
      <pc:sldChg chg="modSp add mod">
        <pc:chgData name="PERSOZ Christophe" userId="3d528581-6bb6-4b37-8a8c-d9671d7b7875" providerId="ADAL" clId="{72D46F52-A06B-4ACE-8BD2-5AF00EC16D06}" dt="2024-08-02T19:57:05.461" v="296" actId="20577"/>
        <pc:sldMkLst>
          <pc:docMk/>
          <pc:sldMk cId="1026801686" sldId="2147481909"/>
        </pc:sldMkLst>
      </pc:sldChg>
      <pc:sldChg chg="modSp mod">
        <pc:chgData name="PERSOZ Christophe" userId="3d528581-6bb6-4b37-8a8c-d9671d7b7875" providerId="ADAL" clId="{72D46F52-A06B-4ACE-8BD2-5AF00EC16D06}" dt="2024-08-02T19:35:57.139" v="236" actId="14100"/>
        <pc:sldMkLst>
          <pc:docMk/>
          <pc:sldMk cId="2459300264" sldId="2147481996"/>
        </pc:sldMkLst>
      </pc:sldChg>
      <pc:sldChg chg="del ord">
        <pc:chgData name="PERSOZ Christophe" userId="3d528581-6bb6-4b37-8a8c-d9671d7b7875" providerId="ADAL" clId="{72D46F52-A06B-4ACE-8BD2-5AF00EC16D06}" dt="2024-08-02T19:33:05.039" v="191" actId="2696"/>
        <pc:sldMkLst>
          <pc:docMk/>
          <pc:sldMk cId="3340189546" sldId="2147482003"/>
        </pc:sldMkLst>
      </pc:sldChg>
      <pc:sldChg chg="del ord">
        <pc:chgData name="PERSOZ Christophe" userId="3d528581-6bb6-4b37-8a8c-d9671d7b7875" providerId="ADAL" clId="{72D46F52-A06B-4ACE-8BD2-5AF00EC16D06}" dt="2024-08-02T19:33:05.039" v="191" actId="2696"/>
        <pc:sldMkLst>
          <pc:docMk/>
          <pc:sldMk cId="258348270" sldId="2147482004"/>
        </pc:sldMkLst>
      </pc:sldChg>
      <pc:sldChg chg="ord">
        <pc:chgData name="PERSOZ Christophe" userId="3d528581-6bb6-4b37-8a8c-d9671d7b7875" providerId="ADAL" clId="{72D46F52-A06B-4ACE-8BD2-5AF00EC16D06}" dt="2024-08-02T19:33:38.206" v="194" actId="20578"/>
        <pc:sldMkLst>
          <pc:docMk/>
          <pc:sldMk cId="980070838" sldId="2147482006"/>
        </pc:sldMkLst>
      </pc:sldChg>
      <pc:sldChg chg="modSp mod">
        <pc:chgData name="PERSOZ Christophe" userId="3d528581-6bb6-4b37-8a8c-d9671d7b7875" providerId="ADAL" clId="{72D46F52-A06B-4ACE-8BD2-5AF00EC16D06}" dt="2024-08-02T19:31:15.458" v="177" actId="20577"/>
        <pc:sldMkLst>
          <pc:docMk/>
          <pc:sldMk cId="4187097854" sldId="2147482016"/>
        </pc:sldMkLst>
      </pc:sldChg>
      <pc:sldChg chg="del ord">
        <pc:chgData name="PERSOZ Christophe" userId="3d528581-6bb6-4b37-8a8c-d9671d7b7875" providerId="ADAL" clId="{72D46F52-A06B-4ACE-8BD2-5AF00EC16D06}" dt="2024-08-02T19:33:05.039" v="191" actId="2696"/>
        <pc:sldMkLst>
          <pc:docMk/>
          <pc:sldMk cId="3509200503" sldId="2147482019"/>
        </pc:sldMkLst>
      </pc:sldChg>
      <pc:sldChg chg="add del ord">
        <pc:chgData name="PERSOZ Christophe" userId="3d528581-6bb6-4b37-8a8c-d9671d7b7875" providerId="ADAL" clId="{72D46F52-A06B-4ACE-8BD2-5AF00EC16D06}" dt="2024-08-02T19:33:05.039" v="191" actId="2696"/>
        <pc:sldMkLst>
          <pc:docMk/>
          <pc:sldMk cId="2356098533" sldId="2147482020"/>
        </pc:sldMkLst>
      </pc:sldChg>
      <pc:sldChg chg="modSp add mod ord">
        <pc:chgData name="PERSOZ Christophe" userId="3d528581-6bb6-4b37-8a8c-d9671d7b7875" providerId="ADAL" clId="{72D46F52-A06B-4ACE-8BD2-5AF00EC16D06}" dt="2024-08-02T19:48:54.929" v="255" actId="20577"/>
        <pc:sldMkLst>
          <pc:docMk/>
          <pc:sldMk cId="4222899410" sldId="2147482021"/>
        </pc:sldMkLst>
      </pc:sldChg>
      <pc:sldChg chg="modSp add mod ord">
        <pc:chgData name="PERSOZ Christophe" userId="3d528581-6bb6-4b37-8a8c-d9671d7b7875" providerId="ADAL" clId="{72D46F52-A06B-4ACE-8BD2-5AF00EC16D06}" dt="2024-08-02T19:34:05.385" v="211" actId="20577"/>
        <pc:sldMkLst>
          <pc:docMk/>
          <pc:sldMk cId="2711996451" sldId="2147482022"/>
        </pc:sldMkLst>
      </pc:sldChg>
      <pc:sldChg chg="modSp add mod">
        <pc:chgData name="PERSOZ Christophe" userId="3d528581-6bb6-4b37-8a8c-d9671d7b7875" providerId="ADAL" clId="{72D46F52-A06B-4ACE-8BD2-5AF00EC16D06}" dt="2024-08-02T19:35:18.704" v="233" actId="20577"/>
        <pc:sldMkLst>
          <pc:docMk/>
          <pc:sldMk cId="770641179" sldId="2147482023"/>
        </pc:sldMkLst>
      </pc:sldChg>
      <pc:sldChg chg="add del">
        <pc:chgData name="PERSOZ Christophe" userId="3d528581-6bb6-4b37-8a8c-d9671d7b7875" providerId="ADAL" clId="{72D46F52-A06B-4ACE-8BD2-5AF00EC16D06}" dt="2024-08-02T19:51:26.937" v="279"/>
        <pc:sldMkLst>
          <pc:docMk/>
          <pc:sldMk cId="3118868951" sldId="2147482024"/>
        </pc:sldMkLst>
      </pc:sldChg>
      <pc:sldChg chg="add del">
        <pc:chgData name="PERSOZ Christophe" userId="3d528581-6bb6-4b37-8a8c-d9671d7b7875" providerId="ADAL" clId="{72D46F52-A06B-4ACE-8BD2-5AF00EC16D06}" dt="2024-08-02T19:51:26.937" v="279"/>
        <pc:sldMkLst>
          <pc:docMk/>
          <pc:sldMk cId="2953896421" sldId="2147482025"/>
        </pc:sldMkLst>
      </pc:sldChg>
    </pc:docChg>
  </pc:docChgLst>
  <pc:docChgLst>
    <pc:chgData name="Thomas MARENCIC" userId="S::thomas.marencic_avanade.com#ext#@vincic.onmicrosoft.com::a8fd1848-4f23-4b07-92d6-f82983b9fd1c" providerId="AD" clId="Web-{0ADAFE9C-D72B-3D04-FBA9-BA726B3614A9}"/>
    <pc:docChg chg="modSld">
      <pc:chgData name="Thomas MARENCIC" userId="S::thomas.marencic_avanade.com#ext#@vincic.onmicrosoft.com::a8fd1848-4f23-4b07-92d6-f82983b9fd1c" providerId="AD" clId="Web-{0ADAFE9C-D72B-3D04-FBA9-BA726B3614A9}" dt="2022-12-12T08:48:43.934" v="42" actId="20577"/>
      <pc:docMkLst>
        <pc:docMk/>
      </pc:docMkLst>
      <pc:sldChg chg="modSp">
        <pc:chgData name="Thomas MARENCIC" userId="S::thomas.marencic_avanade.com#ext#@vincic.onmicrosoft.com::a8fd1848-4f23-4b07-92d6-f82983b9fd1c" providerId="AD" clId="Web-{0ADAFE9C-D72B-3D04-FBA9-BA726B3614A9}" dt="2022-12-12T08:48:43.934" v="42" actId="20577"/>
        <pc:sldMkLst>
          <pc:docMk/>
          <pc:sldMk cId="1451093172" sldId="2147469218"/>
        </pc:sldMkLst>
      </pc:sldChg>
    </pc:docChg>
  </pc:docChgLst>
  <pc:docChgLst>
    <pc:chgData name="Thomas MARENCIC" userId="bd5e5ba9-42cf-443f-beaa-47144ea342bb" providerId="ADAL" clId="{DC464907-3387-47C3-A55D-39455D4C538A}"/>
    <pc:docChg chg="undo redo custSel addSld delSld modSld sldOrd modMainMaster addSection modSection">
      <pc:chgData name="Thomas MARENCIC" userId="bd5e5ba9-42cf-443f-beaa-47144ea342bb" providerId="ADAL" clId="{DC464907-3387-47C3-A55D-39455D4C538A}" dt="2022-12-09T17:40:44" v="6416" actId="47"/>
      <pc:docMkLst>
        <pc:docMk/>
      </pc:docMkLst>
      <pc:sldChg chg="modSp mod ord modShow">
        <pc:chgData name="Thomas MARENCIC" userId="bd5e5ba9-42cf-443f-beaa-47144ea342bb" providerId="ADAL" clId="{DC464907-3387-47C3-A55D-39455D4C538A}" dt="2022-12-06T06:58:55.848" v="2608" actId="1076"/>
        <pc:sldMkLst>
          <pc:docMk/>
          <pc:sldMk cId="2161283367" sldId="2147375478"/>
        </pc:sldMkLst>
      </pc:sldChg>
      <pc:sldChg chg="del">
        <pc:chgData name="Thomas MARENCIC" userId="bd5e5ba9-42cf-443f-beaa-47144ea342bb" providerId="ADAL" clId="{DC464907-3387-47C3-A55D-39455D4C538A}" dt="2022-12-09T07:27:56.040" v="4844" actId="47"/>
        <pc:sldMkLst>
          <pc:docMk/>
          <pc:sldMk cId="3564186676" sldId="2147375479"/>
        </pc:sldMkLst>
      </pc:sldChg>
      <pc:sldChg chg="modSp mod ord modShow">
        <pc:chgData name="Thomas MARENCIC" userId="bd5e5ba9-42cf-443f-beaa-47144ea342bb" providerId="ADAL" clId="{DC464907-3387-47C3-A55D-39455D4C538A}" dt="2022-12-09T17:32:38.693" v="6134" actId="729"/>
        <pc:sldMkLst>
          <pc:docMk/>
          <pc:sldMk cId="1200302629" sldId="2147375483"/>
        </pc:sldMkLst>
      </pc:sldChg>
      <pc:sldChg chg="addSp modSp del mod">
        <pc:chgData name="Thomas MARENCIC" userId="bd5e5ba9-42cf-443f-beaa-47144ea342bb" providerId="ADAL" clId="{DC464907-3387-47C3-A55D-39455D4C538A}" dt="2022-12-09T08:03:32.662" v="5288" actId="47"/>
        <pc:sldMkLst>
          <pc:docMk/>
          <pc:sldMk cId="661619074" sldId="2147469078"/>
        </pc:sldMkLst>
      </pc:sldChg>
      <pc:sldChg chg="modSp mod">
        <pc:chgData name="Thomas MARENCIC" userId="bd5e5ba9-42cf-443f-beaa-47144ea342bb" providerId="ADAL" clId="{DC464907-3387-47C3-A55D-39455D4C538A}" dt="2022-12-09T17:24:40.037" v="6049" actId="20577"/>
        <pc:sldMkLst>
          <pc:docMk/>
          <pc:sldMk cId="3558143222" sldId="2147469082"/>
        </pc:sldMkLst>
      </pc:sldChg>
      <pc:sldChg chg="addSp delSp modSp mod ord">
        <pc:chgData name="Thomas MARENCIC" userId="bd5e5ba9-42cf-443f-beaa-47144ea342bb" providerId="ADAL" clId="{DC464907-3387-47C3-A55D-39455D4C538A}" dt="2022-12-09T17:23:19.545" v="6013" actId="20577"/>
        <pc:sldMkLst>
          <pc:docMk/>
          <pc:sldMk cId="3192763856" sldId="2147469087"/>
        </pc:sldMkLst>
      </pc:sldChg>
      <pc:sldChg chg="addSp modSp mod modShow">
        <pc:chgData name="Thomas MARENCIC" userId="bd5e5ba9-42cf-443f-beaa-47144ea342bb" providerId="ADAL" clId="{DC464907-3387-47C3-A55D-39455D4C538A}" dt="2022-12-06T07:12:46.349" v="2711" actId="729"/>
        <pc:sldMkLst>
          <pc:docMk/>
          <pc:sldMk cId="817872428" sldId="2147469103"/>
        </pc:sldMkLst>
      </pc:sldChg>
      <pc:sldChg chg="addSp modSp mod modShow">
        <pc:chgData name="Thomas MARENCIC" userId="bd5e5ba9-42cf-443f-beaa-47144ea342bb" providerId="ADAL" clId="{DC464907-3387-47C3-A55D-39455D4C538A}" dt="2022-12-06T07:12:48.779" v="2712" actId="729"/>
        <pc:sldMkLst>
          <pc:docMk/>
          <pc:sldMk cId="1917964465" sldId="2147469104"/>
        </pc:sldMkLst>
      </pc:sldChg>
      <pc:sldChg chg="modSp mod">
        <pc:chgData name="Thomas MARENCIC" userId="bd5e5ba9-42cf-443f-beaa-47144ea342bb" providerId="ADAL" clId="{DC464907-3387-47C3-A55D-39455D4C538A}" dt="2022-12-09T17:25:36.787" v="6061" actId="20577"/>
        <pc:sldMkLst>
          <pc:docMk/>
          <pc:sldMk cId="3119294515" sldId="2147469115"/>
        </pc:sldMkLst>
      </pc:sldChg>
      <pc:sldChg chg="addSp modSp mod modShow">
        <pc:chgData name="Thomas MARENCIC" userId="bd5e5ba9-42cf-443f-beaa-47144ea342bb" providerId="ADAL" clId="{DC464907-3387-47C3-A55D-39455D4C538A}" dt="2022-12-06T07:12:43.937" v="2710" actId="729"/>
        <pc:sldMkLst>
          <pc:docMk/>
          <pc:sldMk cId="1299154118" sldId="2147469124"/>
        </pc:sldMkLst>
      </pc:sldChg>
      <pc:sldChg chg="addSp modSp">
        <pc:chgData name="Thomas MARENCIC" userId="bd5e5ba9-42cf-443f-beaa-47144ea342bb" providerId="ADAL" clId="{DC464907-3387-47C3-A55D-39455D4C538A}" dt="2022-12-06T06:58:58.639" v="2609"/>
        <pc:sldMkLst>
          <pc:docMk/>
          <pc:sldMk cId="2413300759" sldId="2147469163"/>
        </pc:sldMkLst>
      </pc:sldChg>
      <pc:sldChg chg="modSp mod ord">
        <pc:chgData name="Thomas MARENCIC" userId="bd5e5ba9-42cf-443f-beaa-47144ea342bb" providerId="ADAL" clId="{DC464907-3387-47C3-A55D-39455D4C538A}" dt="2022-12-09T17:25:18.923" v="6058" actId="20577"/>
        <pc:sldMkLst>
          <pc:docMk/>
          <pc:sldMk cId="2917112952" sldId="2147469204"/>
        </pc:sldMkLst>
      </pc:sldChg>
      <pc:sldChg chg="ord">
        <pc:chgData name="Thomas MARENCIC" userId="bd5e5ba9-42cf-443f-beaa-47144ea342bb" providerId="ADAL" clId="{DC464907-3387-47C3-A55D-39455D4C538A}" dt="2022-12-09T17:26:07.529" v="6063"/>
        <pc:sldMkLst>
          <pc:docMk/>
          <pc:sldMk cId="756621096" sldId="2147469205"/>
        </pc:sldMkLst>
      </pc:sldChg>
      <pc:sldChg chg="modSp mod ord">
        <pc:chgData name="Thomas MARENCIC" userId="bd5e5ba9-42cf-443f-beaa-47144ea342bb" providerId="ADAL" clId="{DC464907-3387-47C3-A55D-39455D4C538A}" dt="2022-12-09T17:26:12.288" v="6065"/>
        <pc:sldMkLst>
          <pc:docMk/>
          <pc:sldMk cId="4002086029" sldId="2147469206"/>
        </pc:sldMkLst>
      </pc:sldChg>
      <pc:sldChg chg="ord">
        <pc:chgData name="Thomas MARENCIC" userId="bd5e5ba9-42cf-443f-beaa-47144ea342bb" providerId="ADAL" clId="{DC464907-3387-47C3-A55D-39455D4C538A}" dt="2022-12-09T17:24:08.649" v="6015"/>
        <pc:sldMkLst>
          <pc:docMk/>
          <pc:sldMk cId="2551602083" sldId="2147469207"/>
        </pc:sldMkLst>
      </pc:sldChg>
      <pc:sldChg chg="del ord">
        <pc:chgData name="Thomas MARENCIC" userId="bd5e5ba9-42cf-443f-beaa-47144ea342bb" providerId="ADAL" clId="{DC464907-3387-47C3-A55D-39455D4C538A}" dt="2022-12-05T23:19:01.804" v="2108" actId="47"/>
        <pc:sldMkLst>
          <pc:docMk/>
          <pc:sldMk cId="2945063928" sldId="2147469208"/>
        </pc:sldMkLst>
      </pc:sldChg>
      <pc:sldChg chg="ord">
        <pc:chgData name="Thomas MARENCIC" userId="bd5e5ba9-42cf-443f-beaa-47144ea342bb" providerId="ADAL" clId="{DC464907-3387-47C3-A55D-39455D4C538A}" dt="2022-12-09T17:24:08.649" v="6015"/>
        <pc:sldMkLst>
          <pc:docMk/>
          <pc:sldMk cId="1832773" sldId="2147469209"/>
        </pc:sldMkLst>
      </pc:sldChg>
      <pc:sldChg chg="modSp mod ord modShow">
        <pc:chgData name="Thomas MARENCIC" userId="bd5e5ba9-42cf-443f-beaa-47144ea342bb" providerId="ADAL" clId="{DC464907-3387-47C3-A55D-39455D4C538A}" dt="2022-12-06T06:35:32.370" v="2320" actId="20577"/>
        <pc:sldMkLst>
          <pc:docMk/>
          <pc:sldMk cId="1708213307" sldId="2147469210"/>
        </pc:sldMkLst>
      </pc:sldChg>
      <pc:sldChg chg="del">
        <pc:chgData name="Thomas MARENCIC" userId="bd5e5ba9-42cf-443f-beaa-47144ea342bb" providerId="ADAL" clId="{DC464907-3387-47C3-A55D-39455D4C538A}" dt="2022-12-09T08:03:01.640" v="5286" actId="47"/>
        <pc:sldMkLst>
          <pc:docMk/>
          <pc:sldMk cId="3137162437" sldId="2147469212"/>
        </pc:sldMkLst>
      </pc:sldChg>
      <pc:sldChg chg="modSp mod ord">
        <pc:chgData name="Thomas MARENCIC" userId="bd5e5ba9-42cf-443f-beaa-47144ea342bb" providerId="ADAL" clId="{DC464907-3387-47C3-A55D-39455D4C538A}" dt="2022-12-09T17:24:08.649" v="6015"/>
        <pc:sldMkLst>
          <pc:docMk/>
          <pc:sldMk cId="1982229707" sldId="2147469213"/>
        </pc:sldMkLst>
      </pc:sldChg>
      <pc:sldChg chg="modSp mod ord">
        <pc:chgData name="Thomas MARENCIC" userId="bd5e5ba9-42cf-443f-beaa-47144ea342bb" providerId="ADAL" clId="{DC464907-3387-47C3-A55D-39455D4C538A}" dt="2022-12-09T17:24:08.649" v="6015"/>
        <pc:sldMkLst>
          <pc:docMk/>
          <pc:sldMk cId="1578203440" sldId="2147469214"/>
        </pc:sldMkLst>
      </pc:sldChg>
      <pc:sldChg chg="modSp mod ord">
        <pc:chgData name="Thomas MARENCIC" userId="bd5e5ba9-42cf-443f-beaa-47144ea342bb" providerId="ADAL" clId="{DC464907-3387-47C3-A55D-39455D4C538A}" dt="2022-12-09T17:24:08.649" v="6015"/>
        <pc:sldMkLst>
          <pc:docMk/>
          <pc:sldMk cId="1859233551" sldId="2147469215"/>
        </pc:sldMkLst>
      </pc:sldChg>
      <pc:sldChg chg="del">
        <pc:chgData name="Thomas MARENCIC" userId="bd5e5ba9-42cf-443f-beaa-47144ea342bb" providerId="ADAL" clId="{DC464907-3387-47C3-A55D-39455D4C538A}" dt="2022-12-06T06:59:24.207" v="2610" actId="47"/>
        <pc:sldMkLst>
          <pc:docMk/>
          <pc:sldMk cId="1645854935" sldId="2147469216"/>
        </pc:sldMkLst>
      </pc:sldChg>
      <pc:sldChg chg="addSp modSp new mod">
        <pc:chgData name="Thomas MARENCIC" userId="bd5e5ba9-42cf-443f-beaa-47144ea342bb" providerId="ADAL" clId="{DC464907-3387-47C3-A55D-39455D4C538A}" dt="2022-12-05T21:27:54.583" v="24" actId="207"/>
        <pc:sldMkLst>
          <pc:docMk/>
          <pc:sldMk cId="3937719075" sldId="2147469216"/>
        </pc:sldMkLst>
      </pc:sldChg>
      <pc:sldChg chg="addSp delSp modSp mod">
        <pc:chgData name="Thomas MARENCIC" userId="bd5e5ba9-42cf-443f-beaa-47144ea342bb" providerId="ADAL" clId="{DC464907-3387-47C3-A55D-39455D4C538A}" dt="2022-12-05T23:17:56.565" v="2106" actId="20577"/>
        <pc:sldMkLst>
          <pc:docMk/>
          <pc:sldMk cId="3937719075" sldId="2147469217"/>
        </pc:sldMkLst>
      </pc:sldChg>
      <pc:sldChg chg="addSp delSp modSp new mod modClrScheme chgLayout">
        <pc:chgData name="Thomas MARENCIC" userId="bd5e5ba9-42cf-443f-beaa-47144ea342bb" providerId="ADAL" clId="{DC464907-3387-47C3-A55D-39455D4C538A}" dt="2022-12-09T09:24:55.518" v="5373" actId="20577"/>
        <pc:sldMkLst>
          <pc:docMk/>
          <pc:sldMk cId="454162624" sldId="2147469219"/>
        </pc:sldMkLst>
      </pc:sldChg>
      <pc:sldChg chg="addSp delSp modSp new mod ord chgLayout">
        <pc:chgData name="Thomas MARENCIC" userId="bd5e5ba9-42cf-443f-beaa-47144ea342bb" providerId="ADAL" clId="{DC464907-3387-47C3-A55D-39455D4C538A}" dt="2022-12-06T07:18:59.477" v="2774" actId="20577"/>
        <pc:sldMkLst>
          <pc:docMk/>
          <pc:sldMk cId="954557141" sldId="2147469220"/>
        </pc:sldMkLst>
      </pc:sldChg>
      <pc:sldChg chg="addSp modSp add mod modShow">
        <pc:chgData name="Thomas MARENCIC" userId="bd5e5ba9-42cf-443f-beaa-47144ea342bb" providerId="ADAL" clId="{DC464907-3387-47C3-A55D-39455D4C538A}" dt="2022-12-06T06:36:18.919" v="2333" actId="20577"/>
        <pc:sldMkLst>
          <pc:docMk/>
          <pc:sldMk cId="1867560956" sldId="2147469221"/>
        </pc:sldMkLst>
      </pc:sldChg>
      <pc:sldChg chg="addSp delSp modSp new mod">
        <pc:chgData name="Thomas MARENCIC" userId="bd5e5ba9-42cf-443f-beaa-47144ea342bb" providerId="ADAL" clId="{DC464907-3387-47C3-A55D-39455D4C538A}" dt="2022-12-09T07:22:46.110" v="4839" actId="20577"/>
        <pc:sldMkLst>
          <pc:docMk/>
          <pc:sldMk cId="1723624365" sldId="2147469222"/>
        </pc:sldMkLst>
      </pc:sldChg>
      <pc:sldChg chg="addSp delSp modSp new mod modNotesTx">
        <pc:chgData name="Thomas MARENCIC" userId="bd5e5ba9-42cf-443f-beaa-47144ea342bb" providerId="ADAL" clId="{DC464907-3387-47C3-A55D-39455D4C538A}" dt="2022-12-09T09:28:40.463" v="5377" actId="113"/>
        <pc:sldMkLst>
          <pc:docMk/>
          <pc:sldMk cId="1949532902" sldId="2147469223"/>
        </pc:sldMkLst>
      </pc:sldChg>
      <pc:sldChg chg="addSp delSp modSp new del mod">
        <pc:chgData name="Thomas MARENCIC" userId="bd5e5ba9-42cf-443f-beaa-47144ea342bb" providerId="ADAL" clId="{DC464907-3387-47C3-A55D-39455D4C538A}" dt="2022-12-09T08:03:05.566" v="5287" actId="47"/>
        <pc:sldMkLst>
          <pc:docMk/>
          <pc:sldMk cId="2490115308" sldId="2147469224"/>
        </pc:sldMkLst>
      </pc:sldChg>
      <pc:sldChg chg="addSp delSp modSp mod modClrScheme modShow chgLayout">
        <pc:chgData name="Thomas MARENCIC" userId="bd5e5ba9-42cf-443f-beaa-47144ea342bb" providerId="ADAL" clId="{DC464907-3387-47C3-A55D-39455D4C538A}" dt="2022-12-08T20:50:48.704" v="4341" actId="313"/>
        <pc:sldMkLst>
          <pc:docMk/>
          <pc:sldMk cId="1007324685" sldId="2147469225"/>
        </pc:sldMkLst>
      </pc:sldChg>
      <pc:sldChg chg="modSp mod">
        <pc:chgData name="Thomas MARENCIC" userId="bd5e5ba9-42cf-443f-beaa-47144ea342bb" providerId="ADAL" clId="{DC464907-3387-47C3-A55D-39455D4C538A}" dt="2022-12-09T17:31:04.497" v="6127" actId="1076"/>
        <pc:sldMkLst>
          <pc:docMk/>
          <pc:sldMk cId="3536625796" sldId="2147469228"/>
        </pc:sldMkLst>
      </pc:sldChg>
      <pc:sldChg chg="addSp delSp modSp del mod ord modShow">
        <pc:chgData name="Thomas MARENCIC" userId="bd5e5ba9-42cf-443f-beaa-47144ea342bb" providerId="ADAL" clId="{DC464907-3387-47C3-A55D-39455D4C538A}" dt="2022-12-09T10:00:46.466" v="5785" actId="47"/>
        <pc:sldMkLst>
          <pc:docMk/>
          <pc:sldMk cId="1602959095" sldId="2147469232"/>
        </pc:sldMkLst>
      </pc:sldChg>
      <pc:sldChg chg="modSp mod">
        <pc:chgData name="Thomas MARENCIC" userId="bd5e5ba9-42cf-443f-beaa-47144ea342bb" providerId="ADAL" clId="{DC464907-3387-47C3-A55D-39455D4C538A}" dt="2022-12-08T17:00:27.664" v="3056" actId="20577"/>
        <pc:sldMkLst>
          <pc:docMk/>
          <pc:sldMk cId="2862034825" sldId="2147469237"/>
        </pc:sldMkLst>
      </pc:sldChg>
      <pc:sldChg chg="modSp mod ord">
        <pc:chgData name="Thomas MARENCIC" userId="bd5e5ba9-42cf-443f-beaa-47144ea342bb" providerId="ADAL" clId="{DC464907-3387-47C3-A55D-39455D4C538A}" dt="2022-12-08T16:57:22.292" v="3044"/>
        <pc:sldMkLst>
          <pc:docMk/>
          <pc:sldMk cId="2150747149" sldId="2147469238"/>
        </pc:sldMkLst>
      </pc:sldChg>
      <pc:sldChg chg="del">
        <pc:chgData name="Thomas MARENCIC" userId="bd5e5ba9-42cf-443f-beaa-47144ea342bb" providerId="ADAL" clId="{DC464907-3387-47C3-A55D-39455D4C538A}" dt="2022-12-09T07:25:24.597" v="4840" actId="47"/>
        <pc:sldMkLst>
          <pc:docMk/>
          <pc:sldMk cId="4014796270" sldId="2147469239"/>
        </pc:sldMkLst>
      </pc:sldChg>
      <pc:sldChg chg="addSp delSp modSp mod modClrScheme chgLayout">
        <pc:chgData name="Thomas MARENCIC" userId="bd5e5ba9-42cf-443f-beaa-47144ea342bb" providerId="ADAL" clId="{DC464907-3387-47C3-A55D-39455D4C538A}" dt="2022-12-09T17:27:35.288" v="6070" actId="478"/>
        <pc:sldMkLst>
          <pc:docMk/>
          <pc:sldMk cId="1863786756" sldId="2147469240"/>
        </pc:sldMkLst>
      </pc:sldChg>
      <pc:sldChg chg="del">
        <pc:chgData name="Thomas MARENCIC" userId="bd5e5ba9-42cf-443f-beaa-47144ea342bb" providerId="ADAL" clId="{DC464907-3387-47C3-A55D-39455D4C538A}" dt="2022-12-09T07:27:46.191" v="4843" actId="47"/>
        <pc:sldMkLst>
          <pc:docMk/>
          <pc:sldMk cId="232541513" sldId="2147469246"/>
        </pc:sldMkLst>
      </pc:sldChg>
      <pc:sldChg chg="addSp delSp modSp mod">
        <pc:chgData name="Thomas MARENCIC" userId="bd5e5ba9-42cf-443f-beaa-47144ea342bb" providerId="ADAL" clId="{DC464907-3387-47C3-A55D-39455D4C538A}" dt="2022-12-09T17:38:33.856" v="6415" actId="1076"/>
        <pc:sldMkLst>
          <pc:docMk/>
          <pc:sldMk cId="1717254701" sldId="2147469247"/>
        </pc:sldMkLst>
      </pc:sldChg>
      <pc:sldChg chg="del">
        <pc:chgData name="Thomas MARENCIC" userId="bd5e5ba9-42cf-443f-beaa-47144ea342bb" providerId="ADAL" clId="{DC464907-3387-47C3-A55D-39455D4C538A}" dt="2022-12-08T21:26:08.154" v="4566" actId="47"/>
        <pc:sldMkLst>
          <pc:docMk/>
          <pc:sldMk cId="2230640638" sldId="2147469248"/>
        </pc:sldMkLst>
      </pc:sldChg>
      <pc:sldChg chg="modSp add mod">
        <pc:chgData name="Thomas MARENCIC" userId="bd5e5ba9-42cf-443f-beaa-47144ea342bb" providerId="ADAL" clId="{DC464907-3387-47C3-A55D-39455D4C538A}" dt="2022-12-09T09:37:42.967" v="5380" actId="20577"/>
        <pc:sldMkLst>
          <pc:docMk/>
          <pc:sldMk cId="1789244579" sldId="2147469250"/>
        </pc:sldMkLst>
      </pc:sldChg>
      <pc:sldChg chg="modSp new mod">
        <pc:chgData name="Thomas MARENCIC" userId="bd5e5ba9-42cf-443f-beaa-47144ea342bb" providerId="ADAL" clId="{DC464907-3387-47C3-A55D-39455D4C538A}" dt="2022-12-08T21:00:52.312" v="4448" actId="313"/>
        <pc:sldMkLst>
          <pc:docMk/>
          <pc:sldMk cId="2528676621" sldId="2147469252"/>
        </pc:sldMkLst>
      </pc:sldChg>
      <pc:sldChg chg="addSp delSp modSp add mod">
        <pc:chgData name="Thomas MARENCIC" userId="bd5e5ba9-42cf-443f-beaa-47144ea342bb" providerId="ADAL" clId="{DC464907-3387-47C3-A55D-39455D4C538A}" dt="2022-12-09T08:15:52.532" v="5304" actId="1076"/>
        <pc:sldMkLst>
          <pc:docMk/>
          <pc:sldMk cId="2705986338" sldId="2147469253"/>
        </pc:sldMkLst>
      </pc:sldChg>
      <pc:sldChg chg="delSp modSp add mod">
        <pc:chgData name="Thomas MARENCIC" userId="bd5e5ba9-42cf-443f-beaa-47144ea342bb" providerId="ADAL" clId="{DC464907-3387-47C3-A55D-39455D4C538A}" dt="2022-12-09T09:38:49.649" v="5388" actId="20577"/>
        <pc:sldMkLst>
          <pc:docMk/>
          <pc:sldMk cId="906830166" sldId="2147469254"/>
        </pc:sldMkLst>
      </pc:sldChg>
      <pc:sldChg chg="addSp delSp modSp new del mod modClrScheme chgLayout">
        <pc:chgData name="Thomas MARENCIC" userId="bd5e5ba9-42cf-443f-beaa-47144ea342bb" providerId="ADAL" clId="{DC464907-3387-47C3-A55D-39455D4C538A}" dt="2022-12-09T07:36:00.258" v="4850" actId="47"/>
        <pc:sldMkLst>
          <pc:docMk/>
          <pc:sldMk cId="1863347244" sldId="2147469254"/>
        </pc:sldMkLst>
      </pc:sldChg>
      <pc:sldChg chg="add">
        <pc:chgData name="Thomas MARENCIC" userId="bd5e5ba9-42cf-443f-beaa-47144ea342bb" providerId="ADAL" clId="{DC464907-3387-47C3-A55D-39455D4C538A}" dt="2022-12-09T09:59:13.532" v="5784"/>
        <pc:sldMkLst>
          <pc:docMk/>
          <pc:sldMk cId="1030784313" sldId="2147469255"/>
        </pc:sldMkLst>
      </pc:sldChg>
      <pc:sldChg chg="modSp new del mod">
        <pc:chgData name="Thomas MARENCIC" userId="bd5e5ba9-42cf-443f-beaa-47144ea342bb" providerId="ADAL" clId="{DC464907-3387-47C3-A55D-39455D4C538A}" dt="2022-12-09T17:40:44" v="6416" actId="47"/>
        <pc:sldMkLst>
          <pc:docMk/>
          <pc:sldMk cId="3464400356" sldId="2147469256"/>
        </pc:sldMkLst>
      </pc:sldChg>
      <pc:sldChg chg="modSp add mod ord">
        <pc:chgData name="Thomas MARENCIC" userId="bd5e5ba9-42cf-443f-beaa-47144ea342bb" providerId="ADAL" clId="{DC464907-3387-47C3-A55D-39455D4C538A}" dt="2022-12-09T17:25:11.213" v="6055"/>
        <pc:sldMkLst>
          <pc:docMk/>
          <pc:sldMk cId="788779387" sldId="2147469257"/>
        </pc:sldMkLst>
      </pc:sldChg>
      <pc:sldChg chg="addSp delSp modSp new mod modClrScheme chgLayout">
        <pc:chgData name="Thomas MARENCIC" userId="bd5e5ba9-42cf-443f-beaa-47144ea342bb" providerId="ADAL" clId="{DC464907-3387-47C3-A55D-39455D4C538A}" dt="2022-12-09T17:28:13.621" v="6077" actId="20577"/>
        <pc:sldMkLst>
          <pc:docMk/>
          <pc:sldMk cId="2318514869" sldId="2147469258"/>
        </pc:sldMkLst>
      </pc:sldChg>
      <pc:sldChg chg="modSp new mod">
        <pc:chgData name="Thomas MARENCIC" userId="bd5e5ba9-42cf-443f-beaa-47144ea342bb" providerId="ADAL" clId="{DC464907-3387-47C3-A55D-39455D4C538A}" dt="2022-12-09T17:29:13.017" v="6125" actId="790"/>
        <pc:sldMkLst>
          <pc:docMk/>
          <pc:sldMk cId="2105868698" sldId="2147469259"/>
        </pc:sldMkLst>
      </pc:sldChg>
      <pc:sldChg chg="addSp delSp modSp new mod modClrScheme chgLayout">
        <pc:chgData name="Thomas MARENCIC" userId="bd5e5ba9-42cf-443f-beaa-47144ea342bb" providerId="ADAL" clId="{DC464907-3387-47C3-A55D-39455D4C538A}" dt="2022-12-09T17:31:45.562" v="6133" actId="20577"/>
        <pc:sldMkLst>
          <pc:docMk/>
          <pc:sldMk cId="3426460793" sldId="2147469260"/>
        </pc:sldMkLst>
      </pc:sldChg>
      <pc:sldChg chg="modSp new mod">
        <pc:chgData name="Thomas MARENCIC" userId="bd5e5ba9-42cf-443f-beaa-47144ea342bb" providerId="ADAL" clId="{DC464907-3387-47C3-A55D-39455D4C538A}" dt="2022-12-09T17:33:48.526" v="6195" actId="790"/>
        <pc:sldMkLst>
          <pc:docMk/>
          <pc:sldMk cId="3129492785" sldId="2147469261"/>
        </pc:sldMkLst>
      </pc:sldChg>
      <pc:sldChg chg="modSp new mod">
        <pc:chgData name="Thomas MARENCIC" userId="bd5e5ba9-42cf-443f-beaa-47144ea342bb" providerId="ADAL" clId="{DC464907-3387-47C3-A55D-39455D4C538A}" dt="2022-12-09T17:34:44.500" v="6285" actId="20577"/>
        <pc:sldMkLst>
          <pc:docMk/>
          <pc:sldMk cId="2853590062" sldId="2147469262"/>
        </pc:sldMkLst>
      </pc:sldChg>
      <pc:sldChg chg="addSp delSp modSp new mod">
        <pc:chgData name="Thomas MARENCIC" userId="bd5e5ba9-42cf-443f-beaa-47144ea342bb" providerId="ADAL" clId="{DC464907-3387-47C3-A55D-39455D4C538A}" dt="2022-12-09T17:38:00.910" v="6410"/>
        <pc:sldMkLst>
          <pc:docMk/>
          <pc:sldMk cId="1450007021" sldId="2147469263"/>
        </pc:sldMkLst>
      </pc:sldChg>
      <pc:sldMasterChg chg="addSldLayout modSldLayout">
        <pc:chgData name="Thomas MARENCIC" userId="bd5e5ba9-42cf-443f-beaa-47144ea342bb" providerId="ADAL" clId="{DC464907-3387-47C3-A55D-39455D4C538A}" dt="2022-12-08T20:46:49.875" v="4326" actId="14100"/>
        <pc:sldMasterMkLst>
          <pc:docMk/>
          <pc:sldMasterMk cId="4264061012" sldId="2147483678"/>
        </pc:sldMasterMkLst>
        <pc:sldLayoutChg chg="delSp modSp add mod">
          <pc:chgData name="Thomas MARENCIC" userId="bd5e5ba9-42cf-443f-beaa-47144ea342bb" providerId="ADAL" clId="{DC464907-3387-47C3-A55D-39455D4C538A}" dt="2022-12-08T20:46:49.875" v="4326" actId="14100"/>
          <pc:sldLayoutMkLst>
            <pc:docMk/>
            <pc:sldMasterMk cId="4264061012" sldId="2147483660"/>
            <pc:sldLayoutMk cId="3097334626" sldId="2147483677"/>
          </pc:sldLayoutMkLst>
        </pc:sldLayoutChg>
      </pc:sldMasterChg>
    </pc:docChg>
  </pc:docChgLst>
  <pc:docChgLst>
    <pc:chgData name="Thomas MARENCIC" userId="311041e6-165e-4441-8a6f-ecd1fba92656" providerId="ADAL" clId="{DC464907-3387-47C3-A55D-39455D4C538A}"/>
    <pc:docChg chg="undo custSel addSld delSld modSld sldOrd modSection">
      <pc:chgData name="Thomas MARENCIC" userId="311041e6-165e-4441-8a6f-ecd1fba92656" providerId="ADAL" clId="{DC464907-3387-47C3-A55D-39455D4C538A}" dt="2022-12-16T15:29:10.691" v="13283"/>
      <pc:docMkLst>
        <pc:docMk/>
      </pc:docMkLst>
      <pc:sldChg chg="modSp mod">
        <pc:chgData name="Thomas MARENCIC" userId="311041e6-165e-4441-8a6f-ecd1fba92656" providerId="ADAL" clId="{DC464907-3387-47C3-A55D-39455D4C538A}" dt="2022-12-07T19:50:31.782" v="3633" actId="1076"/>
        <pc:sldMkLst>
          <pc:docMk/>
          <pc:sldMk cId="3564186676" sldId="2147375479"/>
        </pc:sldMkLst>
      </pc:sldChg>
      <pc:sldChg chg="delSp modSp del mod">
        <pc:chgData name="Thomas MARENCIC" userId="311041e6-165e-4441-8a6f-ecd1fba92656" providerId="ADAL" clId="{DC464907-3387-47C3-A55D-39455D4C538A}" dt="2022-12-13T09:27:46.244" v="11672" actId="47"/>
        <pc:sldMkLst>
          <pc:docMk/>
          <pc:sldMk cId="1200302629" sldId="2147375483"/>
        </pc:sldMkLst>
      </pc:sldChg>
      <pc:sldChg chg="modSp mod">
        <pc:chgData name="Thomas MARENCIC" userId="311041e6-165e-4441-8a6f-ecd1fba92656" providerId="ADAL" clId="{DC464907-3387-47C3-A55D-39455D4C538A}" dt="2022-12-07T21:20:20.210" v="3738" actId="1076"/>
        <pc:sldMkLst>
          <pc:docMk/>
          <pc:sldMk cId="661619074" sldId="2147469078"/>
        </pc:sldMkLst>
      </pc:sldChg>
      <pc:sldChg chg="modSp mod">
        <pc:chgData name="Thomas MARENCIC" userId="311041e6-165e-4441-8a6f-ecd1fba92656" providerId="ADAL" clId="{DC464907-3387-47C3-A55D-39455D4C538A}" dt="2022-12-05T15:03:51.760" v="2244" actId="20577"/>
        <pc:sldMkLst>
          <pc:docMk/>
          <pc:sldMk cId="3558143222" sldId="2147469082"/>
        </pc:sldMkLst>
      </pc:sldChg>
      <pc:sldChg chg="del">
        <pc:chgData name="Thomas MARENCIC" userId="311041e6-165e-4441-8a6f-ecd1fba92656" providerId="ADAL" clId="{DC464907-3387-47C3-A55D-39455D4C538A}" dt="2022-12-05T15:05:29.766" v="2248" actId="47"/>
        <pc:sldMkLst>
          <pc:docMk/>
          <pc:sldMk cId="2603625157" sldId="2147469194"/>
        </pc:sldMkLst>
      </pc:sldChg>
      <pc:sldChg chg="del">
        <pc:chgData name="Thomas MARENCIC" userId="311041e6-165e-4441-8a6f-ecd1fba92656" providerId="ADAL" clId="{DC464907-3387-47C3-A55D-39455D4C538A}" dt="2022-12-01T13:14:59.008" v="694" actId="47"/>
        <pc:sldMkLst>
          <pc:docMk/>
          <pc:sldMk cId="3675963834" sldId="2147469195"/>
        </pc:sldMkLst>
      </pc:sldChg>
      <pc:sldChg chg="del">
        <pc:chgData name="Thomas MARENCIC" userId="311041e6-165e-4441-8a6f-ecd1fba92656" providerId="ADAL" clId="{DC464907-3387-47C3-A55D-39455D4C538A}" dt="2022-12-05T15:05:29.766" v="2248" actId="47"/>
        <pc:sldMkLst>
          <pc:docMk/>
          <pc:sldMk cId="2505194753" sldId="2147469197"/>
        </pc:sldMkLst>
      </pc:sldChg>
      <pc:sldChg chg="del">
        <pc:chgData name="Thomas MARENCIC" userId="311041e6-165e-4441-8a6f-ecd1fba92656" providerId="ADAL" clId="{DC464907-3387-47C3-A55D-39455D4C538A}" dt="2022-12-05T15:05:29.766" v="2248" actId="47"/>
        <pc:sldMkLst>
          <pc:docMk/>
          <pc:sldMk cId="1106330422" sldId="2147469198"/>
        </pc:sldMkLst>
      </pc:sldChg>
      <pc:sldChg chg="ord">
        <pc:chgData name="Thomas MARENCIC" userId="311041e6-165e-4441-8a6f-ecd1fba92656" providerId="ADAL" clId="{DC464907-3387-47C3-A55D-39455D4C538A}" dt="2022-12-01T13:19:51.876" v="757"/>
        <pc:sldMkLst>
          <pc:docMk/>
          <pc:sldMk cId="3980371301" sldId="2147469203"/>
        </pc:sldMkLst>
      </pc:sldChg>
      <pc:sldChg chg="modSp mod ord">
        <pc:chgData name="Thomas MARENCIC" userId="311041e6-165e-4441-8a6f-ecd1fba92656" providerId="ADAL" clId="{DC464907-3387-47C3-A55D-39455D4C538A}" dt="2022-12-05T15:03:57.252" v="2245" actId="20577"/>
        <pc:sldMkLst>
          <pc:docMk/>
          <pc:sldMk cId="756621096" sldId="2147469205"/>
        </pc:sldMkLst>
      </pc:sldChg>
      <pc:sldChg chg="modSp del mod ord">
        <pc:chgData name="Thomas MARENCIC" userId="311041e6-165e-4441-8a6f-ecd1fba92656" providerId="ADAL" clId="{DC464907-3387-47C3-A55D-39455D4C538A}" dt="2022-12-13T12:26:20.012" v="12937" actId="47"/>
        <pc:sldMkLst>
          <pc:docMk/>
          <pc:sldMk cId="4002086029" sldId="2147469206"/>
        </pc:sldMkLst>
      </pc:sldChg>
      <pc:sldChg chg="addSp delSp modSp mod ord modClrScheme modShow chgLayout">
        <pc:chgData name="Thomas MARENCIC" userId="311041e6-165e-4441-8a6f-ecd1fba92656" providerId="ADAL" clId="{DC464907-3387-47C3-A55D-39455D4C538A}" dt="2022-12-05T15:02:33.313" v="2232" actId="729"/>
        <pc:sldMkLst>
          <pc:docMk/>
          <pc:sldMk cId="2551602083" sldId="2147469207"/>
        </pc:sldMkLst>
      </pc:sldChg>
      <pc:sldChg chg="new del">
        <pc:chgData name="Thomas MARENCIC" userId="311041e6-165e-4441-8a6f-ecd1fba92656" providerId="ADAL" clId="{DC464907-3387-47C3-A55D-39455D4C538A}" dt="2022-12-01T13:17:12.707" v="705" actId="47"/>
        <pc:sldMkLst>
          <pc:docMk/>
          <pc:sldMk cId="438757923" sldId="2147469210"/>
        </pc:sldMkLst>
      </pc:sldChg>
      <pc:sldChg chg="addSp delSp modSp del mod ord modClrScheme chgLayout">
        <pc:chgData name="Thomas MARENCIC" userId="311041e6-165e-4441-8a6f-ecd1fba92656" providerId="ADAL" clId="{DC464907-3387-47C3-A55D-39455D4C538A}" dt="2022-12-08T09:07:50.304" v="4676" actId="47"/>
        <pc:sldMkLst>
          <pc:docMk/>
          <pc:sldMk cId="1708213307" sldId="2147469210"/>
        </pc:sldMkLst>
      </pc:sldChg>
      <pc:sldChg chg="add del">
        <pc:chgData name="Thomas MARENCIC" userId="311041e6-165e-4441-8a6f-ecd1fba92656" providerId="ADAL" clId="{DC464907-3387-47C3-A55D-39455D4C538A}" dt="2022-12-01T13:14:15.726" v="693" actId="47"/>
        <pc:sldMkLst>
          <pc:docMk/>
          <pc:sldMk cId="979967345" sldId="2147469211"/>
        </pc:sldMkLst>
      </pc:sldChg>
      <pc:sldChg chg="addSp delSp modSp del mod ord modClrScheme chgLayout">
        <pc:chgData name="Thomas MARENCIC" userId="311041e6-165e-4441-8a6f-ecd1fba92656" providerId="ADAL" clId="{DC464907-3387-47C3-A55D-39455D4C538A}" dt="2022-12-13T09:27:18.220" v="11670" actId="47"/>
        <pc:sldMkLst>
          <pc:docMk/>
          <pc:sldMk cId="1982229707" sldId="2147469213"/>
        </pc:sldMkLst>
      </pc:sldChg>
      <pc:sldChg chg="modSp add del mod">
        <pc:chgData name="Thomas MARENCIC" userId="311041e6-165e-4441-8a6f-ecd1fba92656" providerId="ADAL" clId="{DC464907-3387-47C3-A55D-39455D4C538A}" dt="2022-12-05T15:05:29.766" v="2248" actId="47"/>
        <pc:sldMkLst>
          <pc:docMk/>
          <pc:sldMk cId="1540881767" sldId="2147469216"/>
        </pc:sldMkLst>
      </pc:sldChg>
      <pc:sldChg chg="modSp new del mod">
        <pc:chgData name="Thomas MARENCIC" userId="311041e6-165e-4441-8a6f-ecd1fba92656" providerId="ADAL" clId="{DC464907-3387-47C3-A55D-39455D4C538A}" dt="2022-12-05T15:05:29.766" v="2248" actId="47"/>
        <pc:sldMkLst>
          <pc:docMk/>
          <pc:sldMk cId="2658060873" sldId="2147469217"/>
        </pc:sldMkLst>
      </pc:sldChg>
      <pc:sldChg chg="modSp mod">
        <pc:chgData name="Thomas MARENCIC" userId="311041e6-165e-4441-8a6f-ecd1fba92656" providerId="ADAL" clId="{DC464907-3387-47C3-A55D-39455D4C538A}" dt="2022-12-08T09:31:23.201" v="6010" actId="20577"/>
        <pc:sldMkLst>
          <pc:docMk/>
          <pc:sldMk cId="454162624" sldId="2147469219"/>
        </pc:sldMkLst>
      </pc:sldChg>
      <pc:sldChg chg="del">
        <pc:chgData name="Thomas MARENCIC" userId="311041e6-165e-4441-8a6f-ecd1fba92656" providerId="ADAL" clId="{DC464907-3387-47C3-A55D-39455D4C538A}" dt="2022-12-07T09:24:53.708" v="2719" actId="47"/>
        <pc:sldMkLst>
          <pc:docMk/>
          <pc:sldMk cId="1867560956" sldId="2147469221"/>
        </pc:sldMkLst>
      </pc:sldChg>
      <pc:sldChg chg="addSp delSp modSp mod">
        <pc:chgData name="Thomas MARENCIC" userId="311041e6-165e-4441-8a6f-ecd1fba92656" providerId="ADAL" clId="{DC464907-3387-47C3-A55D-39455D4C538A}" dt="2022-12-07T18:46:16.458" v="3614" actId="1076"/>
        <pc:sldMkLst>
          <pc:docMk/>
          <pc:sldMk cId="1723624365" sldId="2147469222"/>
        </pc:sldMkLst>
      </pc:sldChg>
      <pc:sldChg chg="addSp delSp modSp mod">
        <pc:chgData name="Thomas MARENCIC" userId="311041e6-165e-4441-8a6f-ecd1fba92656" providerId="ADAL" clId="{DC464907-3387-47C3-A55D-39455D4C538A}" dt="2022-12-07T21:58:55.389" v="4642" actId="1076"/>
        <pc:sldMkLst>
          <pc:docMk/>
          <pc:sldMk cId="1949532902" sldId="2147469223"/>
        </pc:sldMkLst>
      </pc:sldChg>
      <pc:sldChg chg="addSp delSp modSp mod">
        <pc:chgData name="Thomas MARENCIC" userId="311041e6-165e-4441-8a6f-ecd1fba92656" providerId="ADAL" clId="{DC464907-3387-47C3-A55D-39455D4C538A}" dt="2022-12-12T08:51:51.218" v="6787" actId="13926"/>
        <pc:sldMkLst>
          <pc:docMk/>
          <pc:sldMk cId="3536625796" sldId="2147469228"/>
        </pc:sldMkLst>
      </pc:sldChg>
      <pc:sldChg chg="addSp delSp modSp new mod ord">
        <pc:chgData name="Thomas MARENCIC" userId="311041e6-165e-4441-8a6f-ecd1fba92656" providerId="ADAL" clId="{DC464907-3387-47C3-A55D-39455D4C538A}" dt="2022-12-08T09:09:23.701" v="4683" actId="20577"/>
        <pc:sldMkLst>
          <pc:docMk/>
          <pc:sldMk cId="92527006" sldId="2147469229"/>
        </pc:sldMkLst>
      </pc:sldChg>
      <pc:sldChg chg="del">
        <pc:chgData name="Thomas MARENCIC" userId="311041e6-165e-4441-8a6f-ecd1fba92656" providerId="ADAL" clId="{DC464907-3387-47C3-A55D-39455D4C538A}" dt="2022-12-07T09:24:56.449" v="2720" actId="47"/>
        <pc:sldMkLst>
          <pc:docMk/>
          <pc:sldMk cId="3901947206" sldId="2147469229"/>
        </pc:sldMkLst>
      </pc:sldChg>
      <pc:sldChg chg="ord">
        <pc:chgData name="Thomas MARENCIC" userId="311041e6-165e-4441-8a6f-ecd1fba92656" providerId="ADAL" clId="{DC464907-3387-47C3-A55D-39455D4C538A}" dt="2022-12-07T18:35:36.575" v="3441"/>
        <pc:sldMkLst>
          <pc:docMk/>
          <pc:sldMk cId="1602959095" sldId="2147469232"/>
        </pc:sldMkLst>
      </pc:sldChg>
      <pc:sldChg chg="ord">
        <pc:chgData name="Thomas MARENCIC" userId="311041e6-165e-4441-8a6f-ecd1fba92656" providerId="ADAL" clId="{DC464907-3387-47C3-A55D-39455D4C538A}" dt="2022-12-07T18:35:36.575" v="3441"/>
        <pc:sldMkLst>
          <pc:docMk/>
          <pc:sldMk cId="4175321075" sldId="2147469233"/>
        </pc:sldMkLst>
      </pc:sldChg>
      <pc:sldChg chg="ord">
        <pc:chgData name="Thomas MARENCIC" userId="311041e6-165e-4441-8a6f-ecd1fba92656" providerId="ADAL" clId="{DC464907-3387-47C3-A55D-39455D4C538A}" dt="2022-12-07T18:35:36.575" v="3441"/>
        <pc:sldMkLst>
          <pc:docMk/>
          <pc:sldMk cId="137568215" sldId="2147469234"/>
        </pc:sldMkLst>
      </pc:sldChg>
      <pc:sldChg chg="ord">
        <pc:chgData name="Thomas MARENCIC" userId="311041e6-165e-4441-8a6f-ecd1fba92656" providerId="ADAL" clId="{DC464907-3387-47C3-A55D-39455D4C538A}" dt="2022-12-07T18:35:36.575" v="3441"/>
        <pc:sldMkLst>
          <pc:docMk/>
          <pc:sldMk cId="560806068" sldId="2147469235"/>
        </pc:sldMkLst>
      </pc:sldChg>
      <pc:sldChg chg="ord">
        <pc:chgData name="Thomas MARENCIC" userId="311041e6-165e-4441-8a6f-ecd1fba92656" providerId="ADAL" clId="{DC464907-3387-47C3-A55D-39455D4C538A}" dt="2022-12-07T18:35:36.575" v="3441"/>
        <pc:sldMkLst>
          <pc:docMk/>
          <pc:sldMk cId="1014251268" sldId="2147469236"/>
        </pc:sldMkLst>
      </pc:sldChg>
      <pc:sldChg chg="ord">
        <pc:chgData name="Thomas MARENCIC" userId="311041e6-165e-4441-8a6f-ecd1fba92656" providerId="ADAL" clId="{DC464907-3387-47C3-A55D-39455D4C538A}" dt="2022-12-07T18:35:36.575" v="3441"/>
        <pc:sldMkLst>
          <pc:docMk/>
          <pc:sldMk cId="2862034825" sldId="2147469237"/>
        </pc:sldMkLst>
      </pc:sldChg>
      <pc:sldChg chg="ord">
        <pc:chgData name="Thomas MARENCIC" userId="311041e6-165e-4441-8a6f-ecd1fba92656" providerId="ADAL" clId="{DC464907-3387-47C3-A55D-39455D4C538A}" dt="2022-12-07T18:35:36.575" v="3441"/>
        <pc:sldMkLst>
          <pc:docMk/>
          <pc:sldMk cId="2150747149" sldId="2147469238"/>
        </pc:sldMkLst>
      </pc:sldChg>
      <pc:sldChg chg="ord">
        <pc:chgData name="Thomas MARENCIC" userId="311041e6-165e-4441-8a6f-ecd1fba92656" providerId="ADAL" clId="{DC464907-3387-47C3-A55D-39455D4C538A}" dt="2022-12-07T21:16:02.920" v="3637"/>
        <pc:sldMkLst>
          <pc:docMk/>
          <pc:sldMk cId="4014796270" sldId="2147469239"/>
        </pc:sldMkLst>
      </pc:sldChg>
      <pc:sldChg chg="addSp delSp modSp new mod modClrScheme chgLayout">
        <pc:chgData name="Thomas MARENCIC" userId="311041e6-165e-4441-8a6f-ecd1fba92656" providerId="ADAL" clId="{DC464907-3387-47C3-A55D-39455D4C538A}" dt="2022-12-07T18:35:18.240" v="3439" actId="1076"/>
        <pc:sldMkLst>
          <pc:docMk/>
          <pc:sldMk cId="1056202540" sldId="2147469244"/>
        </pc:sldMkLst>
      </pc:sldChg>
      <pc:sldChg chg="addSp modSp new del mod ord">
        <pc:chgData name="Thomas MARENCIC" userId="311041e6-165e-4441-8a6f-ecd1fba92656" providerId="ADAL" clId="{DC464907-3387-47C3-A55D-39455D4C538A}" dt="2022-12-08T09:30:52.870" v="6008" actId="47"/>
        <pc:sldMkLst>
          <pc:docMk/>
          <pc:sldMk cId="2868521996" sldId="2147469245"/>
        </pc:sldMkLst>
      </pc:sldChg>
      <pc:sldChg chg="addSp delSp modSp new mod modClrScheme chgLayout">
        <pc:chgData name="Thomas MARENCIC" userId="311041e6-165e-4441-8a6f-ecd1fba92656" providerId="ADAL" clId="{DC464907-3387-47C3-A55D-39455D4C538A}" dt="2022-12-08T09:34:45.651" v="6203" actId="20577"/>
        <pc:sldMkLst>
          <pc:docMk/>
          <pc:sldMk cId="2230640638" sldId="2147469248"/>
        </pc:sldMkLst>
      </pc:sldChg>
      <pc:sldChg chg="del ord">
        <pc:chgData name="Thomas MARENCIC" userId="311041e6-165e-4441-8a6f-ecd1fba92656" providerId="ADAL" clId="{DC464907-3387-47C3-A55D-39455D4C538A}" dt="2022-12-12T09:07:56.460" v="7196" actId="47"/>
        <pc:sldMkLst>
          <pc:docMk/>
          <pc:sldMk cId="3263479812" sldId="2147469249"/>
        </pc:sldMkLst>
      </pc:sldChg>
      <pc:sldChg chg="modSp del mod">
        <pc:chgData name="Thomas MARENCIC" userId="311041e6-165e-4441-8a6f-ecd1fba92656" providerId="ADAL" clId="{DC464907-3387-47C3-A55D-39455D4C538A}" dt="2022-12-13T09:32:44.541" v="11775" actId="47"/>
        <pc:sldMkLst>
          <pc:docMk/>
          <pc:sldMk cId="2318514869" sldId="2147469258"/>
        </pc:sldMkLst>
      </pc:sldChg>
      <pc:sldChg chg="addSp delSp modSp mod">
        <pc:chgData name="Thomas MARENCIC" userId="311041e6-165e-4441-8a6f-ecd1fba92656" providerId="ADAL" clId="{DC464907-3387-47C3-A55D-39455D4C538A}" dt="2022-12-12T09:29:08.135" v="8538" actId="1076"/>
        <pc:sldMkLst>
          <pc:docMk/>
          <pc:sldMk cId="3426460793" sldId="2147469260"/>
        </pc:sldMkLst>
      </pc:sldChg>
      <pc:sldChg chg="addSp modSp del mod">
        <pc:chgData name="Thomas MARENCIC" userId="311041e6-165e-4441-8a6f-ecd1fba92656" providerId="ADAL" clId="{DC464907-3387-47C3-A55D-39455D4C538A}" dt="2022-12-16T15:17:43.885" v="12953" actId="47"/>
        <pc:sldMkLst>
          <pc:docMk/>
          <pc:sldMk cId="3129492785" sldId="2147469261"/>
        </pc:sldMkLst>
      </pc:sldChg>
      <pc:sldChg chg="addSp delSp modSp mod ord modClrScheme chgLayout">
        <pc:chgData name="Thomas MARENCIC" userId="311041e6-165e-4441-8a6f-ecd1fba92656" providerId="ADAL" clId="{DC464907-3387-47C3-A55D-39455D4C538A}" dt="2022-12-13T10:05:06.421" v="12936" actId="20577"/>
        <pc:sldMkLst>
          <pc:docMk/>
          <pc:sldMk cId="1450007021" sldId="2147469263"/>
        </pc:sldMkLst>
      </pc:sldChg>
      <pc:sldChg chg="del ord">
        <pc:chgData name="Thomas MARENCIC" userId="311041e6-165e-4441-8a6f-ecd1fba92656" providerId="ADAL" clId="{DC464907-3387-47C3-A55D-39455D4C538A}" dt="2022-12-13T09:22:54.480" v="11650" actId="47"/>
        <pc:sldMkLst>
          <pc:docMk/>
          <pc:sldMk cId="2925016070" sldId="2147469266"/>
        </pc:sldMkLst>
      </pc:sldChg>
      <pc:sldChg chg="addSp modSp mod">
        <pc:chgData name="Thomas MARENCIC" userId="311041e6-165e-4441-8a6f-ecd1fba92656" providerId="ADAL" clId="{DC464907-3387-47C3-A55D-39455D4C538A}" dt="2022-12-16T15:28:58.026" v="13277" actId="1076"/>
        <pc:sldMkLst>
          <pc:docMk/>
          <pc:sldMk cId="596036060" sldId="2147469269"/>
        </pc:sldMkLst>
      </pc:sldChg>
      <pc:sldChg chg="addSp delSp modSp mod">
        <pc:chgData name="Thomas MARENCIC" userId="311041e6-165e-4441-8a6f-ecd1fba92656" providerId="ADAL" clId="{DC464907-3387-47C3-A55D-39455D4C538A}" dt="2022-12-16T15:29:06.829" v="13281"/>
        <pc:sldMkLst>
          <pc:docMk/>
          <pc:sldMk cId="1552375756" sldId="2147469272"/>
        </pc:sldMkLst>
      </pc:sldChg>
      <pc:sldChg chg="addSp delSp modSp new mod ord modClrScheme chgLayout">
        <pc:chgData name="Thomas MARENCIC" userId="311041e6-165e-4441-8a6f-ecd1fba92656" providerId="ADAL" clId="{DC464907-3387-47C3-A55D-39455D4C538A}" dt="2022-12-13T09:22:34.450" v="11649" actId="108"/>
        <pc:sldMkLst>
          <pc:docMk/>
          <pc:sldMk cId="200622586" sldId="2147469273"/>
        </pc:sldMkLst>
      </pc:sldChg>
      <pc:sldChg chg="addSp delSp modSp new mod ord">
        <pc:chgData name="Thomas MARENCIC" userId="311041e6-165e-4441-8a6f-ecd1fba92656" providerId="ADAL" clId="{DC464907-3387-47C3-A55D-39455D4C538A}" dt="2022-12-13T09:24:44.257" v="11667" actId="20577"/>
        <pc:sldMkLst>
          <pc:docMk/>
          <pc:sldMk cId="704760206" sldId="2147469275"/>
        </pc:sldMkLst>
      </pc:sldChg>
      <pc:sldChg chg="modSp mod">
        <pc:chgData name="Thomas MARENCIC" userId="311041e6-165e-4441-8a6f-ecd1fba92656" providerId="ADAL" clId="{DC464907-3387-47C3-A55D-39455D4C538A}" dt="2022-12-16T15:16:41.952" v="12952" actId="313"/>
        <pc:sldMkLst>
          <pc:docMk/>
          <pc:sldMk cId="922742973" sldId="2147469277"/>
        </pc:sldMkLst>
      </pc:sldChg>
    </pc:docChg>
  </pc:docChgLst>
  <pc:docChgLst>
    <pc:chgData name="PERSOZ Christophe" userId="3d528581-6bb6-4b37-8a8c-d9671d7b7875" providerId="ADAL" clId="{1E436719-4081-4A68-BECF-DBD9CDA167D5}"/>
    <pc:docChg chg="modSld">
      <pc:chgData name="PERSOZ Christophe" userId="3d528581-6bb6-4b37-8a8c-d9671d7b7875" providerId="ADAL" clId="{1E436719-4081-4A68-BECF-DBD9CDA167D5}" dt="2024-12-22T18:49:55.796" v="83" actId="1076"/>
      <pc:docMkLst>
        <pc:docMk/>
      </pc:docMkLst>
      <pc:sldChg chg="modSp mod">
        <pc:chgData name="PERSOZ Christophe" userId="3d528581-6bb6-4b37-8a8c-d9671d7b7875" providerId="ADAL" clId="{1E436719-4081-4A68-BECF-DBD9CDA167D5}" dt="2024-12-22T17:49:15.619" v="0" actId="13926"/>
        <pc:sldMkLst>
          <pc:docMk/>
          <pc:sldMk cId="1876804831" sldId="2147469265"/>
        </pc:sldMkLst>
        <pc:spChg chg="mod">
          <ac:chgData name="PERSOZ Christophe" userId="3d528581-6bb6-4b37-8a8c-d9671d7b7875" providerId="ADAL" clId="{1E436719-4081-4A68-BECF-DBD9CDA167D5}" dt="2024-12-22T17:49:15.619" v="0" actId="13926"/>
          <ac:spMkLst>
            <pc:docMk/>
            <pc:sldMk cId="1876804831" sldId="2147469265"/>
            <ac:spMk id="21" creationId="{B1280E35-2806-3A86-7117-CE5FB90AF54A}"/>
          </ac:spMkLst>
        </pc:spChg>
      </pc:sldChg>
      <pc:sldChg chg="addSp modSp mod">
        <pc:chgData name="PERSOZ Christophe" userId="3d528581-6bb6-4b37-8a8c-d9671d7b7875" providerId="ADAL" clId="{1E436719-4081-4A68-BECF-DBD9CDA167D5}" dt="2024-12-22T18:49:55.796" v="83" actId="1076"/>
        <pc:sldMkLst>
          <pc:docMk/>
          <pc:sldMk cId="2294161181" sldId="2147480052"/>
        </pc:sldMkLst>
      </pc:sldChg>
      <pc:sldChg chg="modSp mod">
        <pc:chgData name="PERSOZ Christophe" userId="3d528581-6bb6-4b37-8a8c-d9671d7b7875" providerId="ADAL" clId="{1E436719-4081-4A68-BECF-DBD9CDA167D5}" dt="2024-12-22T18:47:54.072" v="43" actId="20577"/>
        <pc:sldMkLst>
          <pc:docMk/>
          <pc:sldMk cId="691075873" sldId="2147482027"/>
        </pc:sldMkLst>
        <pc:spChg chg="mod">
          <ac:chgData name="PERSOZ Christophe" userId="3d528581-6bb6-4b37-8a8c-d9671d7b7875" providerId="ADAL" clId="{1E436719-4081-4A68-BECF-DBD9CDA167D5}" dt="2024-12-22T18:47:54.072" v="43" actId="20577"/>
          <ac:spMkLst>
            <pc:docMk/>
            <pc:sldMk cId="691075873" sldId="2147482027"/>
            <ac:spMk id="2" creationId="{1A425188-6714-B8A2-7B46-BD64B5B0F04D}"/>
          </ac:spMkLst>
        </pc:spChg>
      </pc:sldChg>
    </pc:docChg>
  </pc:docChgLst>
  <pc:docChgLst>
    <pc:chgData name="Stéphanie Chatagner" userId="S::stephanie.chatagner_avanade.com#ext#@vincic.onmicrosoft.com::413dce0f-1b71-4edd-8872-aae39c2f786a" providerId="AD" clId="Web-{B3817A40-325C-08A2-7E23-70E3B9AD6416}"/>
    <pc:docChg chg="modSld">
      <pc:chgData name="Stéphanie Chatagner" userId="S::stephanie.chatagner_avanade.com#ext#@vincic.onmicrosoft.com::413dce0f-1b71-4edd-8872-aae39c2f786a" providerId="AD" clId="Web-{B3817A40-325C-08A2-7E23-70E3B9AD6416}" dt="2023-01-09T16:26:11.228" v="5"/>
      <pc:docMkLst>
        <pc:docMk/>
      </pc:docMkLst>
    </pc:docChg>
  </pc:docChgLst>
  <pc:docChgLst>
    <pc:chgData name="CHATAGNER Stephanie (Externe)" userId="6bce638a-ff22-4fdc-bdcc-a3ede131b393" providerId="ADAL" clId="{B5643A79-0947-4D61-B2FC-4AE2CF094091}"/>
    <pc:docChg chg="modSld sldOrd">
      <pc:chgData name="CHATAGNER Stephanie (Externe)" userId="6bce638a-ff22-4fdc-bdcc-a3ede131b393" providerId="ADAL" clId="{B5643A79-0947-4D61-B2FC-4AE2CF094091}" dt="2024-02-22T17:17:55.549" v="1"/>
      <pc:docMkLst>
        <pc:docMk/>
      </pc:docMkLst>
      <pc:sldChg chg="ord">
        <pc:chgData name="CHATAGNER Stephanie (Externe)" userId="6bce638a-ff22-4fdc-bdcc-a3ede131b393" providerId="ADAL" clId="{B5643A79-0947-4D61-B2FC-4AE2CF094091}" dt="2024-02-22T17:17:55.549" v="1"/>
        <pc:sldMkLst>
          <pc:docMk/>
          <pc:sldMk cId="4187097854" sldId="2147482016"/>
        </pc:sldMkLst>
      </pc:sldChg>
    </pc:docChg>
  </pc:docChgLst>
  <pc:docChgLst>
    <pc:chgData name="PERSOZ Christophe" userId="3d528581-6bb6-4b37-8a8c-d9671d7b7875" providerId="ADAL" clId="{279EBD25-B308-4C6B-BDCB-1C550EFE4329}"/>
    <pc:docChg chg="custSel modSld">
      <pc:chgData name="PERSOZ Christophe" userId="3d528581-6bb6-4b37-8a8c-d9671d7b7875" providerId="ADAL" clId="{279EBD25-B308-4C6B-BDCB-1C550EFE4329}" dt="2024-09-03T15:13:47.951" v="66" actId="20577"/>
      <pc:docMkLst>
        <pc:docMk/>
      </pc:docMkLst>
      <pc:sldChg chg="modSp mod">
        <pc:chgData name="PERSOZ Christophe" userId="3d528581-6bb6-4b37-8a8c-d9671d7b7875" providerId="ADAL" clId="{279EBD25-B308-4C6B-BDCB-1C550EFE4329}" dt="2024-09-03T15:13:47.951" v="66" actId="20577"/>
        <pc:sldMkLst>
          <pc:docMk/>
          <pc:sldMk cId="2631057792" sldId="2076137815"/>
        </pc:sldMkLst>
      </pc:sldChg>
      <pc:sldChg chg="delSp mod">
        <pc:chgData name="PERSOZ Christophe" userId="3d528581-6bb6-4b37-8a8c-d9671d7b7875" providerId="ADAL" clId="{279EBD25-B308-4C6B-BDCB-1C550EFE4329}" dt="2024-09-03T15:09:00.550" v="31" actId="478"/>
        <pc:sldMkLst>
          <pc:docMk/>
          <pc:sldMk cId="1867449557" sldId="2147469131"/>
        </pc:sldMkLst>
      </pc:sldChg>
      <pc:sldChg chg="addSp modSp mod">
        <pc:chgData name="PERSOZ Christophe" userId="3d528581-6bb6-4b37-8a8c-d9671d7b7875" providerId="ADAL" clId="{279EBD25-B308-4C6B-BDCB-1C550EFE4329}" dt="2024-09-03T15:13:29.020" v="64" actId="20577"/>
        <pc:sldMkLst>
          <pc:docMk/>
          <pc:sldMk cId="2217602409" sldId="2147469281"/>
        </pc:sldMkLst>
      </pc:sldChg>
      <pc:sldChg chg="delSp mod">
        <pc:chgData name="PERSOZ Christophe" userId="3d528581-6bb6-4b37-8a8c-d9671d7b7875" providerId="ADAL" clId="{279EBD25-B308-4C6B-BDCB-1C550EFE4329}" dt="2024-09-03T15:09:15.639" v="33" actId="478"/>
        <pc:sldMkLst>
          <pc:docMk/>
          <pc:sldMk cId="187400645" sldId="2147482024"/>
        </pc:sldMkLst>
      </pc:sldChg>
    </pc:docChg>
  </pc:docChgLst>
  <pc:docChgLst>
    <pc:chgData name="VANEENOGE Camille" userId="6e7f4196-225c-4d88-a65f-4b95462c5fbf" providerId="ADAL" clId="{5B7F75BF-CE10-42BB-9285-89D52BF78024}"/>
    <pc:docChg chg="undo custSel addSld delSld modSld sldOrd modSection">
      <pc:chgData name="VANEENOGE Camille" userId="6e7f4196-225c-4d88-a65f-4b95462c5fbf" providerId="ADAL" clId="{5B7F75BF-CE10-42BB-9285-89D52BF78024}" dt="2024-06-25T19:10:07.261" v="2239" actId="478"/>
      <pc:docMkLst>
        <pc:docMk/>
      </pc:docMkLst>
      <pc:sldChg chg="modSp mod ord addCm delCm modCm">
        <pc:chgData name="VANEENOGE Camille" userId="6e7f4196-225c-4d88-a65f-4b95462c5fbf" providerId="ADAL" clId="{5B7F75BF-CE10-42BB-9285-89D52BF78024}" dt="2024-03-11T16:53:33.371" v="2206" actId="2165"/>
        <pc:sldMkLst>
          <pc:docMk/>
          <pc:sldMk cId="1670719887" sldId="264"/>
        </pc:sldMkLst>
        <pc:extLst>
          <p:ext xmlns:p="http://schemas.openxmlformats.org/presentationml/2006/main" uri="{D6D511B9-2390-475A-947B-AFAB55BFBCF1}">
            <pc226:cmChg xmlns:pc226="http://schemas.microsoft.com/office/powerpoint/2022/06/main/command" chg="add del">
              <pc226:chgData name="VANEENOGE Camille" userId="6e7f4196-225c-4d88-a65f-4b95462c5fbf" providerId="ADAL" clId="{5B7F75BF-CE10-42BB-9285-89D52BF78024}" dt="2024-03-11T16:53:15.364" v="2204"/>
              <pc2:cmMkLst xmlns:pc2="http://schemas.microsoft.com/office/powerpoint/2019/9/main/command">
                <pc:docMk/>
                <pc:sldMk cId="1670719887" sldId="264"/>
                <pc2:cmMk id="{9A584E07-326D-467C-9FD5-42F1AE83FAB3}"/>
              </pc2:cmMkLst>
            </pc226:cmChg>
            <pc226:cmChg xmlns:pc226="http://schemas.microsoft.com/office/powerpoint/2022/06/main/command" chg="add mod">
              <pc226:chgData name="VANEENOGE Camille" userId="6e7f4196-225c-4d88-a65f-4b95462c5fbf" providerId="ADAL" clId="{5B7F75BF-CE10-42BB-9285-89D52BF78024}" dt="2024-03-11T16:53:10.228" v="2203"/>
              <pc2:cmMkLst xmlns:pc2="http://schemas.microsoft.com/office/powerpoint/2019/9/main/command">
                <pc:docMk/>
                <pc:sldMk cId="1670719887" sldId="264"/>
                <pc2:cmMk id="{88523E1B-0B68-4F3D-9222-10820496756F}"/>
              </pc2:cmMkLst>
              <pc226:cmRplyChg chg="add">
                <pc226:chgData name="VANEENOGE Camille" userId="6e7f4196-225c-4d88-a65f-4b95462c5fbf" providerId="ADAL" clId="{5B7F75BF-CE10-42BB-9285-89D52BF78024}" dt="2024-03-11T13:24:53.984" v="731"/>
                <pc2:cmRplyMkLst xmlns:pc2="http://schemas.microsoft.com/office/powerpoint/2019/9/main/command">
                  <pc:docMk/>
                  <pc:sldMk cId="1670719887" sldId="264"/>
                  <pc2:cmMk id="{88523E1B-0B68-4F3D-9222-10820496756F}"/>
                  <pc2:cmRplyMk id="{D353756F-0E16-4A62-8555-D3857E8DDD10}"/>
                </pc2:cmRplyMkLst>
              </pc226:cmRplyChg>
            </pc226:cmChg>
            <pc226:cmChg xmlns:pc226="http://schemas.microsoft.com/office/powerpoint/2022/06/main/command" chg="add">
              <pc226:chgData name="VANEENOGE Camille" userId="6e7f4196-225c-4d88-a65f-4b95462c5fbf" providerId="ADAL" clId="{5B7F75BF-CE10-42BB-9285-89D52BF78024}" dt="2024-03-11T16:50:04.777" v="2180"/>
              <pc2:cmMkLst xmlns:pc2="http://schemas.microsoft.com/office/powerpoint/2019/9/main/command">
                <pc:docMk/>
                <pc:sldMk cId="1670719887" sldId="264"/>
                <pc2:cmMk id="{673E0FA4-7A00-4BBF-B383-2542CBC46814}"/>
              </pc2:cmMkLst>
            </pc226:cmChg>
          </p:ext>
        </pc:extLst>
      </pc:sldChg>
      <pc:sldChg chg="addSp delSp modSp add mod addCm">
        <pc:chgData name="VANEENOGE Camille" userId="6e7f4196-225c-4d88-a65f-4b95462c5fbf" providerId="ADAL" clId="{5B7F75BF-CE10-42BB-9285-89D52BF78024}" dt="2024-03-11T16:52:50.299" v="2202"/>
        <pc:sldMkLst>
          <pc:docMk/>
          <pc:sldMk cId="3510959577" sldId="10474"/>
        </pc:sldMkLst>
        <pc:extLst>
          <p:ext xmlns:p="http://schemas.openxmlformats.org/presentationml/2006/main" uri="{D6D511B9-2390-475A-947B-AFAB55BFBCF1}">
            <pc226:cmChg xmlns:pc226="http://schemas.microsoft.com/office/powerpoint/2022/06/main/command" chg="add">
              <pc226:chgData name="VANEENOGE Camille" userId="6e7f4196-225c-4d88-a65f-4b95462c5fbf" providerId="ADAL" clId="{5B7F75BF-CE10-42BB-9285-89D52BF78024}" dt="2024-03-11T16:52:50.299" v="2202"/>
              <pc2:cmMkLst xmlns:pc2="http://schemas.microsoft.com/office/powerpoint/2019/9/main/command">
                <pc:docMk/>
                <pc:sldMk cId="3510959577" sldId="10474"/>
                <pc2:cmMk id="{D56077E9-80B9-454C-AC07-B947372D40C9}"/>
              </pc2:cmMkLst>
            </pc226:cmChg>
          </p:ext>
        </pc:extLst>
      </pc:sldChg>
      <pc:sldChg chg="modSp mod modCm">
        <pc:chgData name="VANEENOGE Camille" userId="6e7f4196-225c-4d88-a65f-4b95462c5fbf" providerId="ADAL" clId="{5B7F75BF-CE10-42BB-9285-89D52BF78024}" dt="2024-03-05T10:44:04.544" v="213"/>
        <pc:sldMkLst>
          <pc:docMk/>
          <pc:sldMk cId="3897447519" sldId="2147469287"/>
        </pc:sldMkLst>
        <pc:extLst>
          <p:ext xmlns:p="http://schemas.openxmlformats.org/presentationml/2006/main" uri="{D6D511B9-2390-475A-947B-AFAB55BFBCF1}">
            <pc226:cmChg xmlns:pc226="http://schemas.microsoft.com/office/powerpoint/2022/06/main/command" chg="mod">
              <pc226:chgData name="VANEENOGE Camille" userId="6e7f4196-225c-4d88-a65f-4b95462c5fbf" providerId="ADAL" clId="{5B7F75BF-CE10-42BB-9285-89D52BF78024}" dt="2024-03-05T10:44:04.544" v="213"/>
              <pc2:cmMkLst xmlns:pc2="http://schemas.microsoft.com/office/powerpoint/2019/9/main/command">
                <pc:docMk/>
                <pc:sldMk cId="3897447519" sldId="2147469287"/>
                <pc2:cmMk id="{FF0B8B12-B6C1-4E3F-9561-ED96B035C21F}"/>
              </pc2:cmMkLst>
            </pc226:cmChg>
            <pc226:cmChg xmlns:pc226="http://schemas.microsoft.com/office/powerpoint/2022/06/main/command" chg="mod">
              <pc226:chgData name="VANEENOGE Camille" userId="6e7f4196-225c-4d88-a65f-4b95462c5fbf" providerId="ADAL" clId="{5B7F75BF-CE10-42BB-9285-89D52BF78024}" dt="2024-03-05T10:44:01.995" v="212"/>
              <pc2:cmMkLst xmlns:pc2="http://schemas.microsoft.com/office/powerpoint/2019/9/main/command">
                <pc:docMk/>
                <pc:sldMk cId="3897447519" sldId="2147469287"/>
                <pc2:cmMk id="{D3113C8C-A762-46A7-8581-D6A1E74C8906}"/>
              </pc2:cmMkLst>
            </pc226:cmChg>
          </p:ext>
        </pc:extLst>
      </pc:sldChg>
      <pc:sldChg chg="mod ord modShow">
        <pc:chgData name="VANEENOGE Camille" userId="6e7f4196-225c-4d88-a65f-4b95462c5fbf" providerId="ADAL" clId="{5B7F75BF-CE10-42BB-9285-89D52BF78024}" dt="2024-03-11T14:08:34.607" v="1455"/>
        <pc:sldMkLst>
          <pc:docMk/>
          <pc:sldMk cId="3438293396" sldId="2147481973"/>
        </pc:sldMkLst>
      </pc:sldChg>
      <pc:sldChg chg="mod ord modShow">
        <pc:chgData name="VANEENOGE Camille" userId="6e7f4196-225c-4d88-a65f-4b95462c5fbf" providerId="ADAL" clId="{5B7F75BF-CE10-42BB-9285-89D52BF78024}" dt="2024-03-11T14:08:34.607" v="1455"/>
        <pc:sldMkLst>
          <pc:docMk/>
          <pc:sldMk cId="3580833316" sldId="2147481978"/>
        </pc:sldMkLst>
      </pc:sldChg>
      <pc:sldChg chg="addSp delSp modSp mod modCm">
        <pc:chgData name="VANEENOGE Camille" userId="6e7f4196-225c-4d88-a65f-4b95462c5fbf" providerId="ADAL" clId="{5B7F75BF-CE10-42BB-9285-89D52BF78024}" dt="2024-03-11T16:51:15.398" v="2186" actId="13926"/>
        <pc:sldMkLst>
          <pc:docMk/>
          <pc:sldMk cId="2738404544" sldId="2147481979"/>
        </pc:sldMkLst>
        <pc:extLst>
          <p:ext xmlns:p="http://schemas.openxmlformats.org/presentationml/2006/main" uri="{D6D511B9-2390-475A-947B-AFAB55BFBCF1}">
            <pc226:cmChg xmlns:pc226="http://schemas.microsoft.com/office/powerpoint/2022/06/main/command" chg="mod">
              <pc226:chgData name="VANEENOGE Camille" userId="6e7f4196-225c-4d88-a65f-4b95462c5fbf" providerId="ADAL" clId="{5B7F75BF-CE10-42BB-9285-89D52BF78024}" dt="2024-03-11T16:50:33.782" v="2181"/>
              <pc2:cmMkLst xmlns:pc2="http://schemas.microsoft.com/office/powerpoint/2019/9/main/command">
                <pc:docMk/>
                <pc:sldMk cId="2738404544" sldId="2147481979"/>
                <pc2:cmMk id="{6C88BB97-0F3C-44F2-A4BF-E079B56B8635}"/>
              </pc2:cmMkLst>
            </pc226:cmChg>
            <pc226:cmChg xmlns:pc226="http://schemas.microsoft.com/office/powerpoint/2022/06/main/command" chg="mod">
              <pc226:chgData name="VANEENOGE Camille" userId="6e7f4196-225c-4d88-a65f-4b95462c5fbf" providerId="ADAL" clId="{5B7F75BF-CE10-42BB-9285-89D52BF78024}" dt="2024-03-11T16:50:55.542" v="2183"/>
              <pc2:cmMkLst xmlns:pc2="http://schemas.microsoft.com/office/powerpoint/2019/9/main/command">
                <pc:docMk/>
                <pc:sldMk cId="2738404544" sldId="2147481979"/>
                <pc2:cmMk id="{634D97BB-B6D3-4E33-B22A-2023DDC01DBF}"/>
              </pc2:cmMkLst>
            </pc226:cmChg>
            <pc226:cmChg xmlns:pc226="http://schemas.microsoft.com/office/powerpoint/2022/06/main/command" chg="mod">
              <pc226:chgData name="VANEENOGE Camille" userId="6e7f4196-225c-4d88-a65f-4b95462c5fbf" providerId="ADAL" clId="{5B7F75BF-CE10-42BB-9285-89D52BF78024}" dt="2024-03-11T16:50:37.986" v="2182"/>
              <pc2:cmMkLst xmlns:pc2="http://schemas.microsoft.com/office/powerpoint/2019/9/main/command">
                <pc:docMk/>
                <pc:sldMk cId="2738404544" sldId="2147481979"/>
                <pc2:cmMk id="{CF5AB3DA-FCA1-4584-B267-B3EC46094D4C}"/>
              </pc2:cmMkLst>
            </pc226:cmChg>
          </p:ext>
        </pc:extLst>
      </pc:sldChg>
      <pc:sldChg chg="addSp delSp modSp mod addCm modCm">
        <pc:chgData name="VANEENOGE Camille" userId="6e7f4196-225c-4d88-a65f-4b95462c5fbf" providerId="ADAL" clId="{5B7F75BF-CE10-42BB-9285-89D52BF78024}" dt="2024-03-11T17:30:51.090" v="2228"/>
        <pc:sldMkLst>
          <pc:docMk/>
          <pc:sldMk cId="2251311509" sldId="2147481981"/>
        </pc:sldMkLst>
        <pc:extLst>
          <p:ext xmlns:p="http://schemas.openxmlformats.org/presentationml/2006/main" uri="{D6D511B9-2390-475A-947B-AFAB55BFBCF1}">
            <pc226:cmChg xmlns:pc226="http://schemas.microsoft.com/office/powerpoint/2022/06/main/command" chg="mod">
              <pc226:chgData name="VANEENOGE Camille" userId="6e7f4196-225c-4d88-a65f-4b95462c5fbf" providerId="ADAL" clId="{5B7F75BF-CE10-42BB-9285-89D52BF78024}" dt="2024-03-11T17:30:51.090" v="2228"/>
              <pc2:cmMkLst xmlns:pc2="http://schemas.microsoft.com/office/powerpoint/2019/9/main/command">
                <pc:docMk/>
                <pc:sldMk cId="2251311509" sldId="2147481981"/>
                <pc2:cmMk id="{B7023136-26D8-4EC4-BA80-E96EFAD2E001}"/>
              </pc2:cmMkLst>
            </pc226:cmChg>
            <pc226:cmChg xmlns:pc226="http://schemas.microsoft.com/office/powerpoint/2022/06/main/command" chg="add">
              <pc226:chgData name="VANEENOGE Camille" userId="6e7f4196-225c-4d88-a65f-4b95462c5fbf" providerId="ADAL" clId="{5B7F75BF-CE10-42BB-9285-89D52BF78024}" dt="2024-03-11T15:10:16.081" v="1973"/>
              <pc2:cmMkLst xmlns:pc2="http://schemas.microsoft.com/office/powerpoint/2019/9/main/command">
                <pc:docMk/>
                <pc:sldMk cId="2251311509" sldId="2147481981"/>
                <pc2:cmMk id="{335C363C-F7C0-43D8-886F-477CFFA0C271}"/>
              </pc2:cmMkLst>
            </pc226:cmChg>
          </p:ext>
        </pc:extLst>
      </pc:sldChg>
      <pc:sldChg chg="addSp delSp modSp mod">
        <pc:chgData name="VANEENOGE Camille" userId="6e7f4196-225c-4d88-a65f-4b95462c5fbf" providerId="ADAL" clId="{5B7F75BF-CE10-42BB-9285-89D52BF78024}" dt="2024-03-11T16:51:07.453" v="2184" actId="13926"/>
        <pc:sldMkLst>
          <pc:docMk/>
          <pc:sldMk cId="4196752458" sldId="2147481983"/>
        </pc:sldMkLst>
      </pc:sldChg>
      <pc:sldChg chg="mod ord modShow">
        <pc:chgData name="VANEENOGE Camille" userId="6e7f4196-225c-4d88-a65f-4b95462c5fbf" providerId="ADAL" clId="{5B7F75BF-CE10-42BB-9285-89D52BF78024}" dt="2024-03-11T14:08:34.607" v="1455"/>
        <pc:sldMkLst>
          <pc:docMk/>
          <pc:sldMk cId="2629315225" sldId="2147481989"/>
        </pc:sldMkLst>
      </pc:sldChg>
      <pc:sldChg chg="addSp delSp modSp mod ord modShow">
        <pc:chgData name="VANEENOGE Camille" userId="6e7f4196-225c-4d88-a65f-4b95462c5fbf" providerId="ADAL" clId="{5B7F75BF-CE10-42BB-9285-89D52BF78024}" dt="2024-03-11T15:13:19.040" v="1977"/>
        <pc:sldMkLst>
          <pc:docMk/>
          <pc:sldMk cId="3872359938" sldId="2147481991"/>
        </pc:sldMkLst>
      </pc:sldChg>
      <pc:sldChg chg="addSp delSp modSp mod ord modShow">
        <pc:chgData name="VANEENOGE Camille" userId="6e7f4196-225c-4d88-a65f-4b95462c5fbf" providerId="ADAL" clId="{5B7F75BF-CE10-42BB-9285-89D52BF78024}" dt="2024-03-11T16:49:14.985" v="2177"/>
        <pc:sldMkLst>
          <pc:docMk/>
          <pc:sldMk cId="1441249587" sldId="2147481993"/>
        </pc:sldMkLst>
      </pc:sldChg>
      <pc:sldChg chg="ord">
        <pc:chgData name="VANEENOGE Camille" userId="6e7f4196-225c-4d88-a65f-4b95462c5fbf" providerId="ADAL" clId="{5B7F75BF-CE10-42BB-9285-89D52BF78024}" dt="2024-03-11T14:08:34.607" v="1455"/>
        <pc:sldMkLst>
          <pc:docMk/>
          <pc:sldMk cId="1519864655" sldId="2147481994"/>
        </pc:sldMkLst>
      </pc:sldChg>
      <pc:sldChg chg="modSp mod ord">
        <pc:chgData name="VANEENOGE Camille" userId="6e7f4196-225c-4d88-a65f-4b95462c5fbf" providerId="ADAL" clId="{5B7F75BF-CE10-42BB-9285-89D52BF78024}" dt="2024-03-11T16:49:30.906" v="2179" actId="13926"/>
        <pc:sldMkLst>
          <pc:docMk/>
          <pc:sldMk cId="2459300264" sldId="2147481996"/>
        </pc:sldMkLst>
      </pc:sldChg>
      <pc:sldChg chg="addSp delSp modSp mod addCm modCm">
        <pc:chgData name="VANEENOGE Camille" userId="6e7f4196-225c-4d88-a65f-4b95462c5fbf" providerId="ADAL" clId="{5B7F75BF-CE10-42BB-9285-89D52BF78024}" dt="2024-03-11T16:55:55.311" v="2214"/>
        <pc:sldMkLst>
          <pc:docMk/>
          <pc:sldMk cId="1257207121" sldId="2147481999"/>
        </pc:sldMkLst>
        <pc:extLst>
          <p:ext xmlns:p="http://schemas.openxmlformats.org/presentationml/2006/main" uri="{D6D511B9-2390-475A-947B-AFAB55BFBCF1}">
            <pc226:cmChg xmlns:pc226="http://schemas.microsoft.com/office/powerpoint/2022/06/main/command" chg="mod">
              <pc226:chgData name="VANEENOGE Camille" userId="6e7f4196-225c-4d88-a65f-4b95462c5fbf" providerId="ADAL" clId="{5B7F75BF-CE10-42BB-9285-89D52BF78024}" dt="2024-03-11T16:55:12.547" v="2213"/>
              <pc2:cmMkLst xmlns:pc2="http://schemas.microsoft.com/office/powerpoint/2019/9/main/command">
                <pc:docMk/>
                <pc:sldMk cId="1257207121" sldId="2147481999"/>
                <pc2:cmMk id="{BE83EA9B-D167-4A71-9E46-2DA6F497C19E}"/>
              </pc2:cmMkLst>
            </pc226:cmChg>
            <pc226:cmChg xmlns:pc226="http://schemas.microsoft.com/office/powerpoint/2022/06/main/command" chg="mod">
              <pc226:chgData name="VANEENOGE Camille" userId="6e7f4196-225c-4d88-a65f-4b95462c5fbf" providerId="ADAL" clId="{5B7F75BF-CE10-42BB-9285-89D52BF78024}" dt="2024-03-11T16:54:50.230" v="2211"/>
              <pc2:cmMkLst xmlns:pc2="http://schemas.microsoft.com/office/powerpoint/2019/9/main/command">
                <pc:docMk/>
                <pc:sldMk cId="1257207121" sldId="2147481999"/>
                <pc2:cmMk id="{342C1E9E-B5B7-49FC-91C4-BE1611CB81FE}"/>
              </pc2:cmMkLst>
            </pc226:cmChg>
            <pc226:cmChg xmlns:pc226="http://schemas.microsoft.com/office/powerpoint/2022/06/main/command" chg="mod">
              <pc226:chgData name="VANEENOGE Camille" userId="6e7f4196-225c-4d88-a65f-4b95462c5fbf" providerId="ADAL" clId="{5B7F75BF-CE10-42BB-9285-89D52BF78024}" dt="2024-03-11T16:55:10.440" v="2212"/>
              <pc2:cmMkLst xmlns:pc2="http://schemas.microsoft.com/office/powerpoint/2019/9/main/command">
                <pc:docMk/>
                <pc:sldMk cId="1257207121" sldId="2147481999"/>
                <pc2:cmMk id="{95C2EDAB-8F7D-4678-B0C9-CA4138834975}"/>
              </pc2:cmMkLst>
            </pc226:cmChg>
            <pc226:cmChg xmlns:pc226="http://schemas.microsoft.com/office/powerpoint/2022/06/main/command" chg="mod">
              <pc226:chgData name="VANEENOGE Camille" userId="6e7f4196-225c-4d88-a65f-4b95462c5fbf" providerId="ADAL" clId="{5B7F75BF-CE10-42BB-9285-89D52BF78024}" dt="2024-03-11T16:54:18.861" v="2208"/>
              <pc2:cmMkLst xmlns:pc2="http://schemas.microsoft.com/office/powerpoint/2019/9/main/command">
                <pc:docMk/>
                <pc:sldMk cId="1257207121" sldId="2147481999"/>
                <pc2:cmMk id="{5D8AA5AF-132A-42E4-83B8-90898E86C55A}"/>
              </pc2:cmMkLst>
            </pc226:cmChg>
            <pc226:cmChg xmlns:pc226="http://schemas.microsoft.com/office/powerpoint/2022/06/main/command" chg="add">
              <pc226:chgData name="VANEENOGE Camille" userId="6e7f4196-225c-4d88-a65f-4b95462c5fbf" providerId="ADAL" clId="{5B7F75BF-CE10-42BB-9285-89D52BF78024}" dt="2024-03-11T16:55:55.311" v="2214"/>
              <pc2:cmMkLst xmlns:pc2="http://schemas.microsoft.com/office/powerpoint/2019/9/main/command">
                <pc:docMk/>
                <pc:sldMk cId="1257207121" sldId="2147481999"/>
                <pc2:cmMk id="{9E0705F1-9E39-4570-8D8D-65A08E9B0B90}"/>
              </pc2:cmMkLst>
            </pc226:cmChg>
          </p:ext>
        </pc:extLst>
      </pc:sldChg>
      <pc:sldChg chg="addSp delSp modSp mod modCm">
        <pc:chgData name="VANEENOGE Camille" userId="6e7f4196-225c-4d88-a65f-4b95462c5fbf" providerId="ADAL" clId="{5B7F75BF-CE10-42BB-9285-89D52BF78024}" dt="2024-03-11T15:05:29.851" v="1877" actId="2056"/>
        <pc:sldMkLst>
          <pc:docMk/>
          <pc:sldMk cId="3340189546" sldId="2147482003"/>
        </pc:sldMkLst>
        <pc:extLst>
          <p:ext xmlns:p="http://schemas.openxmlformats.org/presentationml/2006/main" uri="{D6D511B9-2390-475A-947B-AFAB55BFBCF1}">
            <pc226:cmChg xmlns:pc226="http://schemas.microsoft.com/office/powerpoint/2022/06/main/command" chg="mod modRxn">
              <pc226:chgData name="VANEENOGE Camille" userId="6e7f4196-225c-4d88-a65f-4b95462c5fbf" providerId="ADAL" clId="{5B7F75BF-CE10-42BB-9285-89D52BF78024}" dt="2024-03-11T15:05:29.851" v="1877" actId="2056"/>
              <pc2:cmMkLst xmlns:pc2="http://schemas.microsoft.com/office/powerpoint/2019/9/main/command">
                <pc:docMk/>
                <pc:sldMk cId="3340189546" sldId="2147482003"/>
                <pc2:cmMk id="{E6783559-ABBD-4B9E-93CD-22EC5954B8ED}"/>
              </pc2:cmMkLst>
            </pc226:cmChg>
          </p:ext>
        </pc:extLst>
      </pc:sldChg>
      <pc:sldChg chg="addSp delSp modSp mod">
        <pc:chgData name="VANEENOGE Camille" userId="6e7f4196-225c-4d88-a65f-4b95462c5fbf" providerId="ADAL" clId="{5B7F75BF-CE10-42BB-9285-89D52BF78024}" dt="2024-06-10T08:30:06.178" v="2235" actId="164"/>
        <pc:sldMkLst>
          <pc:docMk/>
          <pc:sldMk cId="258348270" sldId="2147482004"/>
        </pc:sldMkLst>
      </pc:sldChg>
      <pc:sldChg chg="addSp delSp modSp del mod delCm">
        <pc:chgData name="VANEENOGE Camille" userId="6e7f4196-225c-4d88-a65f-4b95462c5fbf" providerId="ADAL" clId="{5B7F75BF-CE10-42BB-9285-89D52BF78024}" dt="2024-06-25T19:10:02.880" v="2237" actId="47"/>
        <pc:sldMkLst>
          <pc:docMk/>
          <pc:sldMk cId="2145233351" sldId="2147482005"/>
        </pc:sldMkLst>
        <pc:extLst>
          <p:ext xmlns:p="http://schemas.openxmlformats.org/presentationml/2006/main" uri="{D6D511B9-2390-475A-947B-AFAB55BFBCF1}">
            <pc226:cmChg xmlns:pc226="http://schemas.microsoft.com/office/powerpoint/2022/06/main/command" chg="del">
              <pc226:chgData name="VANEENOGE Camille" userId="6e7f4196-225c-4d88-a65f-4b95462c5fbf" providerId="ADAL" clId="{5B7F75BF-CE10-42BB-9285-89D52BF78024}" dt="2024-03-06T16:16:28.607" v="304"/>
              <pc2:cmMkLst xmlns:pc2="http://schemas.microsoft.com/office/powerpoint/2019/9/main/command">
                <pc:docMk/>
                <pc:sldMk cId="2145233351" sldId="2147482005"/>
                <pc2:cmMk id="{3EF8D717-633F-4496-B38E-AB77F440EDE3}"/>
              </pc2:cmMkLst>
            </pc226:cmChg>
          </p:ext>
        </pc:extLst>
      </pc:sldChg>
      <pc:sldChg chg="modSp mod addCm">
        <pc:chgData name="VANEENOGE Camille" userId="6e7f4196-225c-4d88-a65f-4b95462c5fbf" providerId="ADAL" clId="{5B7F75BF-CE10-42BB-9285-89D52BF78024}" dt="2024-03-05T10:38:39.703" v="211" actId="1035"/>
        <pc:sldMkLst>
          <pc:docMk/>
          <pc:sldMk cId="980070838" sldId="2147482006"/>
        </pc:sldMkLst>
        <pc:extLst>
          <p:ext xmlns:p="http://schemas.openxmlformats.org/presentationml/2006/main" uri="{D6D511B9-2390-475A-947B-AFAB55BFBCF1}">
            <pc226:cmChg xmlns:pc226="http://schemas.microsoft.com/office/powerpoint/2022/06/main/command" chg="add">
              <pc226:chgData name="VANEENOGE Camille" userId="6e7f4196-225c-4d88-a65f-4b95462c5fbf" providerId="ADAL" clId="{5B7F75BF-CE10-42BB-9285-89D52BF78024}" dt="2024-03-05T10:37:02.214" v="203"/>
              <pc2:cmMkLst xmlns:pc2="http://schemas.microsoft.com/office/powerpoint/2019/9/main/command">
                <pc:docMk/>
                <pc:sldMk cId="980070838" sldId="2147482006"/>
                <pc2:cmMk id="{1AC9031B-99A7-4A58-82F2-7AE4EE16346B}"/>
              </pc2:cmMkLst>
            </pc226:cmChg>
          </p:ext>
        </pc:extLst>
      </pc:sldChg>
      <pc:sldChg chg="addSp delSp modSp mod addCm delCm modCm">
        <pc:chgData name="VANEENOGE Camille" userId="6e7f4196-225c-4d88-a65f-4b95462c5fbf" providerId="ADAL" clId="{5B7F75BF-CE10-42BB-9285-89D52BF78024}" dt="2024-03-11T14:17:38.108" v="1498" actId="478"/>
        <pc:sldMkLst>
          <pc:docMk/>
          <pc:sldMk cId="1039753401" sldId="2147482007"/>
        </pc:sldMkLst>
        <pc:extLst>
          <p:ext xmlns:p="http://schemas.openxmlformats.org/presentationml/2006/main" uri="{D6D511B9-2390-475A-947B-AFAB55BFBCF1}">
            <pc226:cmChg xmlns:pc226="http://schemas.microsoft.com/office/powerpoint/2022/06/main/command" chg="add del mod">
              <pc226:chgData name="VANEENOGE Camille" userId="6e7f4196-225c-4d88-a65f-4b95462c5fbf" providerId="ADAL" clId="{5B7F75BF-CE10-42BB-9285-89D52BF78024}" dt="2024-03-11T14:17:09.687" v="1497"/>
              <pc2:cmMkLst xmlns:pc2="http://schemas.microsoft.com/office/powerpoint/2019/9/main/command">
                <pc:docMk/>
                <pc:sldMk cId="1039753401" sldId="2147482007"/>
                <pc2:cmMk id="{D5C0F25E-61F8-492A-A93C-2548A2B1B995}"/>
              </pc2:cmMkLst>
            </pc226:cmChg>
            <pc226:cmChg xmlns:pc226="http://schemas.microsoft.com/office/powerpoint/2022/06/main/command" chg="add del">
              <pc226:chgData name="VANEENOGE Camille" userId="6e7f4196-225c-4d88-a65f-4b95462c5fbf" providerId="ADAL" clId="{5B7F75BF-CE10-42BB-9285-89D52BF78024}" dt="2024-03-11T14:17:07.494" v="1496"/>
              <pc2:cmMkLst xmlns:pc2="http://schemas.microsoft.com/office/powerpoint/2019/9/main/command">
                <pc:docMk/>
                <pc:sldMk cId="1039753401" sldId="2147482007"/>
                <pc2:cmMk id="{79C9D38B-24B4-4CD4-A0C1-E4DCD80BAC37}"/>
              </pc2:cmMkLst>
            </pc226:cmChg>
          </p:ext>
        </pc:extLst>
      </pc:sldChg>
      <pc:sldChg chg="delSp modSp mod ord modShow">
        <pc:chgData name="VANEENOGE Camille" userId="6e7f4196-225c-4d88-a65f-4b95462c5fbf" providerId="ADAL" clId="{5B7F75BF-CE10-42BB-9285-89D52BF78024}" dt="2024-03-11T16:49:14.985" v="2177"/>
        <pc:sldMkLst>
          <pc:docMk/>
          <pc:sldMk cId="3715473728" sldId="2147482010"/>
        </pc:sldMkLst>
      </pc:sldChg>
      <pc:sldChg chg="add del ord">
        <pc:chgData name="VANEENOGE Camille" userId="6e7f4196-225c-4d88-a65f-4b95462c5fbf" providerId="ADAL" clId="{5B7F75BF-CE10-42BB-9285-89D52BF78024}" dt="2024-03-11T14:08:47.432" v="1459"/>
        <pc:sldMkLst>
          <pc:docMk/>
          <pc:sldMk cId="3277470691" sldId="2147482012"/>
        </pc:sldMkLst>
      </pc:sldChg>
      <pc:sldChg chg="delSp modSp mod addCm delCm modCm">
        <pc:chgData name="VANEENOGE Camille" userId="6e7f4196-225c-4d88-a65f-4b95462c5fbf" providerId="ADAL" clId="{5B7F75BF-CE10-42BB-9285-89D52BF78024}" dt="2024-03-11T14:15:45.839" v="1475"/>
        <pc:sldMkLst>
          <pc:docMk/>
          <pc:sldMk cId="162960782" sldId="2147482014"/>
        </pc:sldMkLst>
        <pc:extLst>
          <p:ext xmlns:p="http://schemas.openxmlformats.org/presentationml/2006/main" uri="{D6D511B9-2390-475A-947B-AFAB55BFBCF1}">
            <pc226:cmChg xmlns:pc226="http://schemas.microsoft.com/office/powerpoint/2022/06/main/command" chg="add del mod">
              <pc226:chgData name="VANEENOGE Camille" userId="6e7f4196-225c-4d88-a65f-4b95462c5fbf" providerId="ADAL" clId="{5B7F75BF-CE10-42BB-9285-89D52BF78024}" dt="2024-03-11T14:15:45.839" v="1475"/>
              <pc2:cmMkLst xmlns:pc2="http://schemas.microsoft.com/office/powerpoint/2019/9/main/command">
                <pc:docMk/>
                <pc:sldMk cId="162960782" sldId="2147482014"/>
                <pc2:cmMk id="{3E551F4E-44C6-48C1-B23D-038290446EC4}"/>
              </pc2:cmMkLst>
            </pc226:cmChg>
            <pc226:cmChg xmlns:pc226="http://schemas.microsoft.com/office/powerpoint/2022/06/main/command" chg="mod">
              <pc226:chgData name="VANEENOGE Camille" userId="6e7f4196-225c-4d88-a65f-4b95462c5fbf" providerId="ADAL" clId="{5B7F75BF-CE10-42BB-9285-89D52BF78024}" dt="2024-03-11T14:13:42.564" v="1463" actId="20577"/>
              <pc2:cmMkLst xmlns:pc2="http://schemas.microsoft.com/office/powerpoint/2019/9/main/command">
                <pc:docMk/>
                <pc:sldMk cId="162960782" sldId="2147482014"/>
                <pc2:cmMk id="{197B3A61-8E08-4E7B-A9BD-42829F6925B0}"/>
              </pc2:cmMkLst>
            </pc226:cmChg>
            <pc226:cmChg xmlns:pc226="http://schemas.microsoft.com/office/powerpoint/2022/06/main/command" chg="add mod">
              <pc226:chgData name="VANEENOGE Camille" userId="6e7f4196-225c-4d88-a65f-4b95462c5fbf" providerId="ADAL" clId="{5B7F75BF-CE10-42BB-9285-89D52BF78024}" dt="2024-03-11T14:00:08.032" v="1252" actId="20577"/>
              <pc2:cmMkLst xmlns:pc2="http://schemas.microsoft.com/office/powerpoint/2019/9/main/command">
                <pc:docMk/>
                <pc:sldMk cId="162960782" sldId="2147482014"/>
                <pc2:cmMk id="{1CD11868-B4C6-4DEA-9E9A-321E84C2F1A8}"/>
              </pc2:cmMkLst>
            </pc226:cmChg>
            <pc226:cmChg xmlns:pc226="http://schemas.microsoft.com/office/powerpoint/2022/06/main/command" chg="add del mod">
              <pc226:chgData name="VANEENOGE Camille" userId="6e7f4196-225c-4d88-a65f-4b95462c5fbf" providerId="ADAL" clId="{5B7F75BF-CE10-42BB-9285-89D52BF78024}" dt="2024-03-11T14:14:51.639" v="1464"/>
              <pc2:cmMkLst xmlns:pc2="http://schemas.microsoft.com/office/powerpoint/2019/9/main/command">
                <pc:docMk/>
                <pc:sldMk cId="162960782" sldId="2147482014"/>
                <pc2:cmMk id="{3F190088-8705-4EEC-9AA5-DE4E9FE004E8}"/>
              </pc2:cmMkLst>
            </pc226:cmChg>
          </p:ext>
        </pc:extLst>
      </pc:sldChg>
      <pc:sldChg chg="addSp delSp modSp mod modCm">
        <pc:chgData name="VANEENOGE Camille" userId="6e7f4196-225c-4d88-a65f-4b95462c5fbf" providerId="ADAL" clId="{5B7F75BF-CE10-42BB-9285-89D52BF78024}" dt="2024-03-29T09:05:50.233" v="2230" actId="2056"/>
        <pc:sldMkLst>
          <pc:docMk/>
          <pc:sldMk cId="132357815" sldId="2147482015"/>
        </pc:sldMkLst>
        <pc:extLst>
          <p:ext xmlns:p="http://schemas.openxmlformats.org/presentationml/2006/main" uri="{D6D511B9-2390-475A-947B-AFAB55BFBCF1}">
            <pc226:cmChg xmlns:pc226="http://schemas.microsoft.com/office/powerpoint/2022/06/main/command" chg="mod">
              <pc226:chgData name="VANEENOGE Camille" userId="6e7f4196-225c-4d88-a65f-4b95462c5fbf" providerId="ADAL" clId="{5B7F75BF-CE10-42BB-9285-89D52BF78024}" dt="2024-03-11T16:57:07.435" v="2221"/>
              <pc2:cmMkLst xmlns:pc2="http://schemas.microsoft.com/office/powerpoint/2019/9/main/command">
                <pc:docMk/>
                <pc:sldMk cId="132357815" sldId="2147482015"/>
                <pc2:cmMk id="{3EF33905-38A3-4A70-B222-8D16B5198EC1}"/>
              </pc2:cmMkLst>
            </pc226:cmChg>
            <pc226:cmChg xmlns:pc226="http://schemas.microsoft.com/office/powerpoint/2022/06/main/command" chg="">
              <pc226:chgData name="VANEENOGE Camille" userId="6e7f4196-225c-4d88-a65f-4b95462c5fbf" providerId="ADAL" clId="{5B7F75BF-CE10-42BB-9285-89D52BF78024}" dt="2024-03-11T16:59:41.427" v="2227"/>
              <pc2:cmMkLst xmlns:pc2="http://schemas.microsoft.com/office/powerpoint/2019/9/main/command">
                <pc:docMk/>
                <pc:sldMk cId="132357815" sldId="2147482015"/>
                <pc2:cmMk id="{85026B06-7DA7-4B55-A0B2-3F4F34028639}"/>
              </pc2:cmMkLst>
              <pc226:cmRplyChg chg="add">
                <pc226:chgData name="VANEENOGE Camille" userId="6e7f4196-225c-4d88-a65f-4b95462c5fbf" providerId="ADAL" clId="{5B7F75BF-CE10-42BB-9285-89D52BF78024}" dt="2024-03-11T16:59:41.427" v="2227"/>
                <pc2:cmRplyMkLst xmlns:pc2="http://schemas.microsoft.com/office/powerpoint/2019/9/main/command">
                  <pc:docMk/>
                  <pc:sldMk cId="132357815" sldId="2147482015"/>
                  <pc2:cmMk id="{85026B06-7DA7-4B55-A0B2-3F4F34028639}"/>
                  <pc2:cmRplyMk id="{288241FE-8AD3-436F-9BB1-F827F350E713}"/>
                </pc2:cmRplyMkLst>
              </pc226:cmRplyChg>
            </pc226:cmChg>
            <pc226:cmChg xmlns:pc226="http://schemas.microsoft.com/office/powerpoint/2022/06/main/command" chg="mod">
              <pc226:chgData name="VANEENOGE Camille" userId="6e7f4196-225c-4d88-a65f-4b95462c5fbf" providerId="ADAL" clId="{5B7F75BF-CE10-42BB-9285-89D52BF78024}" dt="2024-03-11T16:56:41.983" v="2218"/>
              <pc2:cmMkLst xmlns:pc2="http://schemas.microsoft.com/office/powerpoint/2019/9/main/command">
                <pc:docMk/>
                <pc:sldMk cId="132357815" sldId="2147482015"/>
                <pc2:cmMk id="{E1281C15-66E6-42B8-B5B1-FE4CC8BF8115}"/>
              </pc2:cmMkLst>
            </pc226:cmChg>
            <pc226:cmChg xmlns:pc226="http://schemas.microsoft.com/office/powerpoint/2022/06/main/command" chg="mod">
              <pc226:chgData name="VANEENOGE Camille" userId="6e7f4196-225c-4d88-a65f-4b95462c5fbf" providerId="ADAL" clId="{5B7F75BF-CE10-42BB-9285-89D52BF78024}" dt="2024-03-11T16:57:16.886" v="2222"/>
              <pc2:cmMkLst xmlns:pc2="http://schemas.microsoft.com/office/powerpoint/2019/9/main/command">
                <pc:docMk/>
                <pc:sldMk cId="132357815" sldId="2147482015"/>
                <pc2:cmMk id="{DB81BF21-9485-40E0-9339-C229CD83022E}"/>
              </pc2:cmMkLst>
            </pc226:cmChg>
            <pc226:cmChg xmlns:pc226="http://schemas.microsoft.com/office/powerpoint/2022/06/main/command" chg="mod">
              <pc226:chgData name="VANEENOGE Camille" userId="6e7f4196-225c-4d88-a65f-4b95462c5fbf" providerId="ADAL" clId="{5B7F75BF-CE10-42BB-9285-89D52BF78024}" dt="2024-03-29T09:05:50.233" v="2230" actId="2056"/>
              <pc2:cmMkLst xmlns:pc2="http://schemas.microsoft.com/office/powerpoint/2019/9/main/command">
                <pc:docMk/>
                <pc:sldMk cId="132357815" sldId="2147482015"/>
                <pc2:cmMk id="{16D2435D-A937-44B0-A3B5-BA2C1B256712}"/>
              </pc2:cmMkLst>
            </pc226:cmChg>
            <pc226:cmChg xmlns:pc226="http://schemas.microsoft.com/office/powerpoint/2022/06/main/command" chg="mod">
              <pc226:chgData name="VANEENOGE Camille" userId="6e7f4196-225c-4d88-a65f-4b95462c5fbf" providerId="ADAL" clId="{5B7F75BF-CE10-42BB-9285-89D52BF78024}" dt="2024-03-11T16:57:34.271" v="2223"/>
              <pc2:cmMkLst xmlns:pc2="http://schemas.microsoft.com/office/powerpoint/2019/9/main/command">
                <pc:docMk/>
                <pc:sldMk cId="132357815" sldId="2147482015"/>
                <pc2:cmMk id="{9E5B3EAC-D356-4432-81E9-6007E5E91C1F}"/>
              </pc2:cmMkLst>
            </pc226:cmChg>
            <pc226:cmChg xmlns:pc226="http://schemas.microsoft.com/office/powerpoint/2022/06/main/command" chg="mod">
              <pc226:chgData name="VANEENOGE Camille" userId="6e7f4196-225c-4d88-a65f-4b95462c5fbf" providerId="ADAL" clId="{5B7F75BF-CE10-42BB-9285-89D52BF78024}" dt="2024-03-11T16:56:47.753" v="2219"/>
              <pc2:cmMkLst xmlns:pc2="http://schemas.microsoft.com/office/powerpoint/2019/9/main/command">
                <pc:docMk/>
                <pc:sldMk cId="132357815" sldId="2147482015"/>
                <pc2:cmMk id="{27DBC0B1-4FEA-4709-B5E8-343C9787B174}"/>
              </pc2:cmMkLst>
            </pc226:cmChg>
            <pc226:cmChg xmlns:pc226="http://schemas.microsoft.com/office/powerpoint/2022/06/main/command" chg="mod">
              <pc226:chgData name="VANEENOGE Camille" userId="6e7f4196-225c-4d88-a65f-4b95462c5fbf" providerId="ADAL" clId="{5B7F75BF-CE10-42BB-9285-89D52BF78024}" dt="2024-03-29T09:05:50.233" v="2230" actId="2056"/>
              <pc2:cmMkLst xmlns:pc2="http://schemas.microsoft.com/office/powerpoint/2019/9/main/command">
                <pc:docMk/>
                <pc:sldMk cId="132357815" sldId="2147482015"/>
                <pc2:cmMk id="{F3EA6EBF-BD7C-409A-A087-657C04164C07}"/>
              </pc2:cmMkLst>
            </pc226:cmChg>
            <pc226:cmChg xmlns:pc226="http://schemas.microsoft.com/office/powerpoint/2022/06/main/command" chg="mod">
              <pc226:chgData name="VANEENOGE Camille" userId="6e7f4196-225c-4d88-a65f-4b95462c5fbf" providerId="ADAL" clId="{5B7F75BF-CE10-42BB-9285-89D52BF78024}" dt="2024-03-11T16:56:56.975" v="2220"/>
              <pc2:cmMkLst xmlns:pc2="http://schemas.microsoft.com/office/powerpoint/2019/9/main/command">
                <pc:docMk/>
                <pc:sldMk cId="132357815" sldId="2147482015"/>
                <pc2:cmMk id="{6C9557D6-213C-487E-AA6D-2EB6BFADB99A}"/>
              </pc2:cmMkLst>
            </pc226:cmChg>
          </p:ext>
        </pc:extLst>
      </pc:sldChg>
      <pc:sldChg chg="ord">
        <pc:chgData name="VANEENOGE Camille" userId="6e7f4196-225c-4d88-a65f-4b95462c5fbf" providerId="ADAL" clId="{5B7F75BF-CE10-42BB-9285-89D52BF78024}" dt="2024-03-11T14:08:38.322" v="1457"/>
        <pc:sldMkLst>
          <pc:docMk/>
          <pc:sldMk cId="4187097854" sldId="2147482016"/>
        </pc:sldMkLst>
      </pc:sldChg>
      <pc:sldChg chg="modSp mod ord addCm">
        <pc:chgData name="VANEENOGE Camille" userId="6e7f4196-225c-4d88-a65f-4b95462c5fbf" providerId="ADAL" clId="{5B7F75BF-CE10-42BB-9285-89D52BF78024}" dt="2024-03-11T16:58:53.322" v="2225"/>
        <pc:sldMkLst>
          <pc:docMk/>
          <pc:sldMk cId="428757134" sldId="2147482017"/>
        </pc:sldMkLst>
        <pc:extLst>
          <p:ext xmlns:p="http://schemas.openxmlformats.org/presentationml/2006/main" uri="{D6D511B9-2390-475A-947B-AFAB55BFBCF1}">
            <pc226:cmChg xmlns:pc226="http://schemas.microsoft.com/office/powerpoint/2022/06/main/command" chg="add">
              <pc226:chgData name="VANEENOGE Camille" userId="6e7f4196-225c-4d88-a65f-4b95462c5fbf" providerId="ADAL" clId="{5B7F75BF-CE10-42BB-9285-89D52BF78024}" dt="2024-03-11T16:58:53.322" v="2225"/>
              <pc2:cmMkLst xmlns:pc2="http://schemas.microsoft.com/office/powerpoint/2019/9/main/command">
                <pc:docMk/>
                <pc:sldMk cId="428757134" sldId="2147482017"/>
                <pc2:cmMk id="{E66E3767-A548-498C-B14F-E6A1097EA894}"/>
              </pc2:cmMkLst>
            </pc226:cmChg>
          </p:ext>
        </pc:extLst>
      </pc:sldChg>
      <pc:sldChg chg="addSp delSp modSp mod ord addCm modCm">
        <pc:chgData name="VANEENOGE Camille" userId="6e7f4196-225c-4d88-a65f-4b95462c5fbf" providerId="ADAL" clId="{5B7F75BF-CE10-42BB-9285-89D52BF78024}" dt="2024-03-29T09:05:50.233" v="2230" actId="2056"/>
        <pc:sldMkLst>
          <pc:docMk/>
          <pc:sldMk cId="3302271320" sldId="2147482018"/>
        </pc:sldMkLst>
        <pc:extLst>
          <p:ext xmlns:p="http://schemas.openxmlformats.org/presentationml/2006/main" uri="{D6D511B9-2390-475A-947B-AFAB55BFBCF1}">
            <pc226:cmChg xmlns:pc226="http://schemas.microsoft.com/office/powerpoint/2022/06/main/command" chg="add mod">
              <pc226:chgData name="VANEENOGE Camille" userId="6e7f4196-225c-4d88-a65f-4b95462c5fbf" providerId="ADAL" clId="{5B7F75BF-CE10-42BB-9285-89D52BF78024}" dt="2024-03-11T16:54:38.070" v="2210"/>
              <pc2:cmMkLst xmlns:pc2="http://schemas.microsoft.com/office/powerpoint/2019/9/main/command">
                <pc:docMk/>
                <pc:sldMk cId="3302271320" sldId="2147482018"/>
                <pc2:cmMk id="{4AB25421-900D-40CE-A260-A85A31431B92}"/>
              </pc2:cmMkLst>
            </pc226:cmChg>
            <pc226:cmChg xmlns:pc226="http://schemas.microsoft.com/office/powerpoint/2022/06/main/command" chg="add mod">
              <pc226:chgData name="VANEENOGE Camille" userId="6e7f4196-225c-4d88-a65f-4b95462c5fbf" providerId="ADAL" clId="{5B7F75BF-CE10-42BB-9285-89D52BF78024}" dt="2024-03-29T09:05:50.233" v="2230" actId="2056"/>
              <pc2:cmMkLst xmlns:pc2="http://schemas.microsoft.com/office/powerpoint/2019/9/main/command">
                <pc:docMk/>
                <pc:sldMk cId="3302271320" sldId="2147482018"/>
                <pc2:cmMk id="{96BFDDA4-F70E-4B3D-9CC8-18504ADF6DBF}"/>
              </pc2:cmMkLst>
              <pc226:cmRplyChg chg="add">
                <pc226:chgData name="VANEENOGE Camille" userId="6e7f4196-225c-4d88-a65f-4b95462c5fbf" providerId="ADAL" clId="{5B7F75BF-CE10-42BB-9285-89D52BF78024}" dt="2024-03-11T16:54:00" v="2207"/>
                <pc2:cmRplyMkLst xmlns:pc2="http://schemas.microsoft.com/office/powerpoint/2019/9/main/command">
                  <pc:docMk/>
                  <pc:sldMk cId="3302271320" sldId="2147482018"/>
                  <pc2:cmMk id="{96BFDDA4-F70E-4B3D-9CC8-18504ADF6DBF}"/>
                  <pc2:cmRplyMk id="{B9EABFD7-0F09-4D63-88E1-91A44D8D387A}"/>
                </pc2:cmRplyMkLst>
              </pc226:cmRplyChg>
              <pc226:cmRplyChg chg="add">
                <pc226:chgData name="VANEENOGE Camille" userId="6e7f4196-225c-4d88-a65f-4b95462c5fbf" providerId="ADAL" clId="{5B7F75BF-CE10-42BB-9285-89D52BF78024}" dt="2024-03-11T14:33:11.265" v="1563"/>
                <pc2:cmRplyMkLst xmlns:pc2="http://schemas.microsoft.com/office/powerpoint/2019/9/main/command">
                  <pc:docMk/>
                  <pc:sldMk cId="3302271320" sldId="2147482018"/>
                  <pc2:cmMk id="{96BFDDA4-F70E-4B3D-9CC8-18504ADF6DBF}"/>
                  <pc2:cmRplyMk id="{181D74F9-659E-4607-B53C-A675DD3B4FCC}"/>
                </pc2:cmRplyMkLst>
              </pc226:cmRplyChg>
            </pc226:cmChg>
            <pc226:cmChg xmlns:pc226="http://schemas.microsoft.com/office/powerpoint/2022/06/main/command" chg="mod">
              <pc226:chgData name="VANEENOGE Camille" userId="6e7f4196-225c-4d88-a65f-4b95462c5fbf" providerId="ADAL" clId="{5B7F75BF-CE10-42BB-9285-89D52BF78024}" dt="2024-03-11T16:54:30.332" v="2209"/>
              <pc2:cmMkLst xmlns:pc2="http://schemas.microsoft.com/office/powerpoint/2019/9/main/command">
                <pc:docMk/>
                <pc:sldMk cId="3302271320" sldId="2147482018"/>
                <pc2:cmMk id="{F54A63AA-A1F8-4E2B-9134-22CA1E3912DE}"/>
              </pc2:cmMkLst>
            </pc226:cmChg>
          </p:ext>
        </pc:extLst>
      </pc:sldChg>
      <pc:sldChg chg="delSp modSp add mod modShow">
        <pc:chgData name="VANEENOGE Camille" userId="6e7f4196-225c-4d88-a65f-4b95462c5fbf" providerId="ADAL" clId="{5B7F75BF-CE10-42BB-9285-89D52BF78024}" dt="2024-03-06T16:31:59.582" v="643" actId="165"/>
        <pc:sldMkLst>
          <pc:docMk/>
          <pc:sldMk cId="3274465250" sldId="2147482019"/>
        </pc:sldMkLst>
      </pc:sldChg>
      <pc:sldChg chg="delSp add mod">
        <pc:chgData name="VANEENOGE Camille" userId="6e7f4196-225c-4d88-a65f-4b95462c5fbf" providerId="ADAL" clId="{5B7F75BF-CE10-42BB-9285-89D52BF78024}" dt="2024-06-25T19:10:07.261" v="2239" actId="478"/>
        <pc:sldMkLst>
          <pc:docMk/>
          <pc:sldMk cId="3509200503" sldId="2147482019"/>
        </pc:sldMkLst>
      </pc:sldChg>
    </pc:docChg>
  </pc:docChgLst>
  <pc:docChgLst>
    <pc:chgData name="Stéphanie Chatagner" userId="S::stephanie.chatagner_avanade.com#ext#@vincic.onmicrosoft.com::413dce0f-1b71-4edd-8872-aae39c2f786a" providerId="AD" clId="Web-{B66EC8AA-969E-4C14-D949-4CBD06458A91}"/>
    <pc:docChg chg="modSld">
      <pc:chgData name="Stéphanie Chatagner" userId="S::stephanie.chatagner_avanade.com#ext#@vincic.onmicrosoft.com::413dce0f-1b71-4edd-8872-aae39c2f786a" providerId="AD" clId="Web-{B66EC8AA-969E-4C14-D949-4CBD06458A91}" dt="2023-01-30T13:43:00.541" v="4"/>
      <pc:docMkLst>
        <pc:docMk/>
      </pc:docMkLst>
      <pc:sldChg chg="modSp">
        <pc:chgData name="Stéphanie Chatagner" userId="S::stephanie.chatagner_avanade.com#ext#@vincic.onmicrosoft.com::413dce0f-1b71-4edd-8872-aae39c2f786a" providerId="AD" clId="Web-{B66EC8AA-969E-4C14-D949-4CBD06458A91}" dt="2023-01-30T13:43:00.541" v="4"/>
        <pc:sldMkLst>
          <pc:docMk/>
          <pc:sldMk cId="1832773" sldId="2147469209"/>
        </pc:sldMkLst>
      </pc:sldChg>
      <pc:sldChg chg="modSp">
        <pc:chgData name="Stéphanie Chatagner" userId="S::stephanie.chatagner_avanade.com#ext#@vincic.onmicrosoft.com::413dce0f-1b71-4edd-8872-aae39c2f786a" providerId="AD" clId="Web-{B66EC8AA-969E-4C14-D949-4CBD06458A91}" dt="2023-01-30T13:40:17.708" v="1" actId="14100"/>
        <pc:sldMkLst>
          <pc:docMk/>
          <pc:sldMk cId="1007324685" sldId="2147469225"/>
        </pc:sldMkLst>
      </pc:sldChg>
      <pc:sldChg chg="modSp">
        <pc:chgData name="Stéphanie Chatagner" userId="S::stephanie.chatagner_avanade.com#ext#@vincic.onmicrosoft.com::413dce0f-1b71-4edd-8872-aae39c2f786a" providerId="AD" clId="Web-{B66EC8AA-969E-4C14-D949-4CBD06458A91}" dt="2023-01-30T13:42:18.946" v="2" actId="14100"/>
        <pc:sldMkLst>
          <pc:docMk/>
          <pc:sldMk cId="1014251268" sldId="2147469236"/>
        </pc:sldMkLst>
      </pc:sldChg>
      <pc:sldChg chg="modSp">
        <pc:chgData name="Stéphanie Chatagner" userId="S::stephanie.chatagner_avanade.com#ext#@vincic.onmicrosoft.com::413dce0f-1b71-4edd-8872-aae39c2f786a" providerId="AD" clId="Web-{B66EC8AA-969E-4C14-D949-4CBD06458A91}" dt="2023-01-30T13:42:25.743" v="3" actId="14100"/>
        <pc:sldMkLst>
          <pc:docMk/>
          <pc:sldMk cId="2862034825" sldId="2147469237"/>
        </pc:sldMkLst>
      </pc:sldChg>
    </pc:docChg>
  </pc:docChgLst>
  <pc:docChgLst>
    <pc:chgData name="BRET Pierre" userId="3c262e90-eaeb-4858-8462-9ff6f0ba68c6" providerId="ADAL" clId="{868385DC-08DF-4A3E-A67F-67F3849F8644}"/>
    <pc:docChg chg="undo redo custSel addSld delSld modSld sldOrd delSection modSection">
      <pc:chgData name="BRET Pierre" userId="3c262e90-eaeb-4858-8462-9ff6f0ba68c6" providerId="ADAL" clId="{868385DC-08DF-4A3E-A67F-67F3849F8644}" dt="2024-01-10T10:41:09.320" v="4107" actId="20577"/>
      <pc:docMkLst>
        <pc:docMk/>
      </pc:docMkLst>
      <pc:sldChg chg="modSp mod modCm chgLayout">
        <pc:chgData name="BRET Pierre" userId="3c262e90-eaeb-4858-8462-9ff6f0ba68c6" providerId="ADAL" clId="{868385DC-08DF-4A3E-A67F-67F3849F8644}" dt="2024-01-10T10:07:52.737" v="2659" actId="114"/>
        <pc:sldMkLst>
          <pc:docMk/>
          <pc:sldMk cId="1670719887" sldId="264"/>
        </pc:sldMkLst>
      </pc:sldChg>
      <pc:sldChg chg="del">
        <pc:chgData name="BRET Pierre" userId="3c262e90-eaeb-4858-8462-9ff6f0ba68c6" providerId="ADAL" clId="{868385DC-08DF-4A3E-A67F-67F3849F8644}" dt="2024-01-05T10:19:02.307" v="3" actId="47"/>
        <pc:sldMkLst>
          <pc:docMk/>
          <pc:sldMk cId="772362737" sldId="2147326870"/>
        </pc:sldMkLst>
      </pc:sldChg>
      <pc:sldChg chg="del">
        <pc:chgData name="BRET Pierre" userId="3c262e90-eaeb-4858-8462-9ff6f0ba68c6" providerId="ADAL" clId="{868385DC-08DF-4A3E-A67F-67F3849F8644}" dt="2024-01-05T10:18:55.149" v="1" actId="47"/>
        <pc:sldMkLst>
          <pc:docMk/>
          <pc:sldMk cId="3192763856" sldId="2147469087"/>
        </pc:sldMkLst>
      </pc:sldChg>
      <pc:sldChg chg="del">
        <pc:chgData name="BRET Pierre" userId="3c262e90-eaeb-4858-8462-9ff6f0ba68c6" providerId="ADAL" clId="{868385DC-08DF-4A3E-A67F-67F3849F8644}" dt="2024-01-05T10:24:12.685" v="139" actId="47"/>
        <pc:sldMkLst>
          <pc:docMk/>
          <pc:sldMk cId="2972058130" sldId="2147469095"/>
        </pc:sldMkLst>
      </pc:sldChg>
      <pc:sldChg chg="del">
        <pc:chgData name="BRET Pierre" userId="3c262e90-eaeb-4858-8462-9ff6f0ba68c6" providerId="ADAL" clId="{868385DC-08DF-4A3E-A67F-67F3849F8644}" dt="2024-01-05T10:24:12.685" v="139" actId="47"/>
        <pc:sldMkLst>
          <pc:docMk/>
          <pc:sldMk cId="3241130360" sldId="2147469112"/>
        </pc:sldMkLst>
      </pc:sldChg>
      <pc:sldChg chg="del">
        <pc:chgData name="BRET Pierre" userId="3c262e90-eaeb-4858-8462-9ff6f0ba68c6" providerId="ADAL" clId="{868385DC-08DF-4A3E-A67F-67F3849F8644}" dt="2024-01-05T10:24:12.685" v="139" actId="47"/>
        <pc:sldMkLst>
          <pc:docMk/>
          <pc:sldMk cId="3119294515" sldId="2147469115"/>
        </pc:sldMkLst>
      </pc:sldChg>
      <pc:sldChg chg="del">
        <pc:chgData name="BRET Pierre" userId="3c262e90-eaeb-4858-8462-9ff6f0ba68c6" providerId="ADAL" clId="{868385DC-08DF-4A3E-A67F-67F3849F8644}" dt="2024-01-05T10:24:12.685" v="139" actId="47"/>
        <pc:sldMkLst>
          <pc:docMk/>
          <pc:sldMk cId="1312330934" sldId="2147469122"/>
        </pc:sldMkLst>
      </pc:sldChg>
      <pc:sldChg chg="addSp delSp modSp mod ord modShow">
        <pc:chgData name="BRET Pierre" userId="3c262e90-eaeb-4858-8462-9ff6f0ba68c6" providerId="ADAL" clId="{868385DC-08DF-4A3E-A67F-67F3849F8644}" dt="2024-01-05T12:54:24.652" v="2310" actId="20577"/>
        <pc:sldMkLst>
          <pc:docMk/>
          <pc:sldMk cId="1678300054" sldId="2147469140"/>
        </pc:sldMkLst>
      </pc:sldChg>
      <pc:sldChg chg="del">
        <pc:chgData name="BRET Pierre" userId="3c262e90-eaeb-4858-8462-9ff6f0ba68c6" providerId="ADAL" clId="{868385DC-08DF-4A3E-A67F-67F3849F8644}" dt="2024-01-05T10:24:12.685" v="139" actId="47"/>
        <pc:sldMkLst>
          <pc:docMk/>
          <pc:sldMk cId="2917112952" sldId="2147469204"/>
        </pc:sldMkLst>
      </pc:sldChg>
      <pc:sldChg chg="del">
        <pc:chgData name="BRET Pierre" userId="3c262e90-eaeb-4858-8462-9ff6f0ba68c6" providerId="ADAL" clId="{868385DC-08DF-4A3E-A67F-67F3849F8644}" dt="2024-01-05T10:24:41.329" v="140" actId="47"/>
        <pc:sldMkLst>
          <pc:docMk/>
          <pc:sldMk cId="756621096" sldId="2147469205"/>
        </pc:sldMkLst>
      </pc:sldChg>
      <pc:sldChg chg="del">
        <pc:chgData name="BRET Pierre" userId="3c262e90-eaeb-4858-8462-9ff6f0ba68c6" providerId="ADAL" clId="{868385DC-08DF-4A3E-A67F-67F3849F8644}" dt="2024-01-05T10:24:12.685" v="139" actId="47"/>
        <pc:sldMkLst>
          <pc:docMk/>
          <pc:sldMk cId="1578203440" sldId="2147469214"/>
        </pc:sldMkLst>
      </pc:sldChg>
      <pc:sldChg chg="del">
        <pc:chgData name="BRET Pierre" userId="3c262e90-eaeb-4858-8462-9ff6f0ba68c6" providerId="ADAL" clId="{868385DC-08DF-4A3E-A67F-67F3849F8644}" dt="2024-01-05T10:23:15.904" v="138" actId="47"/>
        <pc:sldMkLst>
          <pc:docMk/>
          <pc:sldMk cId="3934546814" sldId="2147469230"/>
        </pc:sldMkLst>
      </pc:sldChg>
      <pc:sldChg chg="del">
        <pc:chgData name="BRET Pierre" userId="3c262e90-eaeb-4858-8462-9ff6f0ba68c6" providerId="ADAL" clId="{868385DC-08DF-4A3E-A67F-67F3849F8644}" dt="2024-01-05T10:24:12.685" v="139" actId="47"/>
        <pc:sldMkLst>
          <pc:docMk/>
          <pc:sldMk cId="2705986338" sldId="2147469253"/>
        </pc:sldMkLst>
      </pc:sldChg>
      <pc:sldChg chg="del">
        <pc:chgData name="BRET Pierre" userId="3c262e90-eaeb-4858-8462-9ff6f0ba68c6" providerId="ADAL" clId="{868385DC-08DF-4A3E-A67F-67F3849F8644}" dt="2024-01-05T10:22:23.931" v="135" actId="47"/>
        <pc:sldMkLst>
          <pc:docMk/>
          <pc:sldMk cId="1030784313" sldId="2147469255"/>
        </pc:sldMkLst>
      </pc:sldChg>
      <pc:sldChg chg="del">
        <pc:chgData name="BRET Pierre" userId="3c262e90-eaeb-4858-8462-9ff6f0ba68c6" providerId="ADAL" clId="{868385DC-08DF-4A3E-A67F-67F3849F8644}" dt="2024-01-05T10:26:17.994" v="148" actId="47"/>
        <pc:sldMkLst>
          <pc:docMk/>
          <pc:sldMk cId="2105868698" sldId="2147469259"/>
        </pc:sldMkLst>
      </pc:sldChg>
      <pc:sldChg chg="addSp modSp mod ord modShow">
        <pc:chgData name="BRET Pierre" userId="3c262e90-eaeb-4858-8462-9ff6f0ba68c6" providerId="ADAL" clId="{868385DC-08DF-4A3E-A67F-67F3849F8644}" dt="2024-01-10T10:38:28.919" v="4073"/>
        <pc:sldMkLst>
          <pc:docMk/>
          <pc:sldMk cId="2853590062" sldId="2147469262"/>
        </pc:sldMkLst>
      </pc:sldChg>
      <pc:sldChg chg="addSp modSp mod ord">
        <pc:chgData name="BRET Pierre" userId="3c262e90-eaeb-4858-8462-9ff6f0ba68c6" providerId="ADAL" clId="{868385DC-08DF-4A3E-A67F-67F3849F8644}" dt="2024-01-10T10:20:35.723" v="3560"/>
        <pc:sldMkLst>
          <pc:docMk/>
          <pc:sldMk cId="1632319133" sldId="2147469264"/>
        </pc:sldMkLst>
      </pc:sldChg>
      <pc:sldChg chg="addSp modSp mod ord modShow">
        <pc:chgData name="BRET Pierre" userId="3c262e90-eaeb-4858-8462-9ff6f0ba68c6" providerId="ADAL" clId="{868385DC-08DF-4A3E-A67F-67F3849F8644}" dt="2024-01-10T10:38:28.919" v="4073"/>
        <pc:sldMkLst>
          <pc:docMk/>
          <pc:sldMk cId="596036060" sldId="2147469269"/>
        </pc:sldMkLst>
      </pc:sldChg>
      <pc:sldChg chg="addSp modSp mod ord modShow">
        <pc:chgData name="BRET Pierre" userId="3c262e90-eaeb-4858-8462-9ff6f0ba68c6" providerId="ADAL" clId="{868385DC-08DF-4A3E-A67F-67F3849F8644}" dt="2024-01-10T10:38:28.919" v="4073"/>
        <pc:sldMkLst>
          <pc:docMk/>
          <pc:sldMk cId="1552375756" sldId="2147469272"/>
        </pc:sldMkLst>
      </pc:sldChg>
      <pc:sldChg chg="ord">
        <pc:chgData name="BRET Pierre" userId="3c262e90-eaeb-4858-8462-9ff6f0ba68c6" providerId="ADAL" clId="{868385DC-08DF-4A3E-A67F-67F3849F8644}" dt="2024-01-10T10:20:35.723" v="3560"/>
        <pc:sldMkLst>
          <pc:docMk/>
          <pc:sldMk cId="505188205" sldId="2147469288"/>
        </pc:sldMkLst>
      </pc:sldChg>
      <pc:sldChg chg="ord">
        <pc:chgData name="BRET Pierre" userId="3c262e90-eaeb-4858-8462-9ff6f0ba68c6" providerId="ADAL" clId="{868385DC-08DF-4A3E-A67F-67F3849F8644}" dt="2024-01-10T10:26:13.517" v="3979"/>
        <pc:sldMkLst>
          <pc:docMk/>
          <pc:sldMk cId="1893851666" sldId="2147469289"/>
        </pc:sldMkLst>
      </pc:sldChg>
      <pc:sldChg chg="ord">
        <pc:chgData name="BRET Pierre" userId="3c262e90-eaeb-4858-8462-9ff6f0ba68c6" providerId="ADAL" clId="{868385DC-08DF-4A3E-A67F-67F3849F8644}" dt="2024-01-10T10:26:53.011" v="3987"/>
        <pc:sldMkLst>
          <pc:docMk/>
          <pc:sldMk cId="4090274451" sldId="2147469290"/>
        </pc:sldMkLst>
      </pc:sldChg>
      <pc:sldChg chg="ord">
        <pc:chgData name="BRET Pierre" userId="3c262e90-eaeb-4858-8462-9ff6f0ba68c6" providerId="ADAL" clId="{868385DC-08DF-4A3E-A67F-67F3849F8644}" dt="2024-01-10T10:12:13.161" v="2771"/>
        <pc:sldMkLst>
          <pc:docMk/>
          <pc:sldMk cId="913351391" sldId="2147469291"/>
        </pc:sldMkLst>
      </pc:sldChg>
      <pc:sldChg chg="del">
        <pc:chgData name="BRET Pierre" userId="3c262e90-eaeb-4858-8462-9ff6f0ba68c6" providerId="ADAL" clId="{868385DC-08DF-4A3E-A67F-67F3849F8644}" dt="2024-01-05T10:18:51.828" v="0" actId="47"/>
        <pc:sldMkLst>
          <pc:docMk/>
          <pc:sldMk cId="2267118433" sldId="2147469292"/>
        </pc:sldMkLst>
      </pc:sldChg>
      <pc:sldChg chg="addSp delSp modSp mod modClrScheme delCm chgLayout">
        <pc:chgData name="BRET Pierre" userId="3c262e90-eaeb-4858-8462-9ff6f0ba68c6" providerId="ADAL" clId="{868385DC-08DF-4A3E-A67F-67F3849F8644}" dt="2024-01-10T10:08:50.905" v="2747" actId="1076"/>
        <pc:sldMkLst>
          <pc:docMk/>
          <pc:sldMk cId="39565805" sldId="2147481955"/>
        </pc:sldMkLst>
      </pc:sldChg>
      <pc:sldChg chg="modSp mod modClrScheme chgLayout">
        <pc:chgData name="BRET Pierre" userId="3c262e90-eaeb-4858-8462-9ff6f0ba68c6" providerId="ADAL" clId="{868385DC-08DF-4A3E-A67F-67F3849F8644}" dt="2024-01-10T10:05:30.047" v="2632" actId="700"/>
        <pc:sldMkLst>
          <pc:docMk/>
          <pc:sldMk cId="3438293396" sldId="2147481973"/>
        </pc:sldMkLst>
      </pc:sldChg>
      <pc:sldChg chg="modSp mod modClrScheme chgLayout">
        <pc:chgData name="BRET Pierre" userId="3c262e90-eaeb-4858-8462-9ff6f0ba68c6" providerId="ADAL" clId="{868385DC-08DF-4A3E-A67F-67F3849F8644}" dt="2024-01-10T10:05:38.518" v="2633" actId="700"/>
        <pc:sldMkLst>
          <pc:docMk/>
          <pc:sldMk cId="3580833316" sldId="2147481978"/>
        </pc:sldMkLst>
      </pc:sldChg>
      <pc:sldChg chg="addSp delSp modSp mod modClrScheme modCm chgLayout">
        <pc:chgData name="BRET Pierre" userId="3c262e90-eaeb-4858-8462-9ff6f0ba68c6" providerId="ADAL" clId="{868385DC-08DF-4A3E-A67F-67F3849F8644}" dt="2024-01-10T10:07:05.579" v="2652" actId="478"/>
        <pc:sldMkLst>
          <pc:docMk/>
          <pc:sldMk cId="2738404544" sldId="2147481979"/>
        </pc:sldMkLst>
      </pc:sldChg>
      <pc:sldChg chg="addSp delSp modSp mod modClrScheme chgLayout">
        <pc:chgData name="BRET Pierre" userId="3c262e90-eaeb-4858-8462-9ff6f0ba68c6" providerId="ADAL" clId="{868385DC-08DF-4A3E-A67F-67F3849F8644}" dt="2024-01-10T10:07:07.652" v="2653" actId="478"/>
        <pc:sldMkLst>
          <pc:docMk/>
          <pc:sldMk cId="2251311509" sldId="2147481981"/>
        </pc:sldMkLst>
      </pc:sldChg>
      <pc:sldChg chg="addSp delSp modSp mod modClrScheme chgLayout">
        <pc:chgData name="BRET Pierre" userId="3c262e90-eaeb-4858-8462-9ff6f0ba68c6" providerId="ADAL" clId="{868385DC-08DF-4A3E-A67F-67F3849F8644}" dt="2024-01-10T10:06:46.989" v="2648" actId="478"/>
        <pc:sldMkLst>
          <pc:docMk/>
          <pc:sldMk cId="4196752458" sldId="2147481983"/>
        </pc:sldMkLst>
      </pc:sldChg>
      <pc:sldChg chg="addSp delSp modSp mod modClrScheme modCm chgLayout">
        <pc:chgData name="BRET Pierre" userId="3c262e90-eaeb-4858-8462-9ff6f0ba68c6" providerId="ADAL" clId="{868385DC-08DF-4A3E-A67F-67F3849F8644}" dt="2024-01-10T10:06:06.860" v="2641" actId="478"/>
        <pc:sldMkLst>
          <pc:docMk/>
          <pc:sldMk cId="2629315225" sldId="2147481989"/>
        </pc:sldMkLst>
      </pc:sldChg>
      <pc:sldChg chg="addSp delSp modSp mod modClrScheme modCm chgLayout">
        <pc:chgData name="BRET Pierre" userId="3c262e90-eaeb-4858-8462-9ff6f0ba68c6" providerId="ADAL" clId="{868385DC-08DF-4A3E-A67F-67F3849F8644}" dt="2024-01-10T10:07:03.015" v="2651" actId="478"/>
        <pc:sldMkLst>
          <pc:docMk/>
          <pc:sldMk cId="1611954198" sldId="2147481990"/>
        </pc:sldMkLst>
      </pc:sldChg>
      <pc:sldChg chg="addSp delSp modSp mod modClrScheme chgLayout">
        <pc:chgData name="BRET Pierre" userId="3c262e90-eaeb-4858-8462-9ff6f0ba68c6" providerId="ADAL" clId="{868385DC-08DF-4A3E-A67F-67F3849F8644}" dt="2024-01-10T10:06:41.753" v="2646" actId="478"/>
        <pc:sldMkLst>
          <pc:docMk/>
          <pc:sldMk cId="3872359938" sldId="2147481991"/>
        </pc:sldMkLst>
      </pc:sldChg>
      <pc:sldChg chg="modSp del mod modShow modCm">
        <pc:chgData name="BRET Pierre" userId="3c262e90-eaeb-4858-8462-9ff6f0ba68c6" providerId="ADAL" clId="{868385DC-08DF-4A3E-A67F-67F3849F8644}" dt="2024-01-10T10:11:00.592" v="2769" actId="47"/>
        <pc:sldMkLst>
          <pc:docMk/>
          <pc:sldMk cId="1956832423" sldId="2147481992"/>
        </pc:sldMkLst>
      </pc:sldChg>
      <pc:sldChg chg="addSp delSp modSp mod modClrScheme modCm chgLayout">
        <pc:chgData name="BRET Pierre" userId="3c262e90-eaeb-4858-8462-9ff6f0ba68c6" providerId="ADAL" clId="{868385DC-08DF-4A3E-A67F-67F3849F8644}" dt="2024-01-10T10:10:41.290" v="2768"/>
        <pc:sldMkLst>
          <pc:docMk/>
          <pc:sldMk cId="1441249587" sldId="2147481993"/>
        </pc:sldMkLst>
      </pc:sldChg>
      <pc:sldChg chg="addSp delSp modSp mod modClrScheme chgLayout">
        <pc:chgData name="BRET Pierre" userId="3c262e90-eaeb-4858-8462-9ff6f0ba68c6" providerId="ADAL" clId="{868385DC-08DF-4A3E-A67F-67F3849F8644}" dt="2024-01-10T10:06:18.599" v="2644" actId="478"/>
        <pc:sldMkLst>
          <pc:docMk/>
          <pc:sldMk cId="1519864655" sldId="2147481994"/>
        </pc:sldMkLst>
      </pc:sldChg>
      <pc:sldChg chg="addSp modSp mod ord modClrScheme chgLayout">
        <pc:chgData name="BRET Pierre" userId="3c262e90-eaeb-4858-8462-9ff6f0ba68c6" providerId="ADAL" clId="{868385DC-08DF-4A3E-A67F-67F3849F8644}" dt="2024-01-10T10:37:33.502" v="4065" actId="20577"/>
        <pc:sldMkLst>
          <pc:docMk/>
          <pc:sldMk cId="918475442" sldId="2147481995"/>
        </pc:sldMkLst>
      </pc:sldChg>
      <pc:sldChg chg="modSp mod">
        <pc:chgData name="BRET Pierre" userId="3c262e90-eaeb-4858-8462-9ff6f0ba68c6" providerId="ADAL" clId="{868385DC-08DF-4A3E-A67F-67F3849F8644}" dt="2024-01-05T12:02:21.767" v="1171"/>
        <pc:sldMkLst>
          <pc:docMk/>
          <pc:sldMk cId="2459300264" sldId="2147481996"/>
        </pc:sldMkLst>
      </pc:sldChg>
      <pc:sldChg chg="addSp delSp modSp mod modCm">
        <pc:chgData name="BRET Pierre" userId="3c262e90-eaeb-4858-8462-9ff6f0ba68c6" providerId="ADAL" clId="{868385DC-08DF-4A3E-A67F-67F3849F8644}" dt="2024-01-05T12:24:18.542" v="1745" actId="1076"/>
        <pc:sldMkLst>
          <pc:docMk/>
          <pc:sldMk cId="619587472" sldId="2147481997"/>
        </pc:sldMkLst>
      </pc:sldChg>
      <pc:sldChg chg="addSp delSp modSp add mod ord modClrScheme chgLayout">
        <pc:chgData name="BRET Pierre" userId="3c262e90-eaeb-4858-8462-9ff6f0ba68c6" providerId="ADAL" clId="{868385DC-08DF-4A3E-A67F-67F3849F8644}" dt="2024-01-10T10:38:28.919" v="4073"/>
        <pc:sldMkLst>
          <pc:docMk/>
          <pc:sldMk cId="4144737670" sldId="2147481998"/>
        </pc:sldMkLst>
      </pc:sldChg>
      <pc:sldChg chg="addSp delSp modSp mod modClrScheme chgLayout">
        <pc:chgData name="BRET Pierre" userId="3c262e90-eaeb-4858-8462-9ff6f0ba68c6" providerId="ADAL" clId="{868385DC-08DF-4A3E-A67F-67F3849F8644}" dt="2024-01-10T10:07:00.623" v="2650" actId="478"/>
        <pc:sldMkLst>
          <pc:docMk/>
          <pc:sldMk cId="1257207121" sldId="2147481999"/>
        </pc:sldMkLst>
      </pc:sldChg>
      <pc:sldChg chg="ord">
        <pc:chgData name="BRET Pierre" userId="3c262e90-eaeb-4858-8462-9ff6f0ba68c6" providerId="ADAL" clId="{868385DC-08DF-4A3E-A67F-67F3849F8644}" dt="2024-01-10T10:20:35.723" v="3560"/>
        <pc:sldMkLst>
          <pc:docMk/>
          <pc:sldMk cId="2161414971" sldId="2147482000"/>
        </pc:sldMkLst>
      </pc:sldChg>
      <pc:sldChg chg="ord">
        <pc:chgData name="BRET Pierre" userId="3c262e90-eaeb-4858-8462-9ff6f0ba68c6" providerId="ADAL" clId="{868385DC-08DF-4A3E-A67F-67F3849F8644}" dt="2024-01-10T10:12:13.161" v="2771"/>
        <pc:sldMkLst>
          <pc:docMk/>
          <pc:sldMk cId="1693618491" sldId="2147482002"/>
        </pc:sldMkLst>
      </pc:sldChg>
      <pc:sldChg chg="delSp modSp mod modClrScheme chgLayout">
        <pc:chgData name="BRET Pierre" userId="3c262e90-eaeb-4858-8462-9ff6f0ba68c6" providerId="ADAL" clId="{868385DC-08DF-4A3E-A67F-67F3849F8644}" dt="2024-01-10T10:22:58.606" v="3773" actId="478"/>
        <pc:sldMkLst>
          <pc:docMk/>
          <pc:sldMk cId="3340189546" sldId="2147482003"/>
        </pc:sldMkLst>
      </pc:sldChg>
      <pc:sldChg chg="delSp modSp mod">
        <pc:chgData name="BRET Pierre" userId="3c262e90-eaeb-4858-8462-9ff6f0ba68c6" providerId="ADAL" clId="{868385DC-08DF-4A3E-A67F-67F3849F8644}" dt="2024-01-10T10:27:35.631" v="4028" actId="20577"/>
        <pc:sldMkLst>
          <pc:docMk/>
          <pc:sldMk cId="258348270" sldId="2147482004"/>
        </pc:sldMkLst>
      </pc:sldChg>
      <pc:sldChg chg="delSp modSp mod">
        <pc:chgData name="BRET Pierre" userId="3c262e90-eaeb-4858-8462-9ff6f0ba68c6" providerId="ADAL" clId="{868385DC-08DF-4A3E-A67F-67F3849F8644}" dt="2024-01-10T10:36:42.554" v="4048" actId="478"/>
        <pc:sldMkLst>
          <pc:docMk/>
          <pc:sldMk cId="2145233351" sldId="2147482005"/>
        </pc:sldMkLst>
      </pc:sldChg>
      <pc:sldChg chg="modSp mod">
        <pc:chgData name="BRET Pierre" userId="3c262e90-eaeb-4858-8462-9ff6f0ba68c6" providerId="ADAL" clId="{868385DC-08DF-4A3E-A67F-67F3849F8644}" dt="2024-01-10T10:41:09.320" v="4107" actId="20577"/>
        <pc:sldMkLst>
          <pc:docMk/>
          <pc:sldMk cId="980070838" sldId="2147482006"/>
        </pc:sldMkLst>
      </pc:sldChg>
      <pc:sldChg chg="addSp delSp modSp add mod modClrScheme chgLayout">
        <pc:chgData name="BRET Pierre" userId="3c262e90-eaeb-4858-8462-9ff6f0ba68c6" providerId="ADAL" clId="{868385DC-08DF-4A3E-A67F-67F3849F8644}" dt="2024-01-10T10:09:50.889" v="2748" actId="20577"/>
        <pc:sldMkLst>
          <pc:docMk/>
          <pc:sldMk cId="3715473728" sldId="2147482010"/>
        </pc:sldMkLst>
      </pc:sldChg>
    </pc:docChg>
  </pc:docChgLst>
  <pc:docChgLst>
    <pc:chgData name="VERMONT Olivier" userId="634f67f3-c7f5-4fef-a3da-f29c37e9e44b" providerId="ADAL" clId="{602C242E-0363-480C-A58E-D849FC442814}"/>
    <pc:docChg chg="undo custSel modSld">
      <pc:chgData name="VERMONT Olivier" userId="634f67f3-c7f5-4fef-a3da-f29c37e9e44b" providerId="ADAL" clId="{602C242E-0363-480C-A58E-D849FC442814}" dt="2023-12-28T16:23:11.050" v="65" actId="2056"/>
      <pc:docMkLst>
        <pc:docMk/>
      </pc:docMkLst>
      <pc:sldChg chg="addCm">
        <pc:chgData name="VERMONT Olivier" userId="634f67f3-c7f5-4fef-a3da-f29c37e9e44b" providerId="ADAL" clId="{602C242E-0363-480C-A58E-D849FC442814}" dt="2023-12-27T09:41:17.916" v="20"/>
        <pc:sldMkLst>
          <pc:docMk/>
          <pc:sldMk cId="1670719887" sldId="264"/>
        </pc:sldMkLst>
      </pc:sldChg>
      <pc:sldChg chg="addCm">
        <pc:chgData name="VERMONT Olivier" userId="634f67f3-c7f5-4fef-a3da-f29c37e9e44b" providerId="ADAL" clId="{602C242E-0363-480C-A58E-D849FC442814}" dt="2023-12-27T09:45:03.117" v="23"/>
        <pc:sldMkLst>
          <pc:docMk/>
          <pc:sldMk cId="39565805" sldId="2147481955"/>
        </pc:sldMkLst>
      </pc:sldChg>
      <pc:sldChg chg="modSp mod addCm">
        <pc:chgData name="VERMONT Olivier" userId="634f67f3-c7f5-4fef-a3da-f29c37e9e44b" providerId="ADAL" clId="{602C242E-0363-480C-A58E-D849FC442814}" dt="2023-12-27T10:00:14.375" v="35"/>
        <pc:sldMkLst>
          <pc:docMk/>
          <pc:sldMk cId="3438293396" sldId="2147481973"/>
        </pc:sldMkLst>
      </pc:sldChg>
      <pc:sldChg chg="modSp mod addCm">
        <pc:chgData name="VERMONT Olivier" userId="634f67f3-c7f5-4fef-a3da-f29c37e9e44b" providerId="ADAL" clId="{602C242E-0363-480C-A58E-D849FC442814}" dt="2023-12-27T10:18:08.350" v="43"/>
        <pc:sldMkLst>
          <pc:docMk/>
          <pc:sldMk cId="3580833316" sldId="2147481978"/>
        </pc:sldMkLst>
      </pc:sldChg>
      <pc:sldChg chg="addCm">
        <pc:chgData name="VERMONT Olivier" userId="634f67f3-c7f5-4fef-a3da-f29c37e9e44b" providerId="ADAL" clId="{602C242E-0363-480C-A58E-D849FC442814}" dt="2023-12-27T09:24:13.560" v="6"/>
        <pc:sldMkLst>
          <pc:docMk/>
          <pc:sldMk cId="2738404544" sldId="2147481979"/>
        </pc:sldMkLst>
      </pc:sldChg>
      <pc:sldChg chg="addCm modCm">
        <pc:chgData name="VERMONT Olivier" userId="634f67f3-c7f5-4fef-a3da-f29c37e9e44b" providerId="ADAL" clId="{602C242E-0363-480C-A58E-D849FC442814}" dt="2023-12-28T16:08:24.125" v="63" actId="2056"/>
        <pc:sldMkLst>
          <pc:docMk/>
          <pc:sldMk cId="2251311509" sldId="2147481981"/>
        </pc:sldMkLst>
      </pc:sldChg>
      <pc:sldChg chg="addCm">
        <pc:chgData name="VERMONT Olivier" userId="634f67f3-c7f5-4fef-a3da-f29c37e9e44b" providerId="ADAL" clId="{602C242E-0363-480C-A58E-D849FC442814}" dt="2023-12-27T09:36:27.086" v="13"/>
        <pc:sldMkLst>
          <pc:docMk/>
          <pc:sldMk cId="4196752458" sldId="2147481983"/>
        </pc:sldMkLst>
      </pc:sldChg>
      <pc:sldChg chg="modSp mod addCm">
        <pc:chgData name="VERMONT Olivier" userId="634f67f3-c7f5-4fef-a3da-f29c37e9e44b" providerId="ADAL" clId="{602C242E-0363-480C-A58E-D849FC442814}" dt="2023-12-27T10:22:06.080" v="51"/>
        <pc:sldMkLst>
          <pc:docMk/>
          <pc:sldMk cId="2629315225" sldId="2147481989"/>
        </pc:sldMkLst>
      </pc:sldChg>
      <pc:sldChg chg="addCm modCm">
        <pc:chgData name="VERMONT Olivier" userId="634f67f3-c7f5-4fef-a3da-f29c37e9e44b" providerId="ADAL" clId="{602C242E-0363-480C-A58E-D849FC442814}" dt="2023-12-28T16:23:11.050" v="65" actId="2056"/>
        <pc:sldMkLst>
          <pc:docMk/>
          <pc:sldMk cId="1611954198" sldId="2147481990"/>
        </pc:sldMkLst>
      </pc:sldChg>
      <pc:sldChg chg="modSp mod addCm">
        <pc:chgData name="VERMONT Olivier" userId="634f67f3-c7f5-4fef-a3da-f29c37e9e44b" providerId="ADAL" clId="{602C242E-0363-480C-A58E-D849FC442814}" dt="2023-12-27T09:40:08.381" v="19" actId="20577"/>
        <pc:sldMkLst>
          <pc:docMk/>
          <pc:sldMk cId="3872359938" sldId="2147481991"/>
        </pc:sldMkLst>
      </pc:sldChg>
      <pc:sldChg chg="addCm">
        <pc:chgData name="VERMONT Olivier" userId="634f67f3-c7f5-4fef-a3da-f29c37e9e44b" providerId="ADAL" clId="{602C242E-0363-480C-A58E-D849FC442814}" dt="2023-12-27T09:29:53.369" v="9"/>
        <pc:sldMkLst>
          <pc:docMk/>
          <pc:sldMk cId="1956832423" sldId="2147481992"/>
        </pc:sldMkLst>
      </pc:sldChg>
      <pc:sldChg chg="modSp mod addCm modCm">
        <pc:chgData name="VERMONT Olivier" userId="634f67f3-c7f5-4fef-a3da-f29c37e9e44b" providerId="ADAL" clId="{602C242E-0363-480C-A58E-D849FC442814}" dt="2023-12-27T09:50:17.278" v="32"/>
        <pc:sldMkLst>
          <pc:docMk/>
          <pc:sldMk cId="1441249587" sldId="2147481993"/>
        </pc:sldMkLst>
      </pc:sldChg>
      <pc:sldChg chg="modSp mod addCm modCm">
        <pc:chgData name="VERMONT Olivier" userId="634f67f3-c7f5-4fef-a3da-f29c37e9e44b" providerId="ADAL" clId="{602C242E-0363-480C-A58E-D849FC442814}" dt="2023-12-27T10:23:49.829" v="62" actId="20577"/>
        <pc:sldMkLst>
          <pc:docMk/>
          <pc:sldMk cId="1519864655" sldId="2147481994"/>
        </pc:sldMkLst>
      </pc:sldChg>
      <pc:sldChg chg="addCm modCm">
        <pc:chgData name="VERMONT Olivier" userId="634f67f3-c7f5-4fef-a3da-f29c37e9e44b" providerId="ADAL" clId="{602C242E-0363-480C-A58E-D849FC442814}" dt="2023-12-28T16:19:05.024" v="64" actId="2056"/>
        <pc:sldMkLst>
          <pc:docMk/>
          <pc:sldMk cId="619587472" sldId="2147481997"/>
        </pc:sldMkLst>
      </pc:sldChg>
    </pc:docChg>
  </pc:docChgLst>
  <pc:docChgLst>
    <pc:chgData name="CHATAGNER Stephanie (Externe)" userId="6bce638a-ff22-4fdc-bdcc-a3ede131b393" providerId="ADAL" clId="{F6AC7553-E361-46B6-A6DA-D7B841776B10}"/>
    <pc:docChg chg="undo redo custSel addSld delSld modSld modSection">
      <pc:chgData name="CHATAGNER Stephanie (Externe)" userId="6bce638a-ff22-4fdc-bdcc-a3ede131b393" providerId="ADAL" clId="{F6AC7553-E361-46B6-A6DA-D7B841776B10}" dt="2023-12-22T19:04:22.123" v="2123" actId="2696"/>
      <pc:docMkLst>
        <pc:docMk/>
      </pc:docMkLst>
      <pc:sldChg chg="delSp modSp add mod modNotes">
        <pc:chgData name="CHATAGNER Stephanie (Externe)" userId="6bce638a-ff22-4fdc-bdcc-a3ede131b393" providerId="ADAL" clId="{F6AC7553-E361-46B6-A6DA-D7B841776B10}" dt="2023-12-22T18:14:33.307" v="866" actId="790"/>
        <pc:sldMkLst>
          <pc:docMk/>
          <pc:sldMk cId="1670719887" sldId="264"/>
        </pc:sldMkLst>
      </pc:sldChg>
      <pc:sldChg chg="modSp mod modNotes">
        <pc:chgData name="CHATAGNER Stephanie (Externe)" userId="6bce638a-ff22-4fdc-bdcc-a3ede131b393" providerId="ADAL" clId="{F6AC7553-E361-46B6-A6DA-D7B841776B10}" dt="2023-12-22T18:14:32.306" v="385" actId="790"/>
        <pc:sldMkLst>
          <pc:docMk/>
          <pc:sldMk cId="2631057792" sldId="2076137815"/>
        </pc:sldMkLst>
      </pc:sldChg>
      <pc:sldChg chg="modSp mod modNotes">
        <pc:chgData name="CHATAGNER Stephanie (Externe)" userId="6bce638a-ff22-4fdc-bdcc-a3ede131b393" providerId="ADAL" clId="{F6AC7553-E361-46B6-A6DA-D7B841776B10}" dt="2023-12-22T18:14:32.242" v="363" actId="790"/>
        <pc:sldMkLst>
          <pc:docMk/>
          <pc:sldMk cId="1716985175" sldId="2147326867"/>
        </pc:sldMkLst>
      </pc:sldChg>
      <pc:sldChg chg="modSp mod modNotes">
        <pc:chgData name="CHATAGNER Stephanie (Externe)" userId="6bce638a-ff22-4fdc-bdcc-a3ede131b393" providerId="ADAL" clId="{F6AC7553-E361-46B6-A6DA-D7B841776B10}" dt="2023-12-22T18:14:32.429" v="420" actId="790"/>
        <pc:sldMkLst>
          <pc:docMk/>
          <pc:sldMk cId="772362737" sldId="2147326870"/>
        </pc:sldMkLst>
      </pc:sldChg>
      <pc:sldChg chg="modSp mod modNotes">
        <pc:chgData name="CHATAGNER Stephanie (Externe)" userId="6bce638a-ff22-4fdc-bdcc-a3ede131b393" providerId="ADAL" clId="{F6AC7553-E361-46B6-A6DA-D7B841776B10}" dt="2023-12-22T18:14:33.832" v="1200" actId="790"/>
        <pc:sldMkLst>
          <pc:docMk/>
          <pc:sldMk cId="3192763856" sldId="2147469087"/>
        </pc:sldMkLst>
      </pc:sldChg>
      <pc:sldChg chg="modSp mod modNotes">
        <pc:chgData name="CHATAGNER Stephanie (Externe)" userId="6bce638a-ff22-4fdc-bdcc-a3ede131b393" providerId="ADAL" clId="{F6AC7553-E361-46B6-A6DA-D7B841776B10}" dt="2023-12-22T18:14:34.750" v="1655" actId="790"/>
        <pc:sldMkLst>
          <pc:docMk/>
          <pc:sldMk cId="2972058130" sldId="2147469095"/>
        </pc:sldMkLst>
      </pc:sldChg>
      <pc:sldChg chg="modSp mod modNotes">
        <pc:chgData name="CHATAGNER Stephanie (Externe)" userId="6bce638a-ff22-4fdc-bdcc-a3ede131b393" providerId="ADAL" clId="{F6AC7553-E361-46B6-A6DA-D7B841776B10}" dt="2023-12-22T18:14:34.815" v="1686" actId="790"/>
        <pc:sldMkLst>
          <pc:docMk/>
          <pc:sldMk cId="3241130360" sldId="2147469112"/>
        </pc:sldMkLst>
      </pc:sldChg>
      <pc:sldChg chg="modSp mod modNotes">
        <pc:chgData name="CHATAGNER Stephanie (Externe)" userId="6bce638a-ff22-4fdc-bdcc-a3ede131b393" providerId="ADAL" clId="{F6AC7553-E361-46B6-A6DA-D7B841776B10}" dt="2023-12-22T18:14:34.609" v="1586" actId="790"/>
        <pc:sldMkLst>
          <pc:docMk/>
          <pc:sldMk cId="3119294515" sldId="2147469115"/>
        </pc:sldMkLst>
      </pc:sldChg>
      <pc:sldChg chg="modSp mod modNotes">
        <pc:chgData name="CHATAGNER Stephanie (Externe)" userId="6bce638a-ff22-4fdc-bdcc-a3ede131b393" providerId="ADAL" clId="{F6AC7553-E361-46B6-A6DA-D7B841776B10}" dt="2023-12-22T18:14:34.876" v="1722" actId="790"/>
        <pc:sldMkLst>
          <pc:docMk/>
          <pc:sldMk cId="1312330934" sldId="2147469122"/>
        </pc:sldMkLst>
      </pc:sldChg>
      <pc:sldChg chg="modSp mod modNotes">
        <pc:chgData name="CHATAGNER Stephanie (Externe)" userId="6bce638a-ff22-4fdc-bdcc-a3ede131b393" providerId="ADAL" clId="{F6AC7553-E361-46B6-A6DA-D7B841776B10}" dt="2023-12-22T18:14:33.928" v="1231" actId="790"/>
        <pc:sldMkLst>
          <pc:docMk/>
          <pc:sldMk cId="1867449557" sldId="2147469131"/>
        </pc:sldMkLst>
      </pc:sldChg>
      <pc:sldChg chg="modSp mod modNotes">
        <pc:chgData name="CHATAGNER Stephanie (Externe)" userId="6bce638a-ff22-4fdc-bdcc-a3ede131b393" providerId="ADAL" clId="{F6AC7553-E361-46B6-A6DA-D7B841776B10}" dt="2023-12-22T18:14:35.057" v="1789" actId="790"/>
        <pc:sldMkLst>
          <pc:docMk/>
          <pc:sldMk cId="1678300054" sldId="2147469140"/>
        </pc:sldMkLst>
      </pc:sldChg>
      <pc:sldChg chg="modSp mod modNotes">
        <pc:chgData name="CHATAGNER Stephanie (Externe)" userId="6bce638a-ff22-4fdc-bdcc-a3ede131b393" providerId="ADAL" clId="{F6AC7553-E361-46B6-A6DA-D7B841776B10}" dt="2023-12-22T18:14:34.577" v="1563" actId="790"/>
        <pc:sldMkLst>
          <pc:docMk/>
          <pc:sldMk cId="2433366989" sldId="2147469201"/>
        </pc:sldMkLst>
      </pc:sldChg>
      <pc:sldChg chg="modSp mod modNotes">
        <pc:chgData name="CHATAGNER Stephanie (Externe)" userId="6bce638a-ff22-4fdc-bdcc-a3ede131b393" providerId="ADAL" clId="{F6AC7553-E361-46B6-A6DA-D7B841776B10}" dt="2023-12-22T18:14:34.449" v="1509" actId="790"/>
        <pc:sldMkLst>
          <pc:docMk/>
          <pc:sldMk cId="2917112952" sldId="2147469204"/>
        </pc:sldMkLst>
      </pc:sldChg>
      <pc:sldChg chg="modSp mod modNotes">
        <pc:chgData name="CHATAGNER Stephanie (Externe)" userId="6bce638a-ff22-4fdc-bdcc-a3ede131b393" providerId="ADAL" clId="{F6AC7553-E361-46B6-A6DA-D7B841776B10}" dt="2023-12-22T18:14:34.893" v="1727" actId="790"/>
        <pc:sldMkLst>
          <pc:docMk/>
          <pc:sldMk cId="756621096" sldId="2147469205"/>
        </pc:sldMkLst>
      </pc:sldChg>
      <pc:sldChg chg="modSp mod modNotes">
        <pc:chgData name="CHATAGNER Stephanie (Externe)" userId="6bce638a-ff22-4fdc-bdcc-a3ede131b393" providerId="ADAL" clId="{F6AC7553-E361-46B6-A6DA-D7B841776B10}" dt="2023-12-22T18:14:35.623" v="2014" actId="790"/>
        <pc:sldMkLst>
          <pc:docMk/>
          <pc:sldMk cId="1832773" sldId="2147469209"/>
        </pc:sldMkLst>
      </pc:sldChg>
      <pc:sldChg chg="modSp mod modNotes">
        <pc:chgData name="CHATAGNER Stephanie (Externe)" userId="6bce638a-ff22-4fdc-bdcc-a3ede131b393" providerId="ADAL" clId="{F6AC7553-E361-46B6-A6DA-D7B841776B10}" dt="2023-12-22T18:14:34.609" v="1581" actId="790"/>
        <pc:sldMkLst>
          <pc:docMk/>
          <pc:sldMk cId="1578203440" sldId="2147469214"/>
        </pc:sldMkLst>
      </pc:sldChg>
      <pc:sldChg chg="modSp mod modNotes">
        <pc:chgData name="CHATAGNER Stephanie (Externe)" userId="6bce638a-ff22-4fdc-bdcc-a3ede131b393" providerId="ADAL" clId="{F6AC7553-E361-46B6-A6DA-D7B841776B10}" dt="2023-12-22T18:14:34.482" v="1518" actId="790"/>
        <pc:sldMkLst>
          <pc:docMk/>
          <pc:sldMk cId="1859233551" sldId="2147469215"/>
        </pc:sldMkLst>
      </pc:sldChg>
      <pc:sldChg chg="modSp mod modNotes">
        <pc:chgData name="CHATAGNER Stephanie (Externe)" userId="6bce638a-ff22-4fdc-bdcc-a3ede131b393" providerId="ADAL" clId="{F6AC7553-E361-46B6-A6DA-D7B841776B10}" dt="2023-12-22T18:14:33.991" v="1264" actId="790"/>
        <pc:sldMkLst>
          <pc:docMk/>
          <pc:sldMk cId="3937719075" sldId="2147469217"/>
        </pc:sldMkLst>
      </pc:sldChg>
      <pc:sldChg chg="modSp mod modNotes">
        <pc:chgData name="CHATAGNER Stephanie (Externe)" userId="6bce638a-ff22-4fdc-bdcc-a3ede131b393" providerId="ADAL" clId="{F6AC7553-E361-46B6-A6DA-D7B841776B10}" dt="2023-12-22T18:14:34.040" v="1287" actId="790"/>
        <pc:sldMkLst>
          <pc:docMk/>
          <pc:sldMk cId="1451093172" sldId="2147469218"/>
        </pc:sldMkLst>
      </pc:sldChg>
      <pc:sldChg chg="modSp mod modNotes">
        <pc:chgData name="CHATAGNER Stephanie (Externe)" userId="6bce638a-ff22-4fdc-bdcc-a3ede131b393" providerId="ADAL" clId="{F6AC7553-E361-46B6-A6DA-D7B841776B10}" dt="2023-12-22T18:14:34.370" v="1478" actId="790"/>
        <pc:sldMkLst>
          <pc:docMk/>
          <pc:sldMk cId="1723624365" sldId="2147469222"/>
        </pc:sldMkLst>
      </pc:sldChg>
      <pc:sldChg chg="modSp mod modNotes">
        <pc:chgData name="CHATAGNER Stephanie (Externe)" userId="6bce638a-ff22-4fdc-bdcc-a3ede131b393" providerId="ADAL" clId="{F6AC7553-E361-46B6-A6DA-D7B841776B10}" dt="2023-12-22T18:14:34.445" v="1504" actId="790"/>
        <pc:sldMkLst>
          <pc:docMk/>
          <pc:sldMk cId="1949532902" sldId="2147469223"/>
        </pc:sldMkLst>
      </pc:sldChg>
      <pc:sldChg chg="modSp mod modNotes">
        <pc:chgData name="CHATAGNER Stephanie (Externe)" userId="6bce638a-ff22-4fdc-bdcc-a3ede131b393" providerId="ADAL" clId="{F6AC7553-E361-46B6-A6DA-D7B841776B10}" dt="2023-12-22T18:14:34.260" v="1407" actId="790"/>
        <pc:sldMkLst>
          <pc:docMk/>
          <pc:sldMk cId="3536625796" sldId="2147469228"/>
        </pc:sldMkLst>
      </pc:sldChg>
      <pc:sldChg chg="modSp mod modNotes">
        <pc:chgData name="CHATAGNER Stephanie (Externe)" userId="6bce638a-ff22-4fdc-bdcc-a3ede131b393" providerId="ADAL" clId="{F6AC7553-E361-46B6-A6DA-D7B841776B10}" dt="2023-12-22T18:14:35.305" v="1896" actId="790"/>
        <pc:sldMkLst>
          <pc:docMk/>
          <pc:sldMk cId="92527006" sldId="2147469229"/>
        </pc:sldMkLst>
      </pc:sldChg>
      <pc:sldChg chg="modSp mod modNotes">
        <pc:chgData name="CHATAGNER Stephanie (Externe)" userId="6bce638a-ff22-4fdc-bdcc-a3ede131b393" providerId="ADAL" clId="{F6AC7553-E361-46B6-A6DA-D7B841776B10}" dt="2023-12-22T18:14:34.244" v="1396" actId="790"/>
        <pc:sldMkLst>
          <pc:docMk/>
          <pc:sldMk cId="3934546814" sldId="2147469230"/>
        </pc:sldMkLst>
      </pc:sldChg>
      <pc:sldChg chg="modSp mod modNotes">
        <pc:chgData name="CHATAGNER Stephanie (Externe)" userId="6bce638a-ff22-4fdc-bdcc-a3ede131b393" providerId="ADAL" clId="{F6AC7553-E361-46B6-A6DA-D7B841776B10}" dt="2023-12-22T18:14:35.387" v="1922" actId="790"/>
        <pc:sldMkLst>
          <pc:docMk/>
          <pc:sldMk cId="4175321075" sldId="2147469233"/>
        </pc:sldMkLst>
      </pc:sldChg>
      <pc:sldChg chg="modSp mod modNotes">
        <pc:chgData name="CHATAGNER Stephanie (Externe)" userId="6bce638a-ff22-4fdc-bdcc-a3ede131b393" providerId="ADAL" clId="{F6AC7553-E361-46B6-A6DA-D7B841776B10}" dt="2023-12-22T18:14:35.465" v="1948" actId="790"/>
        <pc:sldMkLst>
          <pc:docMk/>
          <pc:sldMk cId="137568215" sldId="2147469234"/>
        </pc:sldMkLst>
      </pc:sldChg>
      <pc:sldChg chg="modSp mod modNotes">
        <pc:chgData name="CHATAGNER Stephanie (Externe)" userId="6bce638a-ff22-4fdc-bdcc-a3ede131b393" providerId="ADAL" clId="{F6AC7553-E361-46B6-A6DA-D7B841776B10}" dt="2023-12-22T18:14:35.487" v="1961" actId="790"/>
        <pc:sldMkLst>
          <pc:docMk/>
          <pc:sldMk cId="1014251268" sldId="2147469236"/>
        </pc:sldMkLst>
      </pc:sldChg>
      <pc:sldChg chg="modSp mod modNotes">
        <pc:chgData name="CHATAGNER Stephanie (Externe)" userId="6bce638a-ff22-4fdc-bdcc-a3ede131b393" providerId="ADAL" clId="{F6AC7553-E361-46B6-A6DA-D7B841776B10}" dt="2023-12-22T18:14:35.526" v="1974" actId="790"/>
        <pc:sldMkLst>
          <pc:docMk/>
          <pc:sldMk cId="2862034825" sldId="2147469237"/>
        </pc:sldMkLst>
      </pc:sldChg>
      <pc:sldChg chg="modSp mod modNotes">
        <pc:chgData name="CHATAGNER Stephanie (Externe)" userId="6bce638a-ff22-4fdc-bdcc-a3ede131b393" providerId="ADAL" clId="{F6AC7553-E361-46B6-A6DA-D7B841776B10}" dt="2023-12-22T18:14:34.971" v="1759" actId="790"/>
        <pc:sldMkLst>
          <pc:docMk/>
          <pc:sldMk cId="1863786756" sldId="2147469240"/>
        </pc:sldMkLst>
      </pc:sldChg>
      <pc:sldChg chg="modSp mod modNotes">
        <pc:chgData name="CHATAGNER Stephanie (Externe)" userId="6bce638a-ff22-4fdc-bdcc-a3ede131b393" providerId="ADAL" clId="{F6AC7553-E361-46B6-A6DA-D7B841776B10}" dt="2023-12-22T18:14:35.257" v="1876" actId="790"/>
        <pc:sldMkLst>
          <pc:docMk/>
          <pc:sldMk cId="297916462" sldId="2147469243"/>
        </pc:sldMkLst>
      </pc:sldChg>
      <pc:sldChg chg="modSp mod modNotes">
        <pc:chgData name="CHATAGNER Stephanie (Externe)" userId="6bce638a-ff22-4fdc-bdcc-a3ede131b393" providerId="ADAL" clId="{F6AC7553-E361-46B6-A6DA-D7B841776B10}" dt="2023-12-22T18:14:34.086" v="1311" actId="790"/>
        <pc:sldMkLst>
          <pc:docMk/>
          <pc:sldMk cId="1717254701" sldId="2147469247"/>
        </pc:sldMkLst>
      </pc:sldChg>
      <pc:sldChg chg="modSp mod modNotes">
        <pc:chgData name="CHATAGNER Stephanie (Externe)" userId="6bce638a-ff22-4fdc-bdcc-a3ede131b393" providerId="ADAL" clId="{F6AC7553-E361-46B6-A6DA-D7B841776B10}" dt="2023-12-22T18:14:34.639" v="1603" actId="790"/>
        <pc:sldMkLst>
          <pc:docMk/>
          <pc:sldMk cId="2705986338" sldId="2147469253"/>
        </pc:sldMkLst>
      </pc:sldChg>
      <pc:sldChg chg="modSp mod modNotes">
        <pc:chgData name="CHATAGNER Stephanie (Externe)" userId="6bce638a-ff22-4fdc-bdcc-a3ede131b393" providerId="ADAL" clId="{F6AC7553-E361-46B6-A6DA-D7B841776B10}" dt="2023-12-22T18:14:35.337" v="1909" actId="790"/>
        <pc:sldMkLst>
          <pc:docMk/>
          <pc:sldMk cId="906830166" sldId="2147469254"/>
        </pc:sldMkLst>
      </pc:sldChg>
      <pc:sldChg chg="modSp mod modNotes">
        <pc:chgData name="CHATAGNER Stephanie (Externe)" userId="6bce638a-ff22-4fdc-bdcc-a3ede131b393" providerId="ADAL" clId="{F6AC7553-E361-46B6-A6DA-D7B841776B10}" dt="2023-12-22T18:14:34.338" v="1458" actId="790"/>
        <pc:sldMkLst>
          <pc:docMk/>
          <pc:sldMk cId="1030784313" sldId="2147469255"/>
        </pc:sldMkLst>
      </pc:sldChg>
      <pc:sldChg chg="modSp mod modNotes">
        <pc:chgData name="CHATAGNER Stephanie (Externe)" userId="6bce638a-ff22-4fdc-bdcc-a3ede131b393" providerId="ADAL" clId="{F6AC7553-E361-46B6-A6DA-D7B841776B10}" dt="2023-12-22T18:14:35.004" v="1769" actId="790"/>
        <pc:sldMkLst>
          <pc:docMk/>
          <pc:sldMk cId="2105868698" sldId="2147469259"/>
        </pc:sldMkLst>
      </pc:sldChg>
      <pc:sldChg chg="modSp mod modNotes">
        <pc:chgData name="CHATAGNER Stephanie (Externe)" userId="6bce638a-ff22-4fdc-bdcc-a3ede131b393" providerId="ADAL" clId="{F6AC7553-E361-46B6-A6DA-D7B841776B10}" dt="2023-12-22T18:14:35.241" v="1866" actId="790"/>
        <pc:sldMkLst>
          <pc:docMk/>
          <pc:sldMk cId="2853590062" sldId="2147469262"/>
        </pc:sldMkLst>
      </pc:sldChg>
      <pc:sldChg chg="modSp mod modNotes">
        <pc:chgData name="CHATAGNER Stephanie (Externe)" userId="6bce638a-ff22-4fdc-bdcc-a3ede131b393" providerId="ADAL" clId="{F6AC7553-E361-46B6-A6DA-D7B841776B10}" dt="2023-12-22T18:14:34.323" v="1447" actId="790"/>
        <pc:sldMkLst>
          <pc:docMk/>
          <pc:sldMk cId="1632319133" sldId="2147469264"/>
        </pc:sldMkLst>
      </pc:sldChg>
      <pc:sldChg chg="modSp mod modNotes">
        <pc:chgData name="CHATAGNER Stephanie (Externe)" userId="6bce638a-ff22-4fdc-bdcc-a3ede131b393" providerId="ADAL" clId="{F6AC7553-E361-46B6-A6DA-D7B841776B10}" dt="2023-12-22T18:14:34.529" v="1539" actId="790"/>
        <pc:sldMkLst>
          <pc:docMk/>
          <pc:sldMk cId="1876804831" sldId="2147469265"/>
        </pc:sldMkLst>
      </pc:sldChg>
      <pc:sldChg chg="modSp mod modNotes">
        <pc:chgData name="CHATAGNER Stephanie (Externe)" userId="6bce638a-ff22-4fdc-bdcc-a3ede131b393" providerId="ADAL" clId="{F6AC7553-E361-46B6-A6DA-D7B841776B10}" dt="2023-12-22T18:14:35.212" v="1855" actId="790"/>
        <pc:sldMkLst>
          <pc:docMk/>
          <pc:sldMk cId="596036060" sldId="2147469269"/>
        </pc:sldMkLst>
      </pc:sldChg>
      <pc:sldChg chg="modSp mod modNotes">
        <pc:chgData name="CHATAGNER Stephanie (Externe)" userId="6bce638a-ff22-4fdc-bdcc-a3ede131b393" providerId="ADAL" clId="{F6AC7553-E361-46B6-A6DA-D7B841776B10}" dt="2023-12-22T18:14:35.151" v="1833" actId="790"/>
        <pc:sldMkLst>
          <pc:docMk/>
          <pc:sldMk cId="27772628" sldId="2147469270"/>
        </pc:sldMkLst>
      </pc:sldChg>
      <pc:sldChg chg="modSp mod modNotes">
        <pc:chgData name="CHATAGNER Stephanie (Externe)" userId="6bce638a-ff22-4fdc-bdcc-a3ede131b393" providerId="ADAL" clId="{F6AC7553-E361-46B6-A6DA-D7B841776B10}" dt="2023-12-22T18:14:35.187" v="1845" actId="790"/>
        <pc:sldMkLst>
          <pc:docMk/>
          <pc:sldMk cId="1552375756" sldId="2147469272"/>
        </pc:sldMkLst>
      </pc:sldChg>
      <pc:sldChg chg="modSp mod modNotes">
        <pc:chgData name="CHATAGNER Stephanie (Externe)" userId="6bce638a-ff22-4fdc-bdcc-a3ede131b393" providerId="ADAL" clId="{F6AC7553-E361-46B6-A6DA-D7B841776B10}" dt="2023-12-22T18:14:35.116" v="1822" actId="790"/>
        <pc:sldMkLst>
          <pc:docMk/>
          <pc:sldMk cId="483041667" sldId="2147469276"/>
        </pc:sldMkLst>
      </pc:sldChg>
      <pc:sldChg chg="modSp mod modNotes">
        <pc:chgData name="CHATAGNER Stephanie (Externe)" userId="6bce638a-ff22-4fdc-bdcc-a3ede131b393" providerId="ADAL" clId="{F6AC7553-E361-46B6-A6DA-D7B841776B10}" dt="2023-12-22T18:14:35.590" v="2008" actId="790"/>
        <pc:sldMkLst>
          <pc:docMk/>
          <pc:sldMk cId="474180429" sldId="2147469278"/>
        </pc:sldMkLst>
      </pc:sldChg>
      <pc:sldChg chg="modSp mod modNotes">
        <pc:chgData name="CHATAGNER Stephanie (Externe)" userId="6bce638a-ff22-4fdc-bdcc-a3ede131b393" providerId="ADAL" clId="{F6AC7553-E361-46B6-A6DA-D7B841776B10}" dt="2023-12-22T18:14:35.416" v="1935" actId="790"/>
        <pc:sldMkLst>
          <pc:docMk/>
          <pc:sldMk cId="2139053399" sldId="2147469279"/>
        </pc:sldMkLst>
      </pc:sldChg>
      <pc:sldChg chg="modSp mod modNotes">
        <pc:chgData name="CHATAGNER Stephanie (Externe)" userId="6bce638a-ff22-4fdc-bdcc-a3ede131b393" providerId="ADAL" clId="{F6AC7553-E361-46B6-A6DA-D7B841776B10}" dt="2023-12-22T18:14:33.849" v="1205" actId="790"/>
        <pc:sldMkLst>
          <pc:docMk/>
          <pc:sldMk cId="2459436980" sldId="2147469280"/>
        </pc:sldMkLst>
      </pc:sldChg>
      <pc:sldChg chg="modSp mod modNotes">
        <pc:chgData name="CHATAGNER Stephanie (Externe)" userId="6bce638a-ff22-4fdc-bdcc-a3ede131b393" providerId="ADAL" clId="{F6AC7553-E361-46B6-A6DA-D7B841776B10}" dt="2023-12-22T18:14:32.228" v="360" actId="790"/>
        <pc:sldMkLst>
          <pc:docMk/>
          <pc:sldMk cId="2217602409" sldId="2147469281"/>
        </pc:sldMkLst>
      </pc:sldChg>
      <pc:sldChg chg="modSp mod modNotes">
        <pc:chgData name="CHATAGNER Stephanie (Externe)" userId="6bce638a-ff22-4fdc-bdcc-a3ede131b393" providerId="ADAL" clId="{F6AC7553-E361-46B6-A6DA-D7B841776B10}" dt="2023-12-22T18:14:33.976" v="1253" actId="790"/>
        <pc:sldMkLst>
          <pc:docMk/>
          <pc:sldMk cId="2894980669" sldId="2147469282"/>
        </pc:sldMkLst>
      </pc:sldChg>
      <pc:sldChg chg="modSp mod modNotes">
        <pc:chgData name="CHATAGNER Stephanie (Externe)" userId="6bce638a-ff22-4fdc-bdcc-a3ede131b393" providerId="ADAL" clId="{F6AC7553-E361-46B6-A6DA-D7B841776B10}" dt="2023-12-22T18:14:35.241" v="1871" actId="790"/>
        <pc:sldMkLst>
          <pc:docMk/>
          <pc:sldMk cId="649732189" sldId="2147469286"/>
        </pc:sldMkLst>
      </pc:sldChg>
      <pc:sldChg chg="modSp mod modNotes">
        <pc:chgData name="CHATAGNER Stephanie (Externe)" userId="6bce638a-ff22-4fdc-bdcc-a3ede131b393" providerId="ADAL" clId="{F6AC7553-E361-46B6-A6DA-D7B841776B10}" dt="2023-12-22T18:14:32.321" v="390" actId="790"/>
        <pc:sldMkLst>
          <pc:docMk/>
          <pc:sldMk cId="3897447519" sldId="2147469287"/>
        </pc:sldMkLst>
      </pc:sldChg>
      <pc:sldChg chg="modSp mod modNotes">
        <pc:chgData name="CHATAGNER Stephanie (Externe)" userId="6bce638a-ff22-4fdc-bdcc-a3ede131b393" providerId="ADAL" clId="{F6AC7553-E361-46B6-A6DA-D7B841776B10}" dt="2023-12-22T18:14:32.501" v="448" actId="790"/>
        <pc:sldMkLst>
          <pc:docMk/>
          <pc:sldMk cId="505188205" sldId="2147469288"/>
        </pc:sldMkLst>
      </pc:sldChg>
      <pc:sldChg chg="modSp mod modNotes">
        <pc:chgData name="CHATAGNER Stephanie (Externe)" userId="6bce638a-ff22-4fdc-bdcc-a3ede131b393" providerId="ADAL" clId="{F6AC7553-E361-46B6-A6DA-D7B841776B10}" dt="2023-12-22T18:14:32.545" v="468" actId="790"/>
        <pc:sldMkLst>
          <pc:docMk/>
          <pc:sldMk cId="1893851666" sldId="2147469289"/>
        </pc:sldMkLst>
      </pc:sldChg>
      <pc:sldChg chg="modSp mod modNotes">
        <pc:chgData name="CHATAGNER Stephanie (Externe)" userId="6bce638a-ff22-4fdc-bdcc-a3ede131b393" providerId="ADAL" clId="{F6AC7553-E361-46B6-A6DA-D7B841776B10}" dt="2023-12-22T18:14:32.623" v="494" actId="790"/>
        <pc:sldMkLst>
          <pc:docMk/>
          <pc:sldMk cId="4090274451" sldId="2147469290"/>
        </pc:sldMkLst>
      </pc:sldChg>
      <pc:sldChg chg="modSp mod modNotes">
        <pc:chgData name="CHATAGNER Stephanie (Externe)" userId="6bce638a-ff22-4fdc-bdcc-a3ede131b393" providerId="ADAL" clId="{F6AC7553-E361-46B6-A6DA-D7B841776B10}" dt="2023-12-22T18:14:32.468" v="437" actId="790"/>
        <pc:sldMkLst>
          <pc:docMk/>
          <pc:sldMk cId="913351391" sldId="2147469291"/>
        </pc:sldMkLst>
      </pc:sldChg>
      <pc:sldChg chg="modSp mod modNotes">
        <pc:chgData name="CHATAGNER Stephanie (Externe)" userId="6bce638a-ff22-4fdc-bdcc-a3ede131b393" providerId="ADAL" clId="{F6AC7553-E361-46B6-A6DA-D7B841776B10}" dt="2023-12-22T18:14:33.959" v="1248" actId="790"/>
        <pc:sldMkLst>
          <pc:docMk/>
          <pc:sldMk cId="2267118433" sldId="2147469292"/>
        </pc:sldMkLst>
      </pc:sldChg>
      <pc:sldChg chg="modSp add del mod">
        <pc:chgData name="CHATAGNER Stephanie (Externe)" userId="6bce638a-ff22-4fdc-bdcc-a3ede131b393" providerId="ADAL" clId="{F6AC7553-E361-46B6-A6DA-D7B841776B10}" dt="2023-12-22T19:04:22.123" v="2123" actId="2696"/>
        <pc:sldMkLst>
          <pc:docMk/>
          <pc:sldMk cId="2167895240" sldId="2147469297"/>
        </pc:sldMkLst>
      </pc:sldChg>
      <pc:sldChg chg="modSp add del mod modNotes">
        <pc:chgData name="CHATAGNER Stephanie (Externe)" userId="6bce638a-ff22-4fdc-bdcc-a3ede131b393" providerId="ADAL" clId="{F6AC7553-E361-46B6-A6DA-D7B841776B10}" dt="2023-12-22T18:14:33.469" v="961" actId="790"/>
        <pc:sldMkLst>
          <pc:docMk/>
          <pc:sldMk cId="39565805" sldId="2147481955"/>
        </pc:sldMkLst>
      </pc:sldChg>
      <pc:sldChg chg="modSp add del mod modNotes">
        <pc:chgData name="CHATAGNER Stephanie (Externe)" userId="6bce638a-ff22-4fdc-bdcc-a3ede131b393" providerId="ADAL" clId="{F6AC7553-E361-46B6-A6DA-D7B841776B10}" dt="2023-12-22T18:14:33.627" v="1077" actId="790"/>
        <pc:sldMkLst>
          <pc:docMk/>
          <pc:sldMk cId="3438293396" sldId="2147481973"/>
        </pc:sldMkLst>
      </pc:sldChg>
      <pc:sldChg chg="modSp mod modNotes">
        <pc:chgData name="CHATAGNER Stephanie (Externe)" userId="6bce638a-ff22-4fdc-bdcc-a3ede131b393" providerId="ADAL" clId="{F6AC7553-E361-46B6-A6DA-D7B841776B10}" dt="2023-12-22T18:14:32.671" v="527" actId="790"/>
        <pc:sldMkLst>
          <pc:docMk/>
          <pc:sldMk cId="618962803" sldId="2147481976"/>
        </pc:sldMkLst>
      </pc:sldChg>
      <pc:sldChg chg="modSp add del mod modNotes">
        <pc:chgData name="CHATAGNER Stephanie (Externe)" userId="6bce638a-ff22-4fdc-bdcc-a3ede131b393" providerId="ADAL" clId="{F6AC7553-E361-46B6-A6DA-D7B841776B10}" dt="2023-12-22T18:14:33.707" v="1147" actId="790"/>
        <pc:sldMkLst>
          <pc:docMk/>
          <pc:sldMk cId="3580833316" sldId="2147481978"/>
        </pc:sldMkLst>
      </pc:sldChg>
      <pc:sldChg chg="modSp mod modNotes">
        <pc:chgData name="CHATAGNER Stephanie (Externe)" userId="6bce638a-ff22-4fdc-bdcc-a3ede131b393" providerId="ADAL" clId="{F6AC7553-E361-46B6-A6DA-D7B841776B10}" dt="2023-12-22T18:14:32.885" v="646" actId="790"/>
        <pc:sldMkLst>
          <pc:docMk/>
          <pc:sldMk cId="2738404544" sldId="2147481979"/>
        </pc:sldMkLst>
      </pc:sldChg>
      <pc:sldChg chg="modSp mod modNotes">
        <pc:chgData name="CHATAGNER Stephanie (Externe)" userId="6bce638a-ff22-4fdc-bdcc-a3ede131b393" providerId="ADAL" clId="{F6AC7553-E361-46B6-A6DA-D7B841776B10}" dt="2023-12-22T18:14:33.045" v="729" actId="790"/>
        <pc:sldMkLst>
          <pc:docMk/>
          <pc:sldMk cId="2251311509" sldId="2147481981"/>
        </pc:sldMkLst>
      </pc:sldChg>
      <pc:sldChg chg="modSp mod modNotes">
        <pc:chgData name="CHATAGNER Stephanie (Externe)" userId="6bce638a-ff22-4fdc-bdcc-a3ede131b393" providerId="ADAL" clId="{F6AC7553-E361-46B6-A6DA-D7B841776B10}" dt="2023-12-22T18:14:33.169" v="788" actId="790"/>
        <pc:sldMkLst>
          <pc:docMk/>
          <pc:sldMk cId="4196752458" sldId="2147481983"/>
        </pc:sldMkLst>
      </pc:sldChg>
      <pc:sldChg chg="modSp add del mod modNotes">
        <pc:chgData name="CHATAGNER Stephanie (Externe)" userId="6bce638a-ff22-4fdc-bdcc-a3ede131b393" providerId="ADAL" clId="{F6AC7553-E361-46B6-A6DA-D7B841776B10}" dt="2023-12-22T18:14:33.752" v="1171" actId="790"/>
        <pc:sldMkLst>
          <pc:docMk/>
          <pc:sldMk cId="2629315225" sldId="2147481989"/>
        </pc:sldMkLst>
      </pc:sldChg>
      <pc:sldChg chg="modSp mod modNotes">
        <pc:chgData name="CHATAGNER Stephanie (Externe)" userId="6bce638a-ff22-4fdc-bdcc-a3ede131b393" providerId="ADAL" clId="{F6AC7553-E361-46B6-A6DA-D7B841776B10}" dt="2023-12-22T18:14:32.795" v="589" actId="790"/>
        <pc:sldMkLst>
          <pc:docMk/>
          <pc:sldMk cId="1611954198" sldId="2147481990"/>
        </pc:sldMkLst>
      </pc:sldChg>
      <pc:sldChg chg="modSp mod modNotes">
        <pc:chgData name="CHATAGNER Stephanie (Externe)" userId="6bce638a-ff22-4fdc-bdcc-a3ede131b393" providerId="ADAL" clId="{F6AC7553-E361-46B6-A6DA-D7B841776B10}" dt="2023-12-22T18:14:33.259" v="838" actId="790"/>
        <pc:sldMkLst>
          <pc:docMk/>
          <pc:sldMk cId="3872359938" sldId="2147481991"/>
        </pc:sldMkLst>
      </pc:sldChg>
      <pc:sldChg chg="modSp mod modNotes">
        <pc:chgData name="CHATAGNER Stephanie (Externe)" userId="6bce638a-ff22-4fdc-bdcc-a3ede131b393" providerId="ADAL" clId="{F6AC7553-E361-46B6-A6DA-D7B841776B10}" dt="2023-12-22T18:14:32.945" v="671" actId="790"/>
        <pc:sldMkLst>
          <pc:docMk/>
          <pc:sldMk cId="1956832423" sldId="2147481992"/>
        </pc:sldMkLst>
      </pc:sldChg>
      <pc:sldChg chg="modSp add del mod modNotes">
        <pc:chgData name="CHATAGNER Stephanie (Externe)" userId="6bce638a-ff22-4fdc-bdcc-a3ede131b393" providerId="ADAL" clId="{F6AC7553-E361-46B6-A6DA-D7B841776B10}" dt="2023-12-22T18:14:33.514" v="985" actId="790"/>
        <pc:sldMkLst>
          <pc:docMk/>
          <pc:sldMk cId="1441249587" sldId="2147481993"/>
        </pc:sldMkLst>
      </pc:sldChg>
      <pc:sldChg chg="modSp add del mod modNotes">
        <pc:chgData name="CHATAGNER Stephanie (Externe)" userId="6bce638a-ff22-4fdc-bdcc-a3ede131b393" providerId="ADAL" clId="{F6AC7553-E361-46B6-A6DA-D7B841776B10}" dt="2023-12-22T18:14:33.784" v="1191" actId="790"/>
        <pc:sldMkLst>
          <pc:docMk/>
          <pc:sldMk cId="1519864655" sldId="2147481994"/>
        </pc:sldMkLst>
      </pc:sldChg>
      <pc:sldChg chg="addSp delSp modSp new mod modNotes">
        <pc:chgData name="CHATAGNER Stephanie (Externe)" userId="6bce638a-ff22-4fdc-bdcc-a3ede131b393" providerId="ADAL" clId="{F6AC7553-E361-46B6-A6DA-D7B841776B10}" dt="2023-12-22T18:18:59.816" v="2097" actId="167"/>
        <pc:sldMkLst>
          <pc:docMk/>
          <pc:sldMk cId="918475442" sldId="2147481995"/>
        </pc:sldMkLst>
      </pc:sldChg>
      <pc:sldMasterChg chg="delSldLayout">
        <pc:chgData name="CHATAGNER Stephanie (Externe)" userId="6bce638a-ff22-4fdc-bdcc-a3ede131b393" providerId="ADAL" clId="{F6AC7553-E361-46B6-A6DA-D7B841776B10}" dt="2023-12-22T19:04:22.123" v="2123" actId="2696"/>
        <pc:sldMasterMkLst>
          <pc:docMk/>
          <pc:sldMasterMk cId="1083630571" sldId="2147483801"/>
        </pc:sldMasterMkLst>
        <pc:sldLayoutChg chg="del">
          <pc:chgData name="CHATAGNER Stephanie (Externe)" userId="6bce638a-ff22-4fdc-bdcc-a3ede131b393" providerId="ADAL" clId="{F6AC7553-E361-46B6-A6DA-D7B841776B10}" dt="2023-12-22T19:04:22.123" v="2123" actId="2696"/>
          <pc:sldLayoutMkLst>
            <pc:docMk/>
            <pc:sldMasterMk cId="1083630571" sldId="2147483801"/>
            <pc:sldLayoutMk cId="2484103259" sldId="2147483776"/>
          </pc:sldLayoutMkLst>
        </pc:sldLayoutChg>
      </pc:sldMasterChg>
    </pc:docChg>
  </pc:docChgLst>
  <pc:docChgLst>
    <pc:chgData name="VANEENOGE Camille" userId="6e7f4196-225c-4d88-a65f-4b95462c5fbf" providerId="ADAL" clId="{BD842958-C058-4E4D-9EFF-BED2C627D91A}"/>
    <pc:docChg chg="undo redo custSel addSld delSld modSld sldOrd modSection">
      <pc:chgData name="VANEENOGE Camille" userId="6e7f4196-225c-4d88-a65f-4b95462c5fbf" providerId="ADAL" clId="{BD842958-C058-4E4D-9EFF-BED2C627D91A}" dt="2025-01-20T10:35:42.131" v="1642" actId="13926"/>
      <pc:docMkLst>
        <pc:docMk/>
      </pc:docMkLst>
      <pc:sldChg chg="addSp modSp add mod">
        <pc:chgData name="VANEENOGE Camille" userId="6e7f4196-225c-4d88-a65f-4b95462c5fbf" providerId="ADAL" clId="{BD842958-C058-4E4D-9EFF-BED2C627D91A}" dt="2025-01-20T10:35:42.131" v="1642" actId="13926"/>
        <pc:sldMkLst>
          <pc:docMk/>
          <pc:sldMk cId="309551484" sldId="265"/>
        </pc:sldMkLst>
        <pc:spChg chg="mod">
          <ac:chgData name="VANEENOGE Camille" userId="6e7f4196-225c-4d88-a65f-4b95462c5fbf" providerId="ADAL" clId="{BD842958-C058-4E4D-9EFF-BED2C627D91A}" dt="2025-01-19T18:52:31.809" v="1540" actId="13926"/>
          <ac:spMkLst>
            <pc:docMk/>
            <pc:sldMk cId="309551484" sldId="265"/>
            <ac:spMk id="2" creationId="{38AAAC18-4374-E4E0-A706-270B5A442DEE}"/>
          </ac:spMkLst>
        </pc:spChg>
        <pc:spChg chg="mod">
          <ac:chgData name="VANEENOGE Camille" userId="6e7f4196-225c-4d88-a65f-4b95462c5fbf" providerId="ADAL" clId="{BD842958-C058-4E4D-9EFF-BED2C627D91A}" dt="2025-01-20T10:31:06.811" v="1613" actId="1076"/>
          <ac:spMkLst>
            <pc:docMk/>
            <pc:sldMk cId="309551484" sldId="265"/>
            <ac:spMk id="8" creationId="{DD9A666F-D610-2FCC-59F7-60D6C60DD018}"/>
          </ac:spMkLst>
        </pc:spChg>
        <pc:spChg chg="mod">
          <ac:chgData name="VANEENOGE Camille" userId="6e7f4196-225c-4d88-a65f-4b95462c5fbf" providerId="ADAL" clId="{BD842958-C058-4E4D-9EFF-BED2C627D91A}" dt="2025-01-20T10:35:42.131" v="1642" actId="13926"/>
          <ac:spMkLst>
            <pc:docMk/>
            <pc:sldMk cId="309551484" sldId="265"/>
            <ac:spMk id="9" creationId="{DBA09291-E807-35EF-FDB7-EDE87583981B}"/>
          </ac:spMkLst>
        </pc:spChg>
        <pc:spChg chg="mod">
          <ac:chgData name="VANEENOGE Camille" userId="6e7f4196-225c-4d88-a65f-4b95462c5fbf" providerId="ADAL" clId="{BD842958-C058-4E4D-9EFF-BED2C627D91A}" dt="2025-01-20T10:30:19.590" v="1602" actId="1076"/>
          <ac:spMkLst>
            <pc:docMk/>
            <pc:sldMk cId="309551484" sldId="265"/>
            <ac:spMk id="11" creationId="{424A60F1-4455-AA09-3C81-268BF542D352}"/>
          </ac:spMkLst>
        </pc:spChg>
        <pc:spChg chg="mod">
          <ac:chgData name="VANEENOGE Camille" userId="6e7f4196-225c-4d88-a65f-4b95462c5fbf" providerId="ADAL" clId="{BD842958-C058-4E4D-9EFF-BED2C627D91A}" dt="2025-01-20T10:30:52.562" v="1611" actId="20577"/>
          <ac:spMkLst>
            <pc:docMk/>
            <pc:sldMk cId="309551484" sldId="265"/>
            <ac:spMk id="17" creationId="{058711EA-9622-2216-0180-BA8AF133E32F}"/>
          </ac:spMkLst>
        </pc:spChg>
        <pc:spChg chg="mod">
          <ac:chgData name="VANEENOGE Camille" userId="6e7f4196-225c-4d88-a65f-4b95462c5fbf" providerId="ADAL" clId="{BD842958-C058-4E4D-9EFF-BED2C627D91A}" dt="2025-01-20T10:31:24.031" v="1617" actId="13926"/>
          <ac:spMkLst>
            <pc:docMk/>
            <pc:sldMk cId="309551484" sldId="265"/>
            <ac:spMk id="68" creationId="{CF17CA0D-28DC-BFAA-975F-AA86B33358FA}"/>
          </ac:spMkLst>
        </pc:spChg>
        <pc:spChg chg="mod">
          <ac:chgData name="VANEENOGE Camille" userId="6e7f4196-225c-4d88-a65f-4b95462c5fbf" providerId="ADAL" clId="{BD842958-C058-4E4D-9EFF-BED2C627D91A}" dt="2025-01-20T10:31:20.895" v="1616" actId="13926"/>
          <ac:spMkLst>
            <pc:docMk/>
            <pc:sldMk cId="309551484" sldId="265"/>
            <ac:spMk id="72" creationId="{BF12CC8C-BCD7-893B-8B34-240EF461AD08}"/>
          </ac:spMkLst>
        </pc:spChg>
      </pc:sldChg>
      <pc:sldChg chg="addSp modSp mod">
        <pc:chgData name="VANEENOGE Camille" userId="6e7f4196-225c-4d88-a65f-4b95462c5fbf" providerId="ADAL" clId="{BD842958-C058-4E4D-9EFF-BED2C627D91A}" dt="2025-01-19T18:28:24.171" v="1273" actId="13926"/>
        <pc:sldMkLst>
          <pc:docMk/>
          <pc:sldMk cId="3510959577" sldId="10474"/>
        </pc:sldMkLst>
        <pc:spChg chg="add mod">
          <ac:chgData name="VANEENOGE Camille" userId="6e7f4196-225c-4d88-a65f-4b95462c5fbf" providerId="ADAL" clId="{BD842958-C058-4E4D-9EFF-BED2C627D91A}" dt="2025-01-19T18:28:24.171" v="1273" actId="13926"/>
          <ac:spMkLst>
            <pc:docMk/>
            <pc:sldMk cId="3510959577" sldId="10474"/>
            <ac:spMk id="15" creationId="{25BAB69D-890B-682C-70C1-9447037FF8AA}"/>
          </ac:spMkLst>
        </pc:spChg>
      </pc:sldChg>
      <pc:sldChg chg="modSp mod">
        <pc:chgData name="VANEENOGE Camille" userId="6e7f4196-225c-4d88-a65f-4b95462c5fbf" providerId="ADAL" clId="{BD842958-C058-4E4D-9EFF-BED2C627D91A}" dt="2025-01-19T18:27:09.228" v="1259" actId="13926"/>
        <pc:sldMkLst>
          <pc:docMk/>
          <pc:sldMk cId="2631057792" sldId="2076137815"/>
        </pc:sldMkLst>
        <pc:spChg chg="mod">
          <ac:chgData name="VANEENOGE Camille" userId="6e7f4196-225c-4d88-a65f-4b95462c5fbf" providerId="ADAL" clId="{BD842958-C058-4E4D-9EFF-BED2C627D91A}" dt="2025-01-19T18:27:01.033" v="1258" actId="13926"/>
          <ac:spMkLst>
            <pc:docMk/>
            <pc:sldMk cId="2631057792" sldId="2076137815"/>
            <ac:spMk id="3" creationId="{5CC5C6C6-12C3-7672-1A91-6ABD3D85E0FF}"/>
          </ac:spMkLst>
        </pc:spChg>
        <pc:graphicFrameChg chg="mod modGraphic">
          <ac:chgData name="VANEENOGE Camille" userId="6e7f4196-225c-4d88-a65f-4b95462c5fbf" providerId="ADAL" clId="{BD842958-C058-4E4D-9EFF-BED2C627D91A}" dt="2025-01-19T18:27:09.228" v="1259" actId="13926"/>
          <ac:graphicFrameMkLst>
            <pc:docMk/>
            <pc:sldMk cId="2631057792" sldId="2076137815"/>
            <ac:graphicFrameMk id="4" creationId="{9C0314AD-E1AA-43B1-9739-FE27BCF87E7F}"/>
          </ac:graphicFrameMkLst>
        </pc:graphicFrameChg>
      </pc:sldChg>
      <pc:sldChg chg="addSp modSp add mod">
        <pc:chgData name="VANEENOGE Camille" userId="6e7f4196-225c-4d88-a65f-4b95462c5fbf" providerId="ADAL" clId="{BD842958-C058-4E4D-9EFF-BED2C627D91A}" dt="2025-01-19T18:28:04.113" v="1268" actId="13926"/>
        <pc:sldMkLst>
          <pc:docMk/>
          <pc:sldMk cId="2453841614" sldId="2147137599"/>
        </pc:sldMkLst>
        <pc:spChg chg="mod">
          <ac:chgData name="VANEENOGE Camille" userId="6e7f4196-225c-4d88-a65f-4b95462c5fbf" providerId="ADAL" clId="{BD842958-C058-4E4D-9EFF-BED2C627D91A}" dt="2025-01-19T18:28:04.113" v="1268" actId="13926"/>
          <ac:spMkLst>
            <pc:docMk/>
            <pc:sldMk cId="2453841614" sldId="2147137599"/>
            <ac:spMk id="2" creationId="{9576E01A-75AF-AECE-FE11-51D9066F11B6}"/>
          </ac:spMkLst>
        </pc:spChg>
      </pc:sldChg>
      <pc:sldChg chg="addSp delSp mod">
        <pc:chgData name="VANEENOGE Camille" userId="6e7f4196-225c-4d88-a65f-4b95462c5fbf" providerId="ADAL" clId="{BD842958-C058-4E4D-9EFF-BED2C627D91A}" dt="2025-01-06T08:15:57.870" v="948" actId="22"/>
        <pc:sldMkLst>
          <pc:docMk/>
          <pc:sldMk cId="604372831" sldId="2147469057"/>
        </pc:sldMkLst>
      </pc:sldChg>
      <pc:sldChg chg="modSp mod">
        <pc:chgData name="VANEENOGE Camille" userId="6e7f4196-225c-4d88-a65f-4b95462c5fbf" providerId="ADAL" clId="{BD842958-C058-4E4D-9EFF-BED2C627D91A}" dt="2025-01-19T18:28:49.037" v="1278" actId="13926"/>
        <pc:sldMkLst>
          <pc:docMk/>
          <pc:sldMk cId="1717254701" sldId="2147469247"/>
        </pc:sldMkLst>
        <pc:spChg chg="mod">
          <ac:chgData name="VANEENOGE Camille" userId="6e7f4196-225c-4d88-a65f-4b95462c5fbf" providerId="ADAL" clId="{BD842958-C058-4E4D-9EFF-BED2C627D91A}" dt="2025-01-19T18:28:49.037" v="1278" actId="13926"/>
          <ac:spMkLst>
            <pc:docMk/>
            <pc:sldMk cId="1717254701" sldId="2147469247"/>
            <ac:spMk id="19" creationId="{CA7DF692-ECF2-A065-8F34-6AD61C4E5B7D}"/>
          </ac:spMkLst>
        </pc:spChg>
        <pc:spChg chg="mod">
          <ac:chgData name="VANEENOGE Camille" userId="6e7f4196-225c-4d88-a65f-4b95462c5fbf" providerId="ADAL" clId="{BD842958-C058-4E4D-9EFF-BED2C627D91A}" dt="2025-01-19T18:28:49.037" v="1278" actId="13926"/>
          <ac:spMkLst>
            <pc:docMk/>
            <pc:sldMk cId="1717254701" sldId="2147469247"/>
            <ac:spMk id="20" creationId="{8BADDE5B-D991-24BC-0E39-64441A83F62C}"/>
          </ac:spMkLst>
        </pc:spChg>
        <pc:spChg chg="mod">
          <ac:chgData name="VANEENOGE Camille" userId="6e7f4196-225c-4d88-a65f-4b95462c5fbf" providerId="ADAL" clId="{BD842958-C058-4E4D-9EFF-BED2C627D91A}" dt="2025-01-19T18:28:49.037" v="1278" actId="13926"/>
          <ac:spMkLst>
            <pc:docMk/>
            <pc:sldMk cId="1717254701" sldId="2147469247"/>
            <ac:spMk id="23" creationId="{6CE769CF-D433-C83B-3D34-04D4DF231390}"/>
          </ac:spMkLst>
        </pc:spChg>
        <pc:spChg chg="mod">
          <ac:chgData name="VANEENOGE Camille" userId="6e7f4196-225c-4d88-a65f-4b95462c5fbf" providerId="ADAL" clId="{BD842958-C058-4E4D-9EFF-BED2C627D91A}" dt="2025-01-19T18:28:49.037" v="1278" actId="13926"/>
          <ac:spMkLst>
            <pc:docMk/>
            <pc:sldMk cId="1717254701" sldId="2147469247"/>
            <ac:spMk id="41" creationId="{372DF9F8-AF76-83A6-3EB4-8027934B0DE2}"/>
          </ac:spMkLst>
        </pc:spChg>
        <pc:spChg chg="mod">
          <ac:chgData name="VANEENOGE Camille" userId="6e7f4196-225c-4d88-a65f-4b95462c5fbf" providerId="ADAL" clId="{BD842958-C058-4E4D-9EFF-BED2C627D91A}" dt="2025-01-19T18:28:49.037" v="1278" actId="13926"/>
          <ac:spMkLst>
            <pc:docMk/>
            <pc:sldMk cId="1717254701" sldId="2147469247"/>
            <ac:spMk id="42" creationId="{F1488BE2-212C-2688-FD2B-B793DECAEF5B}"/>
          </ac:spMkLst>
        </pc:spChg>
      </pc:sldChg>
      <pc:sldChg chg="delSp modSp mod">
        <pc:chgData name="VANEENOGE Camille" userId="6e7f4196-225c-4d88-a65f-4b95462c5fbf" providerId="ADAL" clId="{BD842958-C058-4E4D-9EFF-BED2C627D91A}" dt="2024-12-20T17:32:37.340" v="120" actId="478"/>
        <pc:sldMkLst>
          <pc:docMk/>
          <pc:sldMk cId="2217602409" sldId="2147469281"/>
        </pc:sldMkLst>
        <pc:spChg chg="mod">
          <ac:chgData name="VANEENOGE Camille" userId="6e7f4196-225c-4d88-a65f-4b95462c5fbf" providerId="ADAL" clId="{BD842958-C058-4E4D-9EFF-BED2C627D91A}" dt="2024-12-20T17:30:06.974" v="13" actId="20577"/>
          <ac:spMkLst>
            <pc:docMk/>
            <pc:sldMk cId="2217602409" sldId="2147469281"/>
            <ac:spMk id="3" creationId="{B3543586-D0CC-83BF-4600-FBC923FA3C57}"/>
          </ac:spMkLst>
        </pc:spChg>
      </pc:sldChg>
      <pc:sldChg chg="addSp delSp modSp add mod ord">
        <pc:chgData name="VANEENOGE Camille" userId="6e7f4196-225c-4d88-a65f-4b95462c5fbf" providerId="ADAL" clId="{BD842958-C058-4E4D-9EFF-BED2C627D91A}" dt="2025-01-20T10:35:05.687" v="1641" actId="164"/>
        <pc:sldMkLst>
          <pc:docMk/>
          <pc:sldMk cId="2294161181" sldId="2147480052"/>
        </pc:sldMkLst>
        <pc:spChg chg="add mod ord">
          <ac:chgData name="VANEENOGE Camille" userId="6e7f4196-225c-4d88-a65f-4b95462c5fbf" providerId="ADAL" clId="{BD842958-C058-4E4D-9EFF-BED2C627D91A}" dt="2025-01-20T10:35:00.398" v="1640" actId="164"/>
          <ac:spMkLst>
            <pc:docMk/>
            <pc:sldMk cId="2294161181" sldId="2147480052"/>
            <ac:spMk id="2" creationId="{9D59D643-9EB6-CA04-DC03-51AA7A857052}"/>
          </ac:spMkLst>
        </pc:spChg>
        <pc:spChg chg="add mod">
          <ac:chgData name="VANEENOGE Camille" userId="6e7f4196-225c-4d88-a65f-4b95462c5fbf" providerId="ADAL" clId="{BD842958-C058-4E4D-9EFF-BED2C627D91A}" dt="2025-01-06T08:23:51.474" v="960"/>
          <ac:spMkLst>
            <pc:docMk/>
            <pc:sldMk cId="2294161181" sldId="2147480052"/>
            <ac:spMk id="5" creationId="{9B8EA992-0210-5CE2-E9A4-22DAAD10CE34}"/>
          </ac:spMkLst>
        </pc:spChg>
        <pc:spChg chg="add mod">
          <ac:chgData name="VANEENOGE Camille" userId="6e7f4196-225c-4d88-a65f-4b95462c5fbf" providerId="ADAL" clId="{BD842958-C058-4E4D-9EFF-BED2C627D91A}" dt="2025-01-06T08:23:51.474" v="960"/>
          <ac:spMkLst>
            <pc:docMk/>
            <pc:sldMk cId="2294161181" sldId="2147480052"/>
            <ac:spMk id="7" creationId="{981282C8-78B6-9EDB-D212-BF1A37D0092A}"/>
          </ac:spMkLst>
        </pc:spChg>
        <pc:spChg chg="add mod">
          <ac:chgData name="VANEENOGE Camille" userId="6e7f4196-225c-4d88-a65f-4b95462c5fbf" providerId="ADAL" clId="{BD842958-C058-4E4D-9EFF-BED2C627D91A}" dt="2025-01-06T08:23:51.474" v="960"/>
          <ac:spMkLst>
            <pc:docMk/>
            <pc:sldMk cId="2294161181" sldId="2147480052"/>
            <ac:spMk id="8" creationId="{5150C509-0EDF-3BEE-277D-26C3DD542597}"/>
          </ac:spMkLst>
        </pc:spChg>
        <pc:spChg chg="add mod">
          <ac:chgData name="VANEENOGE Camille" userId="6e7f4196-225c-4d88-a65f-4b95462c5fbf" providerId="ADAL" clId="{BD842958-C058-4E4D-9EFF-BED2C627D91A}" dt="2025-01-06T08:23:51.474" v="960"/>
          <ac:spMkLst>
            <pc:docMk/>
            <pc:sldMk cId="2294161181" sldId="2147480052"/>
            <ac:spMk id="12" creationId="{846A841A-30CA-14F8-F222-40641C903F11}"/>
          </ac:spMkLst>
        </pc:spChg>
        <pc:spChg chg="add mod">
          <ac:chgData name="VANEENOGE Camille" userId="6e7f4196-225c-4d88-a65f-4b95462c5fbf" providerId="ADAL" clId="{BD842958-C058-4E4D-9EFF-BED2C627D91A}" dt="2025-01-06T08:23:51.474" v="960"/>
          <ac:spMkLst>
            <pc:docMk/>
            <pc:sldMk cId="2294161181" sldId="2147480052"/>
            <ac:spMk id="25" creationId="{26CA32B8-3B85-E1DA-3E48-DBCC7AC9FB8C}"/>
          </ac:spMkLst>
        </pc:spChg>
        <pc:spChg chg="add mod">
          <ac:chgData name="VANEENOGE Camille" userId="6e7f4196-225c-4d88-a65f-4b95462c5fbf" providerId="ADAL" clId="{BD842958-C058-4E4D-9EFF-BED2C627D91A}" dt="2025-01-06T08:23:51.474" v="960"/>
          <ac:spMkLst>
            <pc:docMk/>
            <pc:sldMk cId="2294161181" sldId="2147480052"/>
            <ac:spMk id="35" creationId="{4D38DEF0-6D9E-0ABA-590B-5F154B1C9279}"/>
          </ac:spMkLst>
        </pc:spChg>
        <pc:spChg chg="add mod">
          <ac:chgData name="VANEENOGE Camille" userId="6e7f4196-225c-4d88-a65f-4b95462c5fbf" providerId="ADAL" clId="{BD842958-C058-4E4D-9EFF-BED2C627D91A}" dt="2025-01-06T08:23:51.474" v="960"/>
          <ac:spMkLst>
            <pc:docMk/>
            <pc:sldMk cId="2294161181" sldId="2147480052"/>
            <ac:spMk id="48" creationId="{24774CBE-B58C-920D-73D6-E14903A9BACB}"/>
          </ac:spMkLst>
        </pc:spChg>
        <pc:spChg chg="add mod">
          <ac:chgData name="VANEENOGE Camille" userId="6e7f4196-225c-4d88-a65f-4b95462c5fbf" providerId="ADAL" clId="{BD842958-C058-4E4D-9EFF-BED2C627D91A}" dt="2025-01-06T08:23:51.474" v="960"/>
          <ac:spMkLst>
            <pc:docMk/>
            <pc:sldMk cId="2294161181" sldId="2147480052"/>
            <ac:spMk id="49" creationId="{C41682A3-1915-FA1A-103E-F76720E89A78}"/>
          </ac:spMkLst>
        </pc:spChg>
        <pc:spChg chg="add mod">
          <ac:chgData name="VANEENOGE Camille" userId="6e7f4196-225c-4d88-a65f-4b95462c5fbf" providerId="ADAL" clId="{BD842958-C058-4E4D-9EFF-BED2C627D91A}" dt="2025-01-06T08:23:51.474" v="960"/>
          <ac:spMkLst>
            <pc:docMk/>
            <pc:sldMk cId="2294161181" sldId="2147480052"/>
            <ac:spMk id="57" creationId="{FD5A4B5E-E5E1-9D57-38BC-9BA876A1156A}"/>
          </ac:spMkLst>
        </pc:spChg>
        <pc:spChg chg="mod">
          <ac:chgData name="VANEENOGE Camille" userId="6e7f4196-225c-4d88-a65f-4b95462c5fbf" providerId="ADAL" clId="{BD842958-C058-4E4D-9EFF-BED2C627D91A}" dt="2025-01-19T18:27:56.496" v="1266" actId="13926"/>
          <ac:spMkLst>
            <pc:docMk/>
            <pc:sldMk cId="2294161181" sldId="2147480052"/>
            <ac:spMk id="58" creationId="{C5E10682-C1AD-30B4-55E7-686916314904}"/>
          </ac:spMkLst>
        </pc:spChg>
        <pc:spChg chg="mod">
          <ac:chgData name="VANEENOGE Camille" userId="6e7f4196-225c-4d88-a65f-4b95462c5fbf" providerId="ADAL" clId="{BD842958-C058-4E4D-9EFF-BED2C627D91A}" dt="2025-01-06T08:23:51.474" v="960"/>
          <ac:spMkLst>
            <pc:docMk/>
            <pc:sldMk cId="2294161181" sldId="2147480052"/>
            <ac:spMk id="80" creationId="{ACB37E49-BF45-F062-EC67-1B9741B79431}"/>
          </ac:spMkLst>
        </pc:spChg>
        <pc:spChg chg="mod">
          <ac:chgData name="VANEENOGE Camille" userId="6e7f4196-225c-4d88-a65f-4b95462c5fbf" providerId="ADAL" clId="{BD842958-C058-4E4D-9EFF-BED2C627D91A}" dt="2025-01-06T08:23:51.474" v="960"/>
          <ac:spMkLst>
            <pc:docMk/>
            <pc:sldMk cId="2294161181" sldId="2147480052"/>
            <ac:spMk id="83" creationId="{2BA69E5F-7B16-FD9E-3C96-B79C1AF51D1C}"/>
          </ac:spMkLst>
        </pc:spChg>
        <pc:spChg chg="mod">
          <ac:chgData name="VANEENOGE Camille" userId="6e7f4196-225c-4d88-a65f-4b95462c5fbf" providerId="ADAL" clId="{BD842958-C058-4E4D-9EFF-BED2C627D91A}" dt="2025-01-06T08:23:51.474" v="960"/>
          <ac:spMkLst>
            <pc:docMk/>
            <pc:sldMk cId="2294161181" sldId="2147480052"/>
            <ac:spMk id="96" creationId="{E0962A19-DF6C-4E4F-EBE8-A791644FFDF9}"/>
          </ac:spMkLst>
        </pc:spChg>
        <pc:spChg chg="mod">
          <ac:chgData name="VANEENOGE Camille" userId="6e7f4196-225c-4d88-a65f-4b95462c5fbf" providerId="ADAL" clId="{BD842958-C058-4E4D-9EFF-BED2C627D91A}" dt="2025-01-06T08:23:51.474" v="960"/>
          <ac:spMkLst>
            <pc:docMk/>
            <pc:sldMk cId="2294161181" sldId="2147480052"/>
            <ac:spMk id="99" creationId="{F0FAAC04-EB2B-420B-3540-CF19EE277BDB}"/>
          </ac:spMkLst>
        </pc:spChg>
        <pc:spChg chg="mod">
          <ac:chgData name="VANEENOGE Camille" userId="6e7f4196-225c-4d88-a65f-4b95462c5fbf" providerId="ADAL" clId="{BD842958-C058-4E4D-9EFF-BED2C627D91A}" dt="2025-01-06T08:23:51.474" v="960"/>
          <ac:spMkLst>
            <pc:docMk/>
            <pc:sldMk cId="2294161181" sldId="2147480052"/>
            <ac:spMk id="106" creationId="{49AF032C-4FD9-9A8C-B133-189284263360}"/>
          </ac:spMkLst>
        </pc:spChg>
        <pc:spChg chg="mod">
          <ac:chgData name="VANEENOGE Camille" userId="6e7f4196-225c-4d88-a65f-4b95462c5fbf" providerId="ADAL" clId="{BD842958-C058-4E4D-9EFF-BED2C627D91A}" dt="2025-01-06T08:23:51.474" v="960"/>
          <ac:spMkLst>
            <pc:docMk/>
            <pc:sldMk cId="2294161181" sldId="2147480052"/>
            <ac:spMk id="114" creationId="{B8A204CC-6683-DC32-BEAB-1484979F5915}"/>
          </ac:spMkLst>
        </pc:spChg>
        <pc:spChg chg="mod topLvl">
          <ac:chgData name="VANEENOGE Camille" userId="6e7f4196-225c-4d88-a65f-4b95462c5fbf" providerId="ADAL" clId="{BD842958-C058-4E4D-9EFF-BED2C627D91A}" dt="2025-01-20T10:35:05.687" v="1641" actId="164"/>
          <ac:spMkLst>
            <pc:docMk/>
            <pc:sldMk cId="2294161181" sldId="2147480052"/>
            <ac:spMk id="117" creationId="{10548A29-068E-C818-5EDB-DE045F2B4F57}"/>
          </ac:spMkLst>
        </pc:spChg>
        <pc:spChg chg="mod topLvl">
          <ac:chgData name="VANEENOGE Camille" userId="6e7f4196-225c-4d88-a65f-4b95462c5fbf" providerId="ADAL" clId="{BD842958-C058-4E4D-9EFF-BED2C627D91A}" dt="2025-01-20T10:35:00.398" v="1640" actId="164"/>
          <ac:spMkLst>
            <pc:docMk/>
            <pc:sldMk cId="2294161181" sldId="2147480052"/>
            <ac:spMk id="119" creationId="{18C4C909-EEC1-25C4-7BC6-0A5A9E9CDCE8}"/>
          </ac:spMkLst>
        </pc:spChg>
        <pc:spChg chg="add mod">
          <ac:chgData name="VANEENOGE Camille" userId="6e7f4196-225c-4d88-a65f-4b95462c5fbf" providerId="ADAL" clId="{BD842958-C058-4E4D-9EFF-BED2C627D91A}" dt="2025-01-06T08:23:51.474" v="960"/>
          <ac:spMkLst>
            <pc:docMk/>
            <pc:sldMk cId="2294161181" sldId="2147480052"/>
            <ac:spMk id="122" creationId="{0D263DD6-030E-7F29-15FC-BC0C071C06C5}"/>
          </ac:spMkLst>
        </pc:spChg>
        <pc:spChg chg="mod">
          <ac:chgData name="VANEENOGE Camille" userId="6e7f4196-225c-4d88-a65f-4b95462c5fbf" providerId="ADAL" clId="{BD842958-C058-4E4D-9EFF-BED2C627D91A}" dt="2025-01-06T08:23:51.474" v="960"/>
          <ac:spMkLst>
            <pc:docMk/>
            <pc:sldMk cId="2294161181" sldId="2147480052"/>
            <ac:spMk id="131" creationId="{074554A9-B0FB-A3BA-EDD2-65E151D76453}"/>
          </ac:spMkLst>
        </pc:spChg>
        <pc:spChg chg="mod">
          <ac:chgData name="VANEENOGE Camille" userId="6e7f4196-225c-4d88-a65f-4b95462c5fbf" providerId="ADAL" clId="{BD842958-C058-4E4D-9EFF-BED2C627D91A}" dt="2025-01-06T08:23:51.474" v="960"/>
          <ac:spMkLst>
            <pc:docMk/>
            <pc:sldMk cId="2294161181" sldId="2147480052"/>
            <ac:spMk id="133" creationId="{1AC5946E-8118-AF2C-CF58-B3B96A759F4A}"/>
          </ac:spMkLst>
        </pc:spChg>
        <pc:spChg chg="mod">
          <ac:chgData name="VANEENOGE Camille" userId="6e7f4196-225c-4d88-a65f-4b95462c5fbf" providerId="ADAL" clId="{BD842958-C058-4E4D-9EFF-BED2C627D91A}" dt="2025-01-06T08:23:51.474" v="960"/>
          <ac:spMkLst>
            <pc:docMk/>
            <pc:sldMk cId="2294161181" sldId="2147480052"/>
            <ac:spMk id="139" creationId="{5A91D7CF-0899-6792-0C79-758A29A7F64C}"/>
          </ac:spMkLst>
        </pc:spChg>
        <pc:spChg chg="mod">
          <ac:chgData name="VANEENOGE Camille" userId="6e7f4196-225c-4d88-a65f-4b95462c5fbf" providerId="ADAL" clId="{BD842958-C058-4E4D-9EFF-BED2C627D91A}" dt="2025-01-06T08:23:51.474" v="960"/>
          <ac:spMkLst>
            <pc:docMk/>
            <pc:sldMk cId="2294161181" sldId="2147480052"/>
            <ac:spMk id="141" creationId="{6F3C402E-7B7C-A9F2-5E4D-7D406429BD85}"/>
          </ac:spMkLst>
        </pc:spChg>
        <pc:spChg chg="mod">
          <ac:chgData name="VANEENOGE Camille" userId="6e7f4196-225c-4d88-a65f-4b95462c5fbf" providerId="ADAL" clId="{BD842958-C058-4E4D-9EFF-BED2C627D91A}" dt="2025-01-06T08:23:51.474" v="960"/>
          <ac:spMkLst>
            <pc:docMk/>
            <pc:sldMk cId="2294161181" sldId="2147480052"/>
            <ac:spMk id="144" creationId="{801A95A1-1554-CAEA-258B-1804A3371D57}"/>
          </ac:spMkLst>
        </pc:spChg>
        <pc:spChg chg="mod">
          <ac:chgData name="VANEENOGE Camille" userId="6e7f4196-225c-4d88-a65f-4b95462c5fbf" providerId="ADAL" clId="{BD842958-C058-4E4D-9EFF-BED2C627D91A}" dt="2025-01-06T08:23:51.474" v="960"/>
          <ac:spMkLst>
            <pc:docMk/>
            <pc:sldMk cId="2294161181" sldId="2147480052"/>
            <ac:spMk id="146" creationId="{7869FF64-2A90-1F64-4186-148E17E3612D}"/>
          </ac:spMkLst>
        </pc:spChg>
        <pc:spChg chg="mod">
          <ac:chgData name="VANEENOGE Camille" userId="6e7f4196-225c-4d88-a65f-4b95462c5fbf" providerId="ADAL" clId="{BD842958-C058-4E4D-9EFF-BED2C627D91A}" dt="2025-01-06T08:23:51.474" v="960"/>
          <ac:spMkLst>
            <pc:docMk/>
            <pc:sldMk cId="2294161181" sldId="2147480052"/>
            <ac:spMk id="149" creationId="{8B4845B0-B186-FD1C-3119-CADA8505BA28}"/>
          </ac:spMkLst>
        </pc:spChg>
        <pc:spChg chg="mod">
          <ac:chgData name="VANEENOGE Camille" userId="6e7f4196-225c-4d88-a65f-4b95462c5fbf" providerId="ADAL" clId="{BD842958-C058-4E4D-9EFF-BED2C627D91A}" dt="2025-01-06T08:23:51.474" v="960"/>
          <ac:spMkLst>
            <pc:docMk/>
            <pc:sldMk cId="2294161181" sldId="2147480052"/>
            <ac:spMk id="151" creationId="{33032451-D43D-FB64-C2C8-F60FA74A072F}"/>
          </ac:spMkLst>
        </pc:spChg>
        <pc:spChg chg="mod">
          <ac:chgData name="VANEENOGE Camille" userId="6e7f4196-225c-4d88-a65f-4b95462c5fbf" providerId="ADAL" clId="{BD842958-C058-4E4D-9EFF-BED2C627D91A}" dt="2025-01-06T08:23:51.474" v="960"/>
          <ac:spMkLst>
            <pc:docMk/>
            <pc:sldMk cId="2294161181" sldId="2147480052"/>
            <ac:spMk id="154" creationId="{8D336C0E-27EF-6930-227D-3EA5C551DCE9}"/>
          </ac:spMkLst>
        </pc:spChg>
        <pc:spChg chg="mod">
          <ac:chgData name="VANEENOGE Camille" userId="6e7f4196-225c-4d88-a65f-4b95462c5fbf" providerId="ADAL" clId="{BD842958-C058-4E4D-9EFF-BED2C627D91A}" dt="2025-01-06T08:23:51.474" v="960"/>
          <ac:spMkLst>
            <pc:docMk/>
            <pc:sldMk cId="2294161181" sldId="2147480052"/>
            <ac:spMk id="156" creationId="{83B2700C-1179-784F-546F-2DD377802413}"/>
          </ac:spMkLst>
        </pc:spChg>
        <pc:spChg chg="mod">
          <ac:chgData name="VANEENOGE Camille" userId="6e7f4196-225c-4d88-a65f-4b95462c5fbf" providerId="ADAL" clId="{BD842958-C058-4E4D-9EFF-BED2C627D91A}" dt="2025-01-06T08:23:51.474" v="960"/>
          <ac:spMkLst>
            <pc:docMk/>
            <pc:sldMk cId="2294161181" sldId="2147480052"/>
            <ac:spMk id="160" creationId="{56A98397-8C90-B8D3-6F9E-A75890972EC4}"/>
          </ac:spMkLst>
        </pc:spChg>
        <pc:spChg chg="mod">
          <ac:chgData name="VANEENOGE Camille" userId="6e7f4196-225c-4d88-a65f-4b95462c5fbf" providerId="ADAL" clId="{BD842958-C058-4E4D-9EFF-BED2C627D91A}" dt="2025-01-06T08:23:51.474" v="960"/>
          <ac:spMkLst>
            <pc:docMk/>
            <pc:sldMk cId="2294161181" sldId="2147480052"/>
            <ac:spMk id="161" creationId="{DF154AE0-3CA6-3B7F-A02E-E74ED19F4DB8}"/>
          </ac:spMkLst>
        </pc:spChg>
        <pc:spChg chg="mod">
          <ac:chgData name="VANEENOGE Camille" userId="6e7f4196-225c-4d88-a65f-4b95462c5fbf" providerId="ADAL" clId="{BD842958-C058-4E4D-9EFF-BED2C627D91A}" dt="2025-01-06T08:23:51.474" v="960"/>
          <ac:spMkLst>
            <pc:docMk/>
            <pc:sldMk cId="2294161181" sldId="2147480052"/>
            <ac:spMk id="170" creationId="{8904A19A-542F-800D-7397-3C7322E5AD8E}"/>
          </ac:spMkLst>
        </pc:spChg>
        <pc:spChg chg="mod">
          <ac:chgData name="VANEENOGE Camille" userId="6e7f4196-225c-4d88-a65f-4b95462c5fbf" providerId="ADAL" clId="{BD842958-C058-4E4D-9EFF-BED2C627D91A}" dt="2025-01-06T08:23:51.474" v="960"/>
          <ac:spMkLst>
            <pc:docMk/>
            <pc:sldMk cId="2294161181" sldId="2147480052"/>
            <ac:spMk id="171" creationId="{BB730E0F-B664-80AB-7F6C-654BFD145A3D}"/>
          </ac:spMkLst>
        </pc:spChg>
        <pc:spChg chg="mod">
          <ac:chgData name="VANEENOGE Camille" userId="6e7f4196-225c-4d88-a65f-4b95462c5fbf" providerId="ADAL" clId="{BD842958-C058-4E4D-9EFF-BED2C627D91A}" dt="2025-01-06T08:23:51.474" v="960"/>
          <ac:spMkLst>
            <pc:docMk/>
            <pc:sldMk cId="2294161181" sldId="2147480052"/>
            <ac:spMk id="174" creationId="{D3B91024-983D-9830-14BC-17FA2694C770}"/>
          </ac:spMkLst>
        </pc:spChg>
        <pc:spChg chg="mod">
          <ac:chgData name="VANEENOGE Camille" userId="6e7f4196-225c-4d88-a65f-4b95462c5fbf" providerId="ADAL" clId="{BD842958-C058-4E4D-9EFF-BED2C627D91A}" dt="2025-01-06T08:23:51.474" v="960"/>
          <ac:spMkLst>
            <pc:docMk/>
            <pc:sldMk cId="2294161181" sldId="2147480052"/>
            <ac:spMk id="176" creationId="{8FBEAF10-F311-F0B2-852B-274C945B73B6}"/>
          </ac:spMkLst>
        </pc:spChg>
        <pc:spChg chg="mod">
          <ac:chgData name="VANEENOGE Camille" userId="6e7f4196-225c-4d88-a65f-4b95462c5fbf" providerId="ADAL" clId="{BD842958-C058-4E4D-9EFF-BED2C627D91A}" dt="2025-01-06T08:23:51.474" v="960"/>
          <ac:spMkLst>
            <pc:docMk/>
            <pc:sldMk cId="2294161181" sldId="2147480052"/>
            <ac:spMk id="180" creationId="{8DB8F95F-AF5E-A530-B95E-D8902FE2395C}"/>
          </ac:spMkLst>
        </pc:spChg>
        <pc:spChg chg="mod">
          <ac:chgData name="VANEENOGE Camille" userId="6e7f4196-225c-4d88-a65f-4b95462c5fbf" providerId="ADAL" clId="{BD842958-C058-4E4D-9EFF-BED2C627D91A}" dt="2025-01-06T08:23:51.474" v="960"/>
          <ac:spMkLst>
            <pc:docMk/>
            <pc:sldMk cId="2294161181" sldId="2147480052"/>
            <ac:spMk id="181" creationId="{308BA707-4F96-764D-737E-258CE60C7EB9}"/>
          </ac:spMkLst>
        </pc:spChg>
        <pc:spChg chg="add mod">
          <ac:chgData name="VANEENOGE Camille" userId="6e7f4196-225c-4d88-a65f-4b95462c5fbf" providerId="ADAL" clId="{BD842958-C058-4E4D-9EFF-BED2C627D91A}" dt="2025-01-06T08:23:51.474" v="960"/>
          <ac:spMkLst>
            <pc:docMk/>
            <pc:sldMk cId="2294161181" sldId="2147480052"/>
            <ac:spMk id="184" creationId="{0600C6CF-0E9F-1FD5-F839-7141CABE423E}"/>
          </ac:spMkLst>
        </pc:spChg>
        <pc:spChg chg="add mod">
          <ac:chgData name="VANEENOGE Camille" userId="6e7f4196-225c-4d88-a65f-4b95462c5fbf" providerId="ADAL" clId="{BD842958-C058-4E4D-9EFF-BED2C627D91A}" dt="2025-01-06T08:23:51.474" v="960"/>
          <ac:spMkLst>
            <pc:docMk/>
            <pc:sldMk cId="2294161181" sldId="2147480052"/>
            <ac:spMk id="185" creationId="{A90630C6-1C59-420A-2C7F-80288D87ADE1}"/>
          </ac:spMkLst>
        </pc:spChg>
        <pc:spChg chg="add mod">
          <ac:chgData name="VANEENOGE Camille" userId="6e7f4196-225c-4d88-a65f-4b95462c5fbf" providerId="ADAL" clId="{BD842958-C058-4E4D-9EFF-BED2C627D91A}" dt="2025-01-06T08:23:51.474" v="960"/>
          <ac:spMkLst>
            <pc:docMk/>
            <pc:sldMk cId="2294161181" sldId="2147480052"/>
            <ac:spMk id="186" creationId="{FD23DD2F-B203-7531-7EB1-585A5BC745DD}"/>
          </ac:spMkLst>
        </pc:spChg>
        <pc:grpChg chg="add mod">
          <ac:chgData name="VANEENOGE Camille" userId="6e7f4196-225c-4d88-a65f-4b95462c5fbf" providerId="ADAL" clId="{BD842958-C058-4E4D-9EFF-BED2C627D91A}" dt="2025-01-20T10:35:05.687" v="1641" actId="164"/>
          <ac:grpSpMkLst>
            <pc:docMk/>
            <pc:sldMk cId="2294161181" sldId="2147480052"/>
            <ac:grpSpMk id="3" creationId="{EBA296AE-954F-34ED-DC42-80F2F2DDF443}"/>
          </ac:grpSpMkLst>
        </pc:grpChg>
        <pc:grpChg chg="add mod">
          <ac:chgData name="VANEENOGE Camille" userId="6e7f4196-225c-4d88-a65f-4b95462c5fbf" providerId="ADAL" clId="{BD842958-C058-4E4D-9EFF-BED2C627D91A}" dt="2025-01-20T10:35:05.687" v="1641" actId="164"/>
          <ac:grpSpMkLst>
            <pc:docMk/>
            <pc:sldMk cId="2294161181" sldId="2147480052"/>
            <ac:grpSpMk id="4" creationId="{B6EBFF87-BB84-86F3-670A-B73A20239FFD}"/>
          </ac:grpSpMkLst>
        </pc:grpChg>
        <pc:grpChg chg="add mod">
          <ac:chgData name="VANEENOGE Camille" userId="6e7f4196-225c-4d88-a65f-4b95462c5fbf" providerId="ADAL" clId="{BD842958-C058-4E4D-9EFF-BED2C627D91A}" dt="2025-01-06T08:23:51.474" v="960"/>
          <ac:grpSpMkLst>
            <pc:docMk/>
            <pc:sldMk cId="2294161181" sldId="2147480052"/>
            <ac:grpSpMk id="72" creationId="{AC2EA1BD-B679-2B40-DAE1-D1E30BE86BD2}"/>
          </ac:grpSpMkLst>
        </pc:grpChg>
        <pc:grpChg chg="mod">
          <ac:chgData name="VANEENOGE Camille" userId="6e7f4196-225c-4d88-a65f-4b95462c5fbf" providerId="ADAL" clId="{BD842958-C058-4E4D-9EFF-BED2C627D91A}" dt="2025-01-06T08:23:51.474" v="960"/>
          <ac:grpSpMkLst>
            <pc:docMk/>
            <pc:sldMk cId="2294161181" sldId="2147480052"/>
            <ac:grpSpMk id="73" creationId="{274ADF03-E229-3DC4-8A39-D26C827C0D57}"/>
          </ac:grpSpMkLst>
        </pc:grpChg>
        <pc:grpChg chg="add mod">
          <ac:chgData name="VANEENOGE Camille" userId="6e7f4196-225c-4d88-a65f-4b95462c5fbf" providerId="ADAL" clId="{BD842958-C058-4E4D-9EFF-BED2C627D91A}" dt="2025-01-06T08:23:51.474" v="960"/>
          <ac:grpSpMkLst>
            <pc:docMk/>
            <pc:sldMk cId="2294161181" sldId="2147480052"/>
            <ac:grpSpMk id="86" creationId="{B68BD105-990B-D6DA-E8F2-C83AB0F53E79}"/>
          </ac:grpSpMkLst>
        </pc:grpChg>
        <pc:grpChg chg="mod">
          <ac:chgData name="VANEENOGE Camille" userId="6e7f4196-225c-4d88-a65f-4b95462c5fbf" providerId="ADAL" clId="{BD842958-C058-4E4D-9EFF-BED2C627D91A}" dt="2025-01-06T08:23:51.474" v="960"/>
          <ac:grpSpMkLst>
            <pc:docMk/>
            <pc:sldMk cId="2294161181" sldId="2147480052"/>
            <ac:grpSpMk id="92" creationId="{166979FA-02BF-81F5-8497-91643C63E49F}"/>
          </ac:grpSpMkLst>
        </pc:grpChg>
        <pc:grpChg chg="add mod">
          <ac:chgData name="VANEENOGE Camille" userId="6e7f4196-225c-4d88-a65f-4b95462c5fbf" providerId="ADAL" clId="{BD842958-C058-4E4D-9EFF-BED2C627D91A}" dt="2025-01-06T08:23:51.474" v="960"/>
          <ac:grpSpMkLst>
            <pc:docMk/>
            <pc:sldMk cId="2294161181" sldId="2147480052"/>
            <ac:grpSpMk id="104" creationId="{232F1BDC-4B49-0717-E40D-81D38AA299C1}"/>
          </ac:grpSpMkLst>
        </pc:grpChg>
        <pc:grpChg chg="mod">
          <ac:chgData name="VANEENOGE Camille" userId="6e7f4196-225c-4d88-a65f-4b95462c5fbf" providerId="ADAL" clId="{BD842958-C058-4E4D-9EFF-BED2C627D91A}" dt="2025-01-06T08:23:51.474" v="960"/>
          <ac:grpSpMkLst>
            <pc:docMk/>
            <pc:sldMk cId="2294161181" sldId="2147480052"/>
            <ac:grpSpMk id="112" creationId="{2BAA6692-EC30-F57E-CD03-DFCDE8BD0A67}"/>
          </ac:grpSpMkLst>
        </pc:grpChg>
        <pc:grpChg chg="add mod">
          <ac:chgData name="VANEENOGE Camille" userId="6e7f4196-225c-4d88-a65f-4b95462c5fbf" providerId="ADAL" clId="{BD842958-C058-4E4D-9EFF-BED2C627D91A}" dt="2025-01-06T08:23:51.474" v="960"/>
          <ac:grpSpMkLst>
            <pc:docMk/>
            <pc:sldMk cId="2294161181" sldId="2147480052"/>
            <ac:grpSpMk id="126" creationId="{1616F13B-4F7D-3996-AD8B-6EDD9F08E370}"/>
          </ac:grpSpMkLst>
        </pc:grpChg>
        <pc:grpChg chg="mod">
          <ac:chgData name="VANEENOGE Camille" userId="6e7f4196-225c-4d88-a65f-4b95462c5fbf" providerId="ADAL" clId="{BD842958-C058-4E4D-9EFF-BED2C627D91A}" dt="2025-01-06T08:23:51.474" v="960"/>
          <ac:grpSpMkLst>
            <pc:docMk/>
            <pc:sldMk cId="2294161181" sldId="2147480052"/>
            <ac:grpSpMk id="128" creationId="{3F27A2EC-04B5-0023-E748-033FDE928144}"/>
          </ac:grpSpMkLst>
        </pc:grpChg>
        <pc:grpChg chg="add mod">
          <ac:chgData name="VANEENOGE Camille" userId="6e7f4196-225c-4d88-a65f-4b95462c5fbf" providerId="ADAL" clId="{BD842958-C058-4E4D-9EFF-BED2C627D91A}" dt="2025-01-06T08:23:51.474" v="960"/>
          <ac:grpSpMkLst>
            <pc:docMk/>
            <pc:sldMk cId="2294161181" sldId="2147480052"/>
            <ac:grpSpMk id="137" creationId="{07DCAF62-120B-FA86-3F26-6FD7237B08C8}"/>
          </ac:grpSpMkLst>
        </pc:grpChg>
        <pc:grpChg chg="mod">
          <ac:chgData name="VANEENOGE Camille" userId="6e7f4196-225c-4d88-a65f-4b95462c5fbf" providerId="ADAL" clId="{BD842958-C058-4E4D-9EFF-BED2C627D91A}" dt="2025-01-06T08:23:51.474" v="960"/>
          <ac:grpSpMkLst>
            <pc:docMk/>
            <pc:sldMk cId="2294161181" sldId="2147480052"/>
            <ac:grpSpMk id="140" creationId="{BFFAE537-5635-D431-2D8E-1B12042D0E29}"/>
          </ac:grpSpMkLst>
        </pc:grpChg>
        <pc:grpChg chg="add mod">
          <ac:chgData name="VANEENOGE Camille" userId="6e7f4196-225c-4d88-a65f-4b95462c5fbf" providerId="ADAL" clId="{BD842958-C058-4E4D-9EFF-BED2C627D91A}" dt="2025-01-06T08:23:51.474" v="960"/>
          <ac:grpSpMkLst>
            <pc:docMk/>
            <pc:sldMk cId="2294161181" sldId="2147480052"/>
            <ac:grpSpMk id="143" creationId="{491F8314-030B-82AE-BBCD-BC2D2C1D3394}"/>
          </ac:grpSpMkLst>
        </pc:grpChg>
        <pc:grpChg chg="mod">
          <ac:chgData name="VANEENOGE Camille" userId="6e7f4196-225c-4d88-a65f-4b95462c5fbf" providerId="ADAL" clId="{BD842958-C058-4E4D-9EFF-BED2C627D91A}" dt="2025-01-06T08:23:51.474" v="960"/>
          <ac:grpSpMkLst>
            <pc:docMk/>
            <pc:sldMk cId="2294161181" sldId="2147480052"/>
            <ac:grpSpMk id="145" creationId="{C201BA94-66DA-DA8D-458B-F0A6679674EE}"/>
          </ac:grpSpMkLst>
        </pc:grpChg>
        <pc:grpChg chg="add mod">
          <ac:chgData name="VANEENOGE Camille" userId="6e7f4196-225c-4d88-a65f-4b95462c5fbf" providerId="ADAL" clId="{BD842958-C058-4E4D-9EFF-BED2C627D91A}" dt="2025-01-06T08:23:51.474" v="960"/>
          <ac:grpSpMkLst>
            <pc:docMk/>
            <pc:sldMk cId="2294161181" sldId="2147480052"/>
            <ac:grpSpMk id="148" creationId="{9F8479C9-B0BE-5AE8-858E-3959EAA748C3}"/>
          </ac:grpSpMkLst>
        </pc:grpChg>
        <pc:grpChg chg="mod">
          <ac:chgData name="VANEENOGE Camille" userId="6e7f4196-225c-4d88-a65f-4b95462c5fbf" providerId="ADAL" clId="{BD842958-C058-4E4D-9EFF-BED2C627D91A}" dt="2025-01-06T08:23:51.474" v="960"/>
          <ac:grpSpMkLst>
            <pc:docMk/>
            <pc:sldMk cId="2294161181" sldId="2147480052"/>
            <ac:grpSpMk id="150" creationId="{9362A0A3-C8DA-A9C2-C853-C7342C930875}"/>
          </ac:grpSpMkLst>
        </pc:grpChg>
        <pc:grpChg chg="add mod">
          <ac:chgData name="VANEENOGE Camille" userId="6e7f4196-225c-4d88-a65f-4b95462c5fbf" providerId="ADAL" clId="{BD842958-C058-4E4D-9EFF-BED2C627D91A}" dt="2025-01-06T08:23:51.474" v="960"/>
          <ac:grpSpMkLst>
            <pc:docMk/>
            <pc:sldMk cId="2294161181" sldId="2147480052"/>
            <ac:grpSpMk id="153" creationId="{8998E862-C519-0AB3-C582-866FA1AB04EE}"/>
          </ac:grpSpMkLst>
        </pc:grpChg>
        <pc:grpChg chg="mod">
          <ac:chgData name="VANEENOGE Camille" userId="6e7f4196-225c-4d88-a65f-4b95462c5fbf" providerId="ADAL" clId="{BD842958-C058-4E4D-9EFF-BED2C627D91A}" dt="2025-01-06T08:23:51.474" v="960"/>
          <ac:grpSpMkLst>
            <pc:docMk/>
            <pc:sldMk cId="2294161181" sldId="2147480052"/>
            <ac:grpSpMk id="155" creationId="{748495D1-FBE1-F9FF-21D3-89BB4B0C1D80}"/>
          </ac:grpSpMkLst>
        </pc:grpChg>
        <pc:grpChg chg="add mod">
          <ac:chgData name="VANEENOGE Camille" userId="6e7f4196-225c-4d88-a65f-4b95462c5fbf" providerId="ADAL" clId="{BD842958-C058-4E4D-9EFF-BED2C627D91A}" dt="2025-01-06T08:23:51.474" v="960"/>
          <ac:grpSpMkLst>
            <pc:docMk/>
            <pc:sldMk cId="2294161181" sldId="2147480052"/>
            <ac:grpSpMk id="158" creationId="{2BB2D99C-E344-D791-5483-89E49FA3EA3B}"/>
          </ac:grpSpMkLst>
        </pc:grpChg>
        <pc:grpChg chg="mod">
          <ac:chgData name="VANEENOGE Camille" userId="6e7f4196-225c-4d88-a65f-4b95462c5fbf" providerId="ADAL" clId="{BD842958-C058-4E4D-9EFF-BED2C627D91A}" dt="2025-01-06T08:23:51.474" v="960"/>
          <ac:grpSpMkLst>
            <pc:docMk/>
            <pc:sldMk cId="2294161181" sldId="2147480052"/>
            <ac:grpSpMk id="159" creationId="{7D90AFB0-0692-3120-348E-94EC767A332C}"/>
          </ac:grpSpMkLst>
        </pc:grpChg>
        <pc:grpChg chg="add mod">
          <ac:chgData name="VANEENOGE Camille" userId="6e7f4196-225c-4d88-a65f-4b95462c5fbf" providerId="ADAL" clId="{BD842958-C058-4E4D-9EFF-BED2C627D91A}" dt="2025-01-06T08:23:51.474" v="960"/>
          <ac:grpSpMkLst>
            <pc:docMk/>
            <pc:sldMk cId="2294161181" sldId="2147480052"/>
            <ac:grpSpMk id="168" creationId="{536FCE80-4AE8-AB50-8FC3-155A6F13A3B7}"/>
          </ac:grpSpMkLst>
        </pc:grpChg>
        <pc:grpChg chg="mod">
          <ac:chgData name="VANEENOGE Camille" userId="6e7f4196-225c-4d88-a65f-4b95462c5fbf" providerId="ADAL" clId="{BD842958-C058-4E4D-9EFF-BED2C627D91A}" dt="2025-01-06T08:23:51.474" v="960"/>
          <ac:grpSpMkLst>
            <pc:docMk/>
            <pc:sldMk cId="2294161181" sldId="2147480052"/>
            <ac:grpSpMk id="169" creationId="{DBF0330A-9D81-0607-B989-049888DE6134}"/>
          </ac:grpSpMkLst>
        </pc:grpChg>
        <pc:grpChg chg="add mod">
          <ac:chgData name="VANEENOGE Camille" userId="6e7f4196-225c-4d88-a65f-4b95462c5fbf" providerId="ADAL" clId="{BD842958-C058-4E4D-9EFF-BED2C627D91A}" dt="2025-01-06T08:23:51.474" v="960"/>
          <ac:grpSpMkLst>
            <pc:docMk/>
            <pc:sldMk cId="2294161181" sldId="2147480052"/>
            <ac:grpSpMk id="173" creationId="{DFD5FC83-A13B-A53F-D180-833874FD3400}"/>
          </ac:grpSpMkLst>
        </pc:grpChg>
        <pc:grpChg chg="mod">
          <ac:chgData name="VANEENOGE Camille" userId="6e7f4196-225c-4d88-a65f-4b95462c5fbf" providerId="ADAL" clId="{BD842958-C058-4E4D-9EFF-BED2C627D91A}" dt="2025-01-06T08:23:51.474" v="960"/>
          <ac:grpSpMkLst>
            <pc:docMk/>
            <pc:sldMk cId="2294161181" sldId="2147480052"/>
            <ac:grpSpMk id="175" creationId="{F7332870-E6A7-71B7-D42B-5FDA935404B4}"/>
          </ac:grpSpMkLst>
        </pc:grpChg>
        <pc:grpChg chg="add mod">
          <ac:chgData name="VANEENOGE Camille" userId="6e7f4196-225c-4d88-a65f-4b95462c5fbf" providerId="ADAL" clId="{BD842958-C058-4E4D-9EFF-BED2C627D91A}" dt="2025-01-06T08:23:51.474" v="960"/>
          <ac:grpSpMkLst>
            <pc:docMk/>
            <pc:sldMk cId="2294161181" sldId="2147480052"/>
            <ac:grpSpMk id="178" creationId="{39BB74E0-E719-068E-BFD3-28DC898625B4}"/>
          </ac:grpSpMkLst>
        </pc:grpChg>
        <pc:grpChg chg="mod">
          <ac:chgData name="VANEENOGE Camille" userId="6e7f4196-225c-4d88-a65f-4b95462c5fbf" providerId="ADAL" clId="{BD842958-C058-4E4D-9EFF-BED2C627D91A}" dt="2025-01-06T08:23:51.474" v="960"/>
          <ac:grpSpMkLst>
            <pc:docMk/>
            <pc:sldMk cId="2294161181" sldId="2147480052"/>
            <ac:grpSpMk id="179" creationId="{9EDC985C-9E76-54E0-285C-61B8550169E6}"/>
          </ac:grpSpMkLst>
        </pc:grpChg>
        <pc:picChg chg="mod">
          <ac:chgData name="VANEENOGE Camille" userId="6e7f4196-225c-4d88-a65f-4b95462c5fbf" providerId="ADAL" clId="{BD842958-C058-4E4D-9EFF-BED2C627D91A}" dt="2025-01-06T08:23:51.474" v="960"/>
          <ac:picMkLst>
            <pc:docMk/>
            <pc:sldMk cId="2294161181" sldId="2147480052"/>
            <ac:picMk id="84" creationId="{84C9D944-3AD8-CE14-32A8-3C57F7AC1FA4}"/>
          </ac:picMkLst>
        </pc:picChg>
        <pc:picChg chg="mod">
          <ac:chgData name="VANEENOGE Camille" userId="6e7f4196-225c-4d88-a65f-4b95462c5fbf" providerId="ADAL" clId="{BD842958-C058-4E4D-9EFF-BED2C627D91A}" dt="2025-01-06T08:23:51.474" v="960"/>
          <ac:picMkLst>
            <pc:docMk/>
            <pc:sldMk cId="2294161181" sldId="2147480052"/>
            <ac:picMk id="102" creationId="{C001D205-BE22-48B0-A631-BEFD1318E9EF}"/>
          </ac:picMkLst>
        </pc:picChg>
        <pc:picChg chg="mod">
          <ac:chgData name="VANEENOGE Camille" userId="6e7f4196-225c-4d88-a65f-4b95462c5fbf" providerId="ADAL" clId="{BD842958-C058-4E4D-9EFF-BED2C627D91A}" dt="2025-01-06T08:23:51.474" v="960"/>
          <ac:picMkLst>
            <pc:docMk/>
            <pc:sldMk cId="2294161181" sldId="2147480052"/>
            <ac:picMk id="115" creationId="{F467DB6F-48EF-AC7C-35F0-E36982CFF610}"/>
          </ac:picMkLst>
        </pc:picChg>
        <pc:picChg chg="mod topLvl">
          <ac:chgData name="VANEENOGE Camille" userId="6e7f4196-225c-4d88-a65f-4b95462c5fbf" providerId="ADAL" clId="{BD842958-C058-4E4D-9EFF-BED2C627D91A}" dt="2025-01-20T10:35:00.398" v="1640" actId="164"/>
          <ac:picMkLst>
            <pc:docMk/>
            <pc:sldMk cId="2294161181" sldId="2147480052"/>
            <ac:picMk id="120" creationId="{D114DC97-C574-4A82-6330-E323153BD203}"/>
          </ac:picMkLst>
        </pc:picChg>
        <pc:picChg chg="mod">
          <ac:chgData name="VANEENOGE Camille" userId="6e7f4196-225c-4d88-a65f-4b95462c5fbf" providerId="ADAL" clId="{BD842958-C058-4E4D-9EFF-BED2C627D91A}" dt="2025-01-06T08:23:51.474" v="960"/>
          <ac:picMkLst>
            <pc:docMk/>
            <pc:sldMk cId="2294161181" sldId="2147480052"/>
            <ac:picMk id="135" creationId="{C7B29982-C4BE-41E2-7297-ABA87AE3EC56}"/>
          </ac:picMkLst>
        </pc:picChg>
        <pc:picChg chg="mod">
          <ac:chgData name="VANEENOGE Camille" userId="6e7f4196-225c-4d88-a65f-4b95462c5fbf" providerId="ADAL" clId="{BD842958-C058-4E4D-9EFF-BED2C627D91A}" dt="2025-01-06T08:23:51.474" v="960"/>
          <ac:picMkLst>
            <pc:docMk/>
            <pc:sldMk cId="2294161181" sldId="2147480052"/>
            <ac:picMk id="142" creationId="{22DE9640-531F-AE28-A083-F6E839FF9764}"/>
          </ac:picMkLst>
        </pc:picChg>
        <pc:picChg chg="mod">
          <ac:chgData name="VANEENOGE Camille" userId="6e7f4196-225c-4d88-a65f-4b95462c5fbf" providerId="ADAL" clId="{BD842958-C058-4E4D-9EFF-BED2C627D91A}" dt="2025-01-06T08:23:51.474" v="960"/>
          <ac:picMkLst>
            <pc:docMk/>
            <pc:sldMk cId="2294161181" sldId="2147480052"/>
            <ac:picMk id="147" creationId="{0F025182-1E41-B616-A602-C7FB04972221}"/>
          </ac:picMkLst>
        </pc:picChg>
        <pc:picChg chg="mod">
          <ac:chgData name="VANEENOGE Camille" userId="6e7f4196-225c-4d88-a65f-4b95462c5fbf" providerId="ADAL" clId="{BD842958-C058-4E4D-9EFF-BED2C627D91A}" dt="2025-01-06T08:23:51.474" v="960"/>
          <ac:picMkLst>
            <pc:docMk/>
            <pc:sldMk cId="2294161181" sldId="2147480052"/>
            <ac:picMk id="152" creationId="{C64C44A9-8792-9442-CC50-BB79A3D371D4}"/>
          </ac:picMkLst>
        </pc:picChg>
        <pc:picChg chg="mod">
          <ac:chgData name="VANEENOGE Camille" userId="6e7f4196-225c-4d88-a65f-4b95462c5fbf" providerId="ADAL" clId="{BD842958-C058-4E4D-9EFF-BED2C627D91A}" dt="2025-01-06T08:23:51.474" v="960"/>
          <ac:picMkLst>
            <pc:docMk/>
            <pc:sldMk cId="2294161181" sldId="2147480052"/>
            <ac:picMk id="157" creationId="{53F054E5-1AD9-388B-16A2-D68726E6E674}"/>
          </ac:picMkLst>
        </pc:picChg>
        <pc:picChg chg="mod">
          <ac:chgData name="VANEENOGE Camille" userId="6e7f4196-225c-4d88-a65f-4b95462c5fbf" providerId="ADAL" clId="{BD842958-C058-4E4D-9EFF-BED2C627D91A}" dt="2025-01-06T08:23:51.474" v="960"/>
          <ac:picMkLst>
            <pc:docMk/>
            <pc:sldMk cId="2294161181" sldId="2147480052"/>
            <ac:picMk id="162" creationId="{280A31DB-84E1-77A4-33C7-3467ADB582E7}"/>
          </ac:picMkLst>
        </pc:picChg>
        <pc:picChg chg="mod">
          <ac:chgData name="VANEENOGE Camille" userId="6e7f4196-225c-4d88-a65f-4b95462c5fbf" providerId="ADAL" clId="{BD842958-C058-4E4D-9EFF-BED2C627D91A}" dt="2025-01-06T08:23:51.474" v="960"/>
          <ac:picMkLst>
            <pc:docMk/>
            <pc:sldMk cId="2294161181" sldId="2147480052"/>
            <ac:picMk id="172" creationId="{111C9A61-A566-DA6B-62CA-6BFCA552E292}"/>
          </ac:picMkLst>
        </pc:picChg>
        <pc:picChg chg="mod">
          <ac:chgData name="VANEENOGE Camille" userId="6e7f4196-225c-4d88-a65f-4b95462c5fbf" providerId="ADAL" clId="{BD842958-C058-4E4D-9EFF-BED2C627D91A}" dt="2025-01-06T08:23:51.474" v="960"/>
          <ac:picMkLst>
            <pc:docMk/>
            <pc:sldMk cId="2294161181" sldId="2147480052"/>
            <ac:picMk id="177" creationId="{B241EEFC-B26B-8D06-6EC9-6C23397A6DF4}"/>
          </ac:picMkLst>
        </pc:picChg>
        <pc:picChg chg="mod">
          <ac:chgData name="VANEENOGE Camille" userId="6e7f4196-225c-4d88-a65f-4b95462c5fbf" providerId="ADAL" clId="{BD842958-C058-4E4D-9EFF-BED2C627D91A}" dt="2025-01-06T08:23:51.474" v="960"/>
          <ac:picMkLst>
            <pc:docMk/>
            <pc:sldMk cId="2294161181" sldId="2147480052"/>
            <ac:picMk id="182" creationId="{954D5526-6219-473C-C89D-B6EEB316AC47}"/>
          </ac:picMkLst>
        </pc:picChg>
        <pc:cxnChg chg="add mod">
          <ac:chgData name="VANEENOGE Camille" userId="6e7f4196-225c-4d88-a65f-4b95462c5fbf" providerId="ADAL" clId="{BD842958-C058-4E4D-9EFF-BED2C627D91A}" dt="2025-01-06T08:23:51.474" v="960"/>
          <ac:cxnSpMkLst>
            <pc:docMk/>
            <pc:sldMk cId="2294161181" sldId="2147480052"/>
            <ac:cxnSpMk id="18" creationId="{2405AB0D-EC37-9444-DD70-1CF97100E5A9}"/>
          </ac:cxnSpMkLst>
        </pc:cxnChg>
        <pc:cxnChg chg="add mod">
          <ac:chgData name="VANEENOGE Camille" userId="6e7f4196-225c-4d88-a65f-4b95462c5fbf" providerId="ADAL" clId="{BD842958-C058-4E4D-9EFF-BED2C627D91A}" dt="2025-01-06T08:23:51.474" v="960"/>
          <ac:cxnSpMkLst>
            <pc:docMk/>
            <pc:sldMk cId="2294161181" sldId="2147480052"/>
            <ac:cxnSpMk id="26" creationId="{E294F942-7646-A0CC-224B-C5A3F568A1DC}"/>
          </ac:cxnSpMkLst>
        </pc:cxnChg>
        <pc:cxnChg chg="add mod">
          <ac:chgData name="VANEENOGE Camille" userId="6e7f4196-225c-4d88-a65f-4b95462c5fbf" providerId="ADAL" clId="{BD842958-C058-4E4D-9EFF-BED2C627D91A}" dt="2025-01-06T08:23:51.474" v="960"/>
          <ac:cxnSpMkLst>
            <pc:docMk/>
            <pc:sldMk cId="2294161181" sldId="2147480052"/>
            <ac:cxnSpMk id="36" creationId="{7387A1A5-DDE7-6ADB-0162-441673A9AB7D}"/>
          </ac:cxnSpMkLst>
        </pc:cxnChg>
        <pc:cxnChg chg="add mod">
          <ac:chgData name="VANEENOGE Camille" userId="6e7f4196-225c-4d88-a65f-4b95462c5fbf" providerId="ADAL" clId="{BD842958-C058-4E4D-9EFF-BED2C627D91A}" dt="2025-01-06T08:23:51.474" v="960"/>
          <ac:cxnSpMkLst>
            <pc:docMk/>
            <pc:sldMk cId="2294161181" sldId="2147480052"/>
            <ac:cxnSpMk id="37" creationId="{901E18D5-C8B4-B064-AC4C-FAE70710ADB4}"/>
          </ac:cxnSpMkLst>
        </pc:cxnChg>
        <pc:cxnChg chg="add mod">
          <ac:chgData name="VANEENOGE Camille" userId="6e7f4196-225c-4d88-a65f-4b95462c5fbf" providerId="ADAL" clId="{BD842958-C058-4E4D-9EFF-BED2C627D91A}" dt="2025-01-06T08:23:51.474" v="960"/>
          <ac:cxnSpMkLst>
            <pc:docMk/>
            <pc:sldMk cId="2294161181" sldId="2147480052"/>
            <ac:cxnSpMk id="50" creationId="{BE4CB6EF-C615-86FE-B759-C50162482CEF}"/>
          </ac:cxnSpMkLst>
        </pc:cxnChg>
        <pc:cxnChg chg="add mod">
          <ac:chgData name="VANEENOGE Camille" userId="6e7f4196-225c-4d88-a65f-4b95462c5fbf" providerId="ADAL" clId="{BD842958-C058-4E4D-9EFF-BED2C627D91A}" dt="2025-01-06T08:23:51.474" v="960"/>
          <ac:cxnSpMkLst>
            <pc:docMk/>
            <pc:sldMk cId="2294161181" sldId="2147480052"/>
            <ac:cxnSpMk id="53" creationId="{8D2F2A4D-5E5E-8BA0-5EBC-158BCA48F79B}"/>
          </ac:cxnSpMkLst>
        </pc:cxnChg>
        <pc:cxnChg chg="add mod">
          <ac:chgData name="VANEENOGE Camille" userId="6e7f4196-225c-4d88-a65f-4b95462c5fbf" providerId="ADAL" clId="{BD842958-C058-4E4D-9EFF-BED2C627D91A}" dt="2025-01-06T08:23:51.474" v="960"/>
          <ac:cxnSpMkLst>
            <pc:docMk/>
            <pc:sldMk cId="2294161181" sldId="2147480052"/>
            <ac:cxnSpMk id="56" creationId="{AF1F3D3B-B0B8-F481-89A9-6160DCF1BAC5}"/>
          </ac:cxnSpMkLst>
        </pc:cxnChg>
        <pc:cxnChg chg="add mod">
          <ac:chgData name="VANEENOGE Camille" userId="6e7f4196-225c-4d88-a65f-4b95462c5fbf" providerId="ADAL" clId="{BD842958-C058-4E4D-9EFF-BED2C627D91A}" dt="2025-01-06T08:23:51.474" v="960"/>
          <ac:cxnSpMkLst>
            <pc:docMk/>
            <pc:sldMk cId="2294161181" sldId="2147480052"/>
            <ac:cxnSpMk id="124" creationId="{091FBF3C-C65C-4666-CA62-266EE2CFEAFE}"/>
          </ac:cxnSpMkLst>
        </pc:cxnChg>
      </pc:sldChg>
      <pc:sldChg chg="del">
        <pc:chgData name="VANEENOGE Camille" userId="6e7f4196-225c-4d88-a65f-4b95462c5fbf" providerId="ADAL" clId="{BD842958-C058-4E4D-9EFF-BED2C627D91A}" dt="2024-12-20T17:54:02.505" v="251" actId="47"/>
        <pc:sldMkLst>
          <pc:docMk/>
          <pc:sldMk cId="1026801686" sldId="2147481909"/>
        </pc:sldMkLst>
      </pc:sldChg>
      <pc:sldChg chg="addSp modSp mod">
        <pc:chgData name="VANEENOGE Camille" userId="6e7f4196-225c-4d88-a65f-4b95462c5fbf" providerId="ADAL" clId="{BD842958-C058-4E4D-9EFF-BED2C627D91A}" dt="2025-01-19T18:28:37.249" v="1275" actId="13926"/>
        <pc:sldMkLst>
          <pc:docMk/>
          <pc:sldMk cId="2738404544" sldId="2147481979"/>
        </pc:sldMkLst>
        <pc:spChg chg="add mod">
          <ac:chgData name="VANEENOGE Camille" userId="6e7f4196-225c-4d88-a65f-4b95462c5fbf" providerId="ADAL" clId="{BD842958-C058-4E4D-9EFF-BED2C627D91A}" dt="2025-01-19T18:28:37.249" v="1275" actId="13926"/>
          <ac:spMkLst>
            <pc:docMk/>
            <pc:sldMk cId="2738404544" sldId="2147481979"/>
            <ac:spMk id="2" creationId="{5E97E4D5-9A96-8399-64F7-E2C53944B953}"/>
          </ac:spMkLst>
        </pc:spChg>
      </pc:sldChg>
      <pc:sldChg chg="addSp modSp mod">
        <pc:chgData name="VANEENOGE Camille" userId="6e7f4196-225c-4d88-a65f-4b95462c5fbf" providerId="ADAL" clId="{BD842958-C058-4E4D-9EFF-BED2C627D91A}" dt="2025-01-19T18:28:40.084" v="1276" actId="13926"/>
        <pc:sldMkLst>
          <pc:docMk/>
          <pc:sldMk cId="2251311509" sldId="2147481981"/>
        </pc:sldMkLst>
        <pc:spChg chg="add mod">
          <ac:chgData name="VANEENOGE Camille" userId="6e7f4196-225c-4d88-a65f-4b95462c5fbf" providerId="ADAL" clId="{BD842958-C058-4E4D-9EFF-BED2C627D91A}" dt="2025-01-19T18:28:40.084" v="1276" actId="13926"/>
          <ac:spMkLst>
            <pc:docMk/>
            <pc:sldMk cId="2251311509" sldId="2147481981"/>
            <ac:spMk id="2" creationId="{9674A7BA-45C2-FF5A-2BB5-DF2A8397D579}"/>
          </ac:spMkLst>
        </pc:spChg>
      </pc:sldChg>
      <pc:sldChg chg="addSp modSp mod">
        <pc:chgData name="VANEENOGE Camille" userId="6e7f4196-225c-4d88-a65f-4b95462c5fbf" providerId="ADAL" clId="{BD842958-C058-4E4D-9EFF-BED2C627D91A}" dt="2025-01-19T18:28:43.413" v="1277" actId="13926"/>
        <pc:sldMkLst>
          <pc:docMk/>
          <pc:sldMk cId="4196752458" sldId="2147481983"/>
        </pc:sldMkLst>
        <pc:spChg chg="add mod">
          <ac:chgData name="VANEENOGE Camille" userId="6e7f4196-225c-4d88-a65f-4b95462c5fbf" providerId="ADAL" clId="{BD842958-C058-4E4D-9EFF-BED2C627D91A}" dt="2025-01-19T18:28:43.413" v="1277" actId="13926"/>
          <ac:spMkLst>
            <pc:docMk/>
            <pc:sldMk cId="4196752458" sldId="2147481983"/>
            <ac:spMk id="3" creationId="{DAC47B5E-81D9-C5F7-BC57-FEDDB6C9D59B}"/>
          </ac:spMkLst>
        </pc:spChg>
      </pc:sldChg>
      <pc:sldChg chg="addSp modSp mod">
        <pc:chgData name="VANEENOGE Camille" userId="6e7f4196-225c-4d88-a65f-4b95462c5fbf" providerId="ADAL" clId="{BD842958-C058-4E4D-9EFF-BED2C627D91A}" dt="2025-01-19T18:28:21.379" v="1272" actId="13926"/>
        <pc:sldMkLst>
          <pc:docMk/>
          <pc:sldMk cId="2459300264" sldId="2147481996"/>
        </pc:sldMkLst>
        <pc:spChg chg="add mod">
          <ac:chgData name="VANEENOGE Camille" userId="6e7f4196-225c-4d88-a65f-4b95462c5fbf" providerId="ADAL" clId="{BD842958-C058-4E4D-9EFF-BED2C627D91A}" dt="2025-01-19T18:28:21.379" v="1272" actId="13926"/>
          <ac:spMkLst>
            <pc:docMk/>
            <pc:sldMk cId="2459300264" sldId="2147481996"/>
            <ac:spMk id="3" creationId="{7F1EAA10-B204-00E1-9CB4-7F55C200C2E2}"/>
          </ac:spMkLst>
        </pc:spChg>
        <pc:spChg chg="add mod">
          <ac:chgData name="VANEENOGE Camille" userId="6e7f4196-225c-4d88-a65f-4b95462c5fbf" providerId="ADAL" clId="{BD842958-C058-4E4D-9EFF-BED2C627D91A}" dt="2025-01-19T18:28:21.379" v="1272" actId="13926"/>
          <ac:spMkLst>
            <pc:docMk/>
            <pc:sldMk cId="2459300264" sldId="2147481996"/>
            <ac:spMk id="4" creationId="{E70148E6-F706-E8A7-1D75-DA54BB8C014F}"/>
          </ac:spMkLst>
        </pc:spChg>
        <pc:spChg chg="mod">
          <ac:chgData name="VANEENOGE Camille" userId="6e7f4196-225c-4d88-a65f-4b95462c5fbf" providerId="ADAL" clId="{BD842958-C058-4E4D-9EFF-BED2C627D91A}" dt="2025-01-19T18:28:21.379" v="1272" actId="13926"/>
          <ac:spMkLst>
            <pc:docMk/>
            <pc:sldMk cId="2459300264" sldId="2147481996"/>
            <ac:spMk id="7" creationId="{5D52ADAF-6AF8-F9B3-3D0F-1D177911953B}"/>
          </ac:spMkLst>
        </pc:spChg>
      </pc:sldChg>
      <pc:sldChg chg="modSp mod">
        <pc:chgData name="VANEENOGE Camille" userId="6e7f4196-225c-4d88-a65f-4b95462c5fbf" providerId="ADAL" clId="{BD842958-C058-4E4D-9EFF-BED2C627D91A}" dt="2025-01-19T18:28:32.616" v="1274" actId="13926"/>
        <pc:sldMkLst>
          <pc:docMk/>
          <pc:sldMk cId="1257207121" sldId="2147481999"/>
        </pc:sldMkLst>
        <pc:spChg chg="mod">
          <ac:chgData name="VANEENOGE Camille" userId="6e7f4196-225c-4d88-a65f-4b95462c5fbf" providerId="ADAL" clId="{BD842958-C058-4E4D-9EFF-BED2C627D91A}" dt="2025-01-19T18:28:32.616" v="1274" actId="13926"/>
          <ac:spMkLst>
            <pc:docMk/>
            <pc:sldMk cId="1257207121" sldId="2147481999"/>
            <ac:spMk id="3" creationId="{00B58B82-0424-C18A-6F01-ED207B9DB8D7}"/>
          </ac:spMkLst>
        </pc:spChg>
      </pc:sldChg>
      <pc:sldChg chg="del">
        <pc:chgData name="VANEENOGE Camille" userId="6e7f4196-225c-4d88-a65f-4b95462c5fbf" providerId="ADAL" clId="{BD842958-C058-4E4D-9EFF-BED2C627D91A}" dt="2025-01-06T08:16:08.520" v="950" actId="47"/>
        <pc:sldMkLst>
          <pc:docMk/>
          <pc:sldMk cId="3340189546" sldId="2147482003"/>
        </pc:sldMkLst>
      </pc:sldChg>
      <pc:sldChg chg="addSp delSp modSp mod">
        <pc:chgData name="VANEENOGE Camille" userId="6e7f4196-225c-4d88-a65f-4b95462c5fbf" providerId="ADAL" clId="{BD842958-C058-4E4D-9EFF-BED2C627D91A}" dt="2025-01-20T10:30:31.558" v="1604" actId="13926"/>
        <pc:sldMkLst>
          <pc:docMk/>
          <pc:sldMk cId="258348270" sldId="2147482004"/>
        </pc:sldMkLst>
        <pc:spChg chg="add mod ord">
          <ac:chgData name="VANEENOGE Camille" userId="6e7f4196-225c-4d88-a65f-4b95462c5fbf" providerId="ADAL" clId="{BD842958-C058-4E4D-9EFF-BED2C627D91A}" dt="2025-01-06T08:16:44.074" v="957" actId="167"/>
          <ac:spMkLst>
            <pc:docMk/>
            <pc:sldMk cId="258348270" sldId="2147482004"/>
            <ac:spMk id="4" creationId="{49A89B8D-1C4B-9441-8615-E677A17A2F61}"/>
          </ac:spMkLst>
        </pc:spChg>
        <pc:spChg chg="mod">
          <ac:chgData name="VANEENOGE Camille" userId="6e7f4196-225c-4d88-a65f-4b95462c5fbf" providerId="ADAL" clId="{BD842958-C058-4E4D-9EFF-BED2C627D91A}" dt="2025-01-19T18:27:19.879" v="1260" actId="13926"/>
          <ac:spMkLst>
            <pc:docMk/>
            <pc:sldMk cId="258348270" sldId="2147482004"/>
            <ac:spMk id="10" creationId="{72264F78-FC57-B6C2-66F4-330AA06B5AB3}"/>
          </ac:spMkLst>
        </pc:spChg>
        <pc:spChg chg="add mod">
          <ac:chgData name="VANEENOGE Camille" userId="6e7f4196-225c-4d88-a65f-4b95462c5fbf" providerId="ADAL" clId="{BD842958-C058-4E4D-9EFF-BED2C627D91A}" dt="2025-01-19T18:27:19.879" v="1260" actId="13926"/>
          <ac:spMkLst>
            <pc:docMk/>
            <pc:sldMk cId="258348270" sldId="2147482004"/>
            <ac:spMk id="12" creationId="{90714842-517B-5697-5FA6-915415B81BEB}"/>
          </ac:spMkLst>
        </pc:spChg>
        <pc:spChg chg="add mod">
          <ac:chgData name="VANEENOGE Camille" userId="6e7f4196-225c-4d88-a65f-4b95462c5fbf" providerId="ADAL" clId="{BD842958-C058-4E4D-9EFF-BED2C627D91A}" dt="2025-01-19T18:27:19.879" v="1260" actId="13926"/>
          <ac:spMkLst>
            <pc:docMk/>
            <pc:sldMk cId="258348270" sldId="2147482004"/>
            <ac:spMk id="13" creationId="{FF3D1D5B-F821-F2AB-C1CC-4FDAA86F8DDE}"/>
          </ac:spMkLst>
        </pc:spChg>
        <pc:spChg chg="add mod">
          <ac:chgData name="VANEENOGE Camille" userId="6e7f4196-225c-4d88-a65f-4b95462c5fbf" providerId="ADAL" clId="{BD842958-C058-4E4D-9EFF-BED2C627D91A}" dt="2024-12-20T18:26:42.738" v="470" actId="164"/>
          <ac:spMkLst>
            <pc:docMk/>
            <pc:sldMk cId="258348270" sldId="2147482004"/>
            <ac:spMk id="14" creationId="{70384F88-A743-1E64-1D9C-B64F09550CBB}"/>
          </ac:spMkLst>
        </pc:spChg>
        <pc:spChg chg="mod topLvl">
          <ac:chgData name="VANEENOGE Camille" userId="6e7f4196-225c-4d88-a65f-4b95462c5fbf" providerId="ADAL" clId="{BD842958-C058-4E4D-9EFF-BED2C627D91A}" dt="2025-01-19T18:27:19.879" v="1260" actId="13926"/>
          <ac:spMkLst>
            <pc:docMk/>
            <pc:sldMk cId="258348270" sldId="2147482004"/>
            <ac:spMk id="16" creationId="{BD858CF2-7A50-8A61-F73E-FD4E912314B6}"/>
          </ac:spMkLst>
        </pc:spChg>
        <pc:spChg chg="mod topLvl">
          <ac:chgData name="VANEENOGE Camille" userId="6e7f4196-225c-4d88-a65f-4b95462c5fbf" providerId="ADAL" clId="{BD842958-C058-4E4D-9EFF-BED2C627D91A}" dt="2025-01-20T10:30:31.558" v="1604" actId="13926"/>
          <ac:spMkLst>
            <pc:docMk/>
            <pc:sldMk cId="258348270" sldId="2147482004"/>
            <ac:spMk id="17" creationId="{FE6A2863-9FA1-3470-097E-41AC5837C3DF}"/>
          </ac:spMkLst>
        </pc:spChg>
        <pc:spChg chg="mod">
          <ac:chgData name="VANEENOGE Camille" userId="6e7f4196-225c-4d88-a65f-4b95462c5fbf" providerId="ADAL" clId="{BD842958-C058-4E4D-9EFF-BED2C627D91A}" dt="2025-01-19T18:27:19.879" v="1260" actId="13926"/>
          <ac:spMkLst>
            <pc:docMk/>
            <pc:sldMk cId="258348270" sldId="2147482004"/>
            <ac:spMk id="18" creationId="{6E8FDC92-E272-BD5B-E84D-5572C50FAD4B}"/>
          </ac:spMkLst>
        </pc:spChg>
        <pc:spChg chg="mod topLvl">
          <ac:chgData name="VANEENOGE Camille" userId="6e7f4196-225c-4d88-a65f-4b95462c5fbf" providerId="ADAL" clId="{BD842958-C058-4E4D-9EFF-BED2C627D91A}" dt="2025-01-20T10:30:28.940" v="1603" actId="13926"/>
          <ac:spMkLst>
            <pc:docMk/>
            <pc:sldMk cId="258348270" sldId="2147482004"/>
            <ac:spMk id="21" creationId="{3A604B95-C628-6D6A-4374-81207E21C807}"/>
          </ac:spMkLst>
        </pc:spChg>
        <pc:spChg chg="mod topLvl">
          <ac:chgData name="VANEENOGE Camille" userId="6e7f4196-225c-4d88-a65f-4b95462c5fbf" providerId="ADAL" clId="{BD842958-C058-4E4D-9EFF-BED2C627D91A}" dt="2025-01-20T10:28:58.017" v="1553" actId="13926"/>
          <ac:spMkLst>
            <pc:docMk/>
            <pc:sldMk cId="258348270" sldId="2147482004"/>
            <ac:spMk id="22" creationId="{FF53CC5D-B652-7F7B-6F37-F446233F56F0}"/>
          </ac:spMkLst>
        </pc:spChg>
        <pc:spChg chg="mod">
          <ac:chgData name="VANEENOGE Camille" userId="6e7f4196-225c-4d88-a65f-4b95462c5fbf" providerId="ADAL" clId="{BD842958-C058-4E4D-9EFF-BED2C627D91A}" dt="2025-01-19T18:27:19.879" v="1260" actId="13926"/>
          <ac:spMkLst>
            <pc:docMk/>
            <pc:sldMk cId="258348270" sldId="2147482004"/>
            <ac:spMk id="23" creationId="{A3EADB2A-B16B-4577-5A31-9D9CC89B4F4E}"/>
          </ac:spMkLst>
        </pc:spChg>
        <pc:spChg chg="mod topLvl">
          <ac:chgData name="VANEENOGE Camille" userId="6e7f4196-225c-4d88-a65f-4b95462c5fbf" providerId="ADAL" clId="{BD842958-C058-4E4D-9EFF-BED2C627D91A}" dt="2025-01-19T18:27:19.879" v="1260" actId="13926"/>
          <ac:spMkLst>
            <pc:docMk/>
            <pc:sldMk cId="258348270" sldId="2147482004"/>
            <ac:spMk id="26" creationId="{58A07627-F078-DCB9-DE8F-2C548BE85094}"/>
          </ac:spMkLst>
        </pc:spChg>
        <pc:spChg chg="mod topLvl">
          <ac:chgData name="VANEENOGE Camille" userId="6e7f4196-225c-4d88-a65f-4b95462c5fbf" providerId="ADAL" clId="{BD842958-C058-4E4D-9EFF-BED2C627D91A}" dt="2024-12-20T18:26:42.738" v="470" actId="164"/>
          <ac:spMkLst>
            <pc:docMk/>
            <pc:sldMk cId="258348270" sldId="2147482004"/>
            <ac:spMk id="27" creationId="{EFF34416-2F07-E83B-D6B3-BFEF9FF12BCA}"/>
          </ac:spMkLst>
        </pc:spChg>
        <pc:spChg chg="mod">
          <ac:chgData name="VANEENOGE Camille" userId="6e7f4196-225c-4d88-a65f-4b95462c5fbf" providerId="ADAL" clId="{BD842958-C058-4E4D-9EFF-BED2C627D91A}" dt="2025-01-19T18:27:19.879" v="1260" actId="13926"/>
          <ac:spMkLst>
            <pc:docMk/>
            <pc:sldMk cId="258348270" sldId="2147482004"/>
            <ac:spMk id="28" creationId="{B211162B-3D5C-9FD1-0E15-8C375C706173}"/>
          </ac:spMkLst>
        </pc:spChg>
        <pc:grpChg chg="mod topLvl">
          <ac:chgData name="VANEENOGE Camille" userId="6e7f4196-225c-4d88-a65f-4b95462c5fbf" providerId="ADAL" clId="{BD842958-C058-4E4D-9EFF-BED2C627D91A}" dt="2024-12-20T18:26:36.087" v="469" actId="164"/>
          <ac:grpSpMkLst>
            <pc:docMk/>
            <pc:sldMk cId="258348270" sldId="2147482004"/>
            <ac:grpSpMk id="15" creationId="{E5831AD5-4632-1103-B91E-A7C78DCCA24F}"/>
          </ac:grpSpMkLst>
        </pc:grpChg>
        <pc:grpChg chg="mod topLvl">
          <ac:chgData name="VANEENOGE Camille" userId="6e7f4196-225c-4d88-a65f-4b95462c5fbf" providerId="ADAL" clId="{BD842958-C058-4E4D-9EFF-BED2C627D91A}" dt="2024-12-20T18:26:55.743" v="472" actId="164"/>
          <ac:grpSpMkLst>
            <pc:docMk/>
            <pc:sldMk cId="258348270" sldId="2147482004"/>
            <ac:grpSpMk id="20" creationId="{319B8EFC-8860-2670-69E1-94DF94A6C0B8}"/>
          </ac:grpSpMkLst>
        </pc:grpChg>
        <pc:grpChg chg="mod topLvl">
          <ac:chgData name="VANEENOGE Camille" userId="6e7f4196-225c-4d88-a65f-4b95462c5fbf" providerId="ADAL" clId="{BD842958-C058-4E4D-9EFF-BED2C627D91A}" dt="2024-12-20T18:26:42.738" v="470" actId="164"/>
          <ac:grpSpMkLst>
            <pc:docMk/>
            <pc:sldMk cId="258348270" sldId="2147482004"/>
            <ac:grpSpMk id="25" creationId="{D4D95415-1205-FFC8-7017-92670698975B}"/>
          </ac:grpSpMkLst>
        </pc:grpChg>
        <pc:grpChg chg="add mod">
          <ac:chgData name="VANEENOGE Camille" userId="6e7f4196-225c-4d88-a65f-4b95462c5fbf" providerId="ADAL" clId="{BD842958-C058-4E4D-9EFF-BED2C627D91A}" dt="2024-12-20T18:26:36.087" v="469" actId="164"/>
          <ac:grpSpMkLst>
            <pc:docMk/>
            <pc:sldMk cId="258348270" sldId="2147482004"/>
            <ac:grpSpMk id="36" creationId="{C18DE6EB-9F22-9316-A6B3-C1B930E7503C}"/>
          </ac:grpSpMkLst>
        </pc:grpChg>
        <pc:grpChg chg="add mod">
          <ac:chgData name="VANEENOGE Camille" userId="6e7f4196-225c-4d88-a65f-4b95462c5fbf" providerId="ADAL" clId="{BD842958-C058-4E4D-9EFF-BED2C627D91A}" dt="2024-12-20T18:26:42.738" v="470" actId="164"/>
          <ac:grpSpMkLst>
            <pc:docMk/>
            <pc:sldMk cId="258348270" sldId="2147482004"/>
            <ac:grpSpMk id="37" creationId="{B5627F02-6962-9889-9824-3FF66B07DD57}"/>
          </ac:grpSpMkLst>
        </pc:grpChg>
        <pc:grpChg chg="add mod">
          <ac:chgData name="VANEENOGE Camille" userId="6e7f4196-225c-4d88-a65f-4b95462c5fbf" providerId="ADAL" clId="{BD842958-C058-4E4D-9EFF-BED2C627D91A}" dt="2024-12-20T18:26:55.743" v="472" actId="164"/>
          <ac:grpSpMkLst>
            <pc:docMk/>
            <pc:sldMk cId="258348270" sldId="2147482004"/>
            <ac:grpSpMk id="38" creationId="{D4BAB596-7C70-E271-E918-169020FF4522}"/>
          </ac:grpSpMkLst>
        </pc:grpChg>
        <pc:picChg chg="mod">
          <ac:chgData name="VANEENOGE Camille" userId="6e7f4196-225c-4d88-a65f-4b95462c5fbf" providerId="ADAL" clId="{BD842958-C058-4E4D-9EFF-BED2C627D91A}" dt="2025-01-06T08:23:30.425" v="958" actId="14826"/>
          <ac:picMkLst>
            <pc:docMk/>
            <pc:sldMk cId="258348270" sldId="2147482004"/>
            <ac:picMk id="19" creationId="{2D2340EE-496F-E978-B211-2E8F2319D3C1}"/>
          </ac:picMkLst>
        </pc:picChg>
        <pc:picChg chg="mod">
          <ac:chgData name="VANEENOGE Camille" userId="6e7f4196-225c-4d88-a65f-4b95462c5fbf" providerId="ADAL" clId="{BD842958-C058-4E4D-9EFF-BED2C627D91A}" dt="2024-12-20T18:26:49.453" v="471" actId="165"/>
          <ac:picMkLst>
            <pc:docMk/>
            <pc:sldMk cId="258348270" sldId="2147482004"/>
            <ac:picMk id="24" creationId="{AEDDB790-2394-CB9F-065D-94CEDF966EDB}"/>
          </ac:picMkLst>
        </pc:picChg>
        <pc:picChg chg="mod">
          <ac:chgData name="VANEENOGE Camille" userId="6e7f4196-225c-4d88-a65f-4b95462c5fbf" providerId="ADAL" clId="{BD842958-C058-4E4D-9EFF-BED2C627D91A}" dt="2024-12-20T18:26:00.536" v="465" actId="165"/>
          <ac:picMkLst>
            <pc:docMk/>
            <pc:sldMk cId="258348270" sldId="2147482004"/>
            <ac:picMk id="29" creationId="{320765F4-5991-8EFA-4DAF-A9B85CB802C0}"/>
          </ac:picMkLst>
        </pc:picChg>
      </pc:sldChg>
      <pc:sldChg chg="del">
        <pc:chgData name="VANEENOGE Camille" userId="6e7f4196-225c-4d88-a65f-4b95462c5fbf" providerId="ADAL" clId="{BD842958-C058-4E4D-9EFF-BED2C627D91A}" dt="2025-01-06T08:16:08.520" v="950" actId="47"/>
        <pc:sldMkLst>
          <pc:docMk/>
          <pc:sldMk cId="980070838" sldId="2147482006"/>
        </pc:sldMkLst>
      </pc:sldChg>
      <pc:sldChg chg="addSp modSp mod">
        <pc:chgData name="VANEENOGE Camille" userId="6e7f4196-225c-4d88-a65f-4b95462c5fbf" providerId="ADAL" clId="{BD842958-C058-4E4D-9EFF-BED2C627D91A}" dt="2025-01-19T18:28:16.350" v="1271" actId="13926"/>
        <pc:sldMkLst>
          <pc:docMk/>
          <pc:sldMk cId="1039753401" sldId="2147482007"/>
        </pc:sldMkLst>
        <pc:spChg chg="add mod">
          <ac:chgData name="VANEENOGE Camille" userId="6e7f4196-225c-4d88-a65f-4b95462c5fbf" providerId="ADAL" clId="{BD842958-C058-4E4D-9EFF-BED2C627D91A}" dt="2025-01-19T18:28:16.350" v="1271" actId="13926"/>
          <ac:spMkLst>
            <pc:docMk/>
            <pc:sldMk cId="1039753401" sldId="2147482007"/>
            <ac:spMk id="23" creationId="{E201461C-3A72-D324-893B-8D43F7446C08}"/>
          </ac:spMkLst>
        </pc:spChg>
      </pc:sldChg>
      <pc:sldChg chg="addSp modSp mod">
        <pc:chgData name="VANEENOGE Camille" userId="6e7f4196-225c-4d88-a65f-4b95462c5fbf" providerId="ADAL" clId="{BD842958-C058-4E4D-9EFF-BED2C627D91A}" dt="2025-01-19T18:28:12.515" v="1270" actId="13926"/>
        <pc:sldMkLst>
          <pc:docMk/>
          <pc:sldMk cId="162960782" sldId="2147482014"/>
        </pc:sldMkLst>
        <pc:spChg chg="add mod">
          <ac:chgData name="VANEENOGE Camille" userId="6e7f4196-225c-4d88-a65f-4b95462c5fbf" providerId="ADAL" clId="{BD842958-C058-4E4D-9EFF-BED2C627D91A}" dt="2025-01-19T18:28:10.331" v="1269" actId="13926"/>
          <ac:spMkLst>
            <pc:docMk/>
            <pc:sldMk cId="162960782" sldId="2147482014"/>
            <ac:spMk id="5" creationId="{201FDE6A-A763-4F03-366E-52D5078F6EA7}"/>
          </ac:spMkLst>
        </pc:spChg>
        <pc:spChg chg="mod">
          <ac:chgData name="VANEENOGE Camille" userId="6e7f4196-225c-4d88-a65f-4b95462c5fbf" providerId="ADAL" clId="{BD842958-C058-4E4D-9EFF-BED2C627D91A}" dt="2025-01-19T18:28:12.515" v="1270" actId="13926"/>
          <ac:spMkLst>
            <pc:docMk/>
            <pc:sldMk cId="162960782" sldId="2147482014"/>
            <ac:spMk id="11" creationId="{A78AA04E-E4D8-652F-C37A-815528674588}"/>
          </ac:spMkLst>
        </pc:spChg>
      </pc:sldChg>
      <pc:sldChg chg="addSp modSp mod">
        <pc:chgData name="VANEENOGE Camille" userId="6e7f4196-225c-4d88-a65f-4b95462c5fbf" providerId="ADAL" clId="{BD842958-C058-4E4D-9EFF-BED2C627D91A}" dt="2025-01-19T18:28:53.807" v="1279" actId="13926"/>
        <pc:sldMkLst>
          <pc:docMk/>
          <pc:sldMk cId="4187097854" sldId="2147482016"/>
        </pc:sldMkLst>
        <pc:spChg chg="add mod">
          <ac:chgData name="VANEENOGE Camille" userId="6e7f4196-225c-4d88-a65f-4b95462c5fbf" providerId="ADAL" clId="{BD842958-C058-4E4D-9EFF-BED2C627D91A}" dt="2025-01-19T18:28:53.807" v="1279" actId="13926"/>
          <ac:spMkLst>
            <pc:docMk/>
            <pc:sldMk cId="4187097854" sldId="2147482016"/>
            <ac:spMk id="4" creationId="{B3271D4B-91D5-F490-34C2-0DDAE74DCD68}"/>
          </ac:spMkLst>
        </pc:spChg>
      </pc:sldChg>
      <pc:sldChg chg="modSp mod">
        <pc:chgData name="VANEENOGE Camille" userId="6e7f4196-225c-4d88-a65f-4b95462c5fbf" providerId="ADAL" clId="{BD842958-C058-4E4D-9EFF-BED2C627D91A}" dt="2025-01-19T18:29:00.971" v="1280" actId="13926"/>
        <pc:sldMkLst>
          <pc:docMk/>
          <pc:sldMk cId="428757134" sldId="2147482017"/>
        </pc:sldMkLst>
        <pc:graphicFrameChg chg="mod modGraphic">
          <ac:chgData name="VANEENOGE Camille" userId="6e7f4196-225c-4d88-a65f-4b95462c5fbf" providerId="ADAL" clId="{BD842958-C058-4E4D-9EFF-BED2C627D91A}" dt="2025-01-19T18:29:00.971" v="1280" actId="13926"/>
          <ac:graphicFrameMkLst>
            <pc:docMk/>
            <pc:sldMk cId="428757134" sldId="2147482017"/>
            <ac:graphicFrameMk id="14" creationId="{E8758298-8DAC-B4C3-CD5D-95B53529EF23}"/>
          </ac:graphicFrameMkLst>
        </pc:graphicFrameChg>
      </pc:sldChg>
      <pc:sldChg chg="addSp delSp modSp mod">
        <pc:chgData name="VANEENOGE Camille" userId="6e7f4196-225c-4d88-a65f-4b95462c5fbf" providerId="ADAL" clId="{BD842958-C058-4E4D-9EFF-BED2C627D91A}" dt="2025-01-20T10:31:27.866" v="1618" actId="13926"/>
        <pc:sldMkLst>
          <pc:docMk/>
          <pc:sldMk cId="3509200503" sldId="2147482019"/>
        </pc:sldMkLst>
        <pc:spChg chg="mod">
          <ac:chgData name="VANEENOGE Camille" userId="6e7f4196-225c-4d88-a65f-4b95462c5fbf" providerId="ADAL" clId="{BD842958-C058-4E4D-9EFF-BED2C627D91A}" dt="2024-12-20T18:37:55.533" v="627" actId="165"/>
          <ac:spMkLst>
            <pc:docMk/>
            <pc:sldMk cId="3509200503" sldId="2147482019"/>
            <ac:spMk id="13" creationId="{43F01042-BB90-A787-8308-5DECFBD06578}"/>
          </ac:spMkLst>
        </pc:spChg>
        <pc:spChg chg="mod">
          <ac:chgData name="VANEENOGE Camille" userId="6e7f4196-225c-4d88-a65f-4b95462c5fbf" providerId="ADAL" clId="{BD842958-C058-4E4D-9EFF-BED2C627D91A}" dt="2024-12-20T18:37:55.533" v="627" actId="165"/>
          <ac:spMkLst>
            <pc:docMk/>
            <pc:sldMk cId="3509200503" sldId="2147482019"/>
            <ac:spMk id="15" creationId="{553E8535-FC41-4B72-D912-0E9CB445F29C}"/>
          </ac:spMkLst>
        </pc:spChg>
        <pc:spChg chg="mod">
          <ac:chgData name="VANEENOGE Camille" userId="6e7f4196-225c-4d88-a65f-4b95462c5fbf" providerId="ADAL" clId="{BD842958-C058-4E4D-9EFF-BED2C627D91A}" dt="2024-12-20T18:37:55.533" v="627" actId="165"/>
          <ac:spMkLst>
            <pc:docMk/>
            <pc:sldMk cId="3509200503" sldId="2147482019"/>
            <ac:spMk id="17" creationId="{F24431E3-EE56-C9CF-72FB-9FF59159C9B4}"/>
          </ac:spMkLst>
        </pc:spChg>
        <pc:spChg chg="mod">
          <ac:chgData name="VANEENOGE Camille" userId="6e7f4196-225c-4d88-a65f-4b95462c5fbf" providerId="ADAL" clId="{BD842958-C058-4E4D-9EFF-BED2C627D91A}" dt="2024-12-20T18:37:55.533" v="627" actId="165"/>
          <ac:spMkLst>
            <pc:docMk/>
            <pc:sldMk cId="3509200503" sldId="2147482019"/>
            <ac:spMk id="18" creationId="{3F01CCDB-6207-E4F6-22EA-2D1E4578BE4B}"/>
          </ac:spMkLst>
        </pc:spChg>
        <pc:spChg chg="mod topLvl">
          <ac:chgData name="VANEENOGE Camille" userId="6e7f4196-225c-4d88-a65f-4b95462c5fbf" providerId="ADAL" clId="{BD842958-C058-4E4D-9EFF-BED2C627D91A}" dt="2025-01-20T10:31:27.866" v="1618" actId="13926"/>
          <ac:spMkLst>
            <pc:docMk/>
            <pc:sldMk cId="3509200503" sldId="2147482019"/>
            <ac:spMk id="20" creationId="{E4461FF9-ADFF-6079-461C-FAFB3F620747}"/>
          </ac:spMkLst>
        </pc:spChg>
        <pc:spChg chg="mod topLvl">
          <ac:chgData name="VANEENOGE Camille" userId="6e7f4196-225c-4d88-a65f-4b95462c5fbf" providerId="ADAL" clId="{BD842958-C058-4E4D-9EFF-BED2C627D91A}" dt="2025-01-20T10:29:54.717" v="1592" actId="13926"/>
          <ac:spMkLst>
            <pc:docMk/>
            <pc:sldMk cId="3509200503" sldId="2147482019"/>
            <ac:spMk id="21" creationId="{86BA3914-344A-4281-9737-F2753E969782}"/>
          </ac:spMkLst>
        </pc:spChg>
        <pc:spChg chg="mod">
          <ac:chgData name="VANEENOGE Camille" userId="6e7f4196-225c-4d88-a65f-4b95462c5fbf" providerId="ADAL" clId="{BD842958-C058-4E4D-9EFF-BED2C627D91A}" dt="2025-01-19T18:27:24.500" v="1261" actId="13926"/>
          <ac:spMkLst>
            <pc:docMk/>
            <pc:sldMk cId="3509200503" sldId="2147482019"/>
            <ac:spMk id="23" creationId="{BBA1F702-13DB-4911-B517-8BA6BF6A4BDD}"/>
          </ac:spMkLst>
        </pc:spChg>
        <pc:spChg chg="mod topLvl">
          <ac:chgData name="VANEENOGE Camille" userId="6e7f4196-225c-4d88-a65f-4b95462c5fbf" providerId="ADAL" clId="{BD842958-C058-4E4D-9EFF-BED2C627D91A}" dt="2025-01-19T18:27:24.500" v="1261" actId="13926"/>
          <ac:spMkLst>
            <pc:docMk/>
            <pc:sldMk cId="3509200503" sldId="2147482019"/>
            <ac:spMk id="26" creationId="{89328BA3-49B7-3153-10D1-4AA77449E83E}"/>
          </ac:spMkLst>
        </pc:spChg>
        <pc:spChg chg="mod topLvl">
          <ac:chgData name="VANEENOGE Camille" userId="6e7f4196-225c-4d88-a65f-4b95462c5fbf" providerId="ADAL" clId="{BD842958-C058-4E4D-9EFF-BED2C627D91A}" dt="2025-01-19T18:27:24.500" v="1261" actId="13926"/>
          <ac:spMkLst>
            <pc:docMk/>
            <pc:sldMk cId="3509200503" sldId="2147482019"/>
            <ac:spMk id="27" creationId="{6C2A6AB4-560A-B298-3EA5-26B6A3837073}"/>
          </ac:spMkLst>
        </pc:spChg>
        <pc:spChg chg="mod">
          <ac:chgData name="VANEENOGE Camille" userId="6e7f4196-225c-4d88-a65f-4b95462c5fbf" providerId="ADAL" clId="{BD842958-C058-4E4D-9EFF-BED2C627D91A}" dt="2025-01-19T18:27:24.500" v="1261" actId="13926"/>
          <ac:spMkLst>
            <pc:docMk/>
            <pc:sldMk cId="3509200503" sldId="2147482019"/>
            <ac:spMk id="30" creationId="{0535088C-A2F2-18D6-0095-7F21B15A0A95}"/>
          </ac:spMkLst>
        </pc:spChg>
        <pc:spChg chg="mod">
          <ac:chgData name="VANEENOGE Camille" userId="6e7f4196-225c-4d88-a65f-4b95462c5fbf" providerId="ADAL" clId="{BD842958-C058-4E4D-9EFF-BED2C627D91A}" dt="2025-01-19T18:27:37.083" v="1262" actId="13926"/>
          <ac:spMkLst>
            <pc:docMk/>
            <pc:sldMk cId="3509200503" sldId="2147482019"/>
            <ac:spMk id="36" creationId="{F2508D23-3B1A-6221-4FC4-F86E2FA6EC10}"/>
          </ac:spMkLst>
        </pc:spChg>
        <pc:spChg chg="mod">
          <ac:chgData name="VANEENOGE Camille" userId="6e7f4196-225c-4d88-a65f-4b95462c5fbf" providerId="ADAL" clId="{BD842958-C058-4E4D-9EFF-BED2C627D91A}" dt="2025-01-19T18:27:37.083" v="1262" actId="13926"/>
          <ac:spMkLst>
            <pc:docMk/>
            <pc:sldMk cId="3509200503" sldId="2147482019"/>
            <ac:spMk id="41" creationId="{DC0CB1D5-966F-5588-5A89-7352EA84611F}"/>
          </ac:spMkLst>
        </pc:spChg>
        <pc:spChg chg="mod">
          <ac:chgData name="VANEENOGE Camille" userId="6e7f4196-225c-4d88-a65f-4b95462c5fbf" providerId="ADAL" clId="{BD842958-C058-4E4D-9EFF-BED2C627D91A}" dt="2025-01-19T18:27:37.083" v="1262" actId="13926"/>
          <ac:spMkLst>
            <pc:docMk/>
            <pc:sldMk cId="3509200503" sldId="2147482019"/>
            <ac:spMk id="42" creationId="{4BA81582-F3D4-4368-058B-B2F016903D7B}"/>
          </ac:spMkLst>
        </pc:spChg>
        <pc:spChg chg="mod">
          <ac:chgData name="VANEENOGE Camille" userId="6e7f4196-225c-4d88-a65f-4b95462c5fbf" providerId="ADAL" clId="{BD842958-C058-4E4D-9EFF-BED2C627D91A}" dt="2025-01-19T18:27:37.083" v="1262" actId="13926"/>
          <ac:spMkLst>
            <pc:docMk/>
            <pc:sldMk cId="3509200503" sldId="2147482019"/>
            <ac:spMk id="44" creationId="{F689E3C8-85EF-73DB-6B90-7E757A869DE0}"/>
          </ac:spMkLst>
        </pc:spChg>
        <pc:spChg chg="mod">
          <ac:chgData name="VANEENOGE Camille" userId="6e7f4196-225c-4d88-a65f-4b95462c5fbf" providerId="ADAL" clId="{BD842958-C058-4E4D-9EFF-BED2C627D91A}" dt="2025-01-19T18:27:37.083" v="1262" actId="13926"/>
          <ac:spMkLst>
            <pc:docMk/>
            <pc:sldMk cId="3509200503" sldId="2147482019"/>
            <ac:spMk id="45" creationId="{5B012DD2-31B3-F3FB-BE6E-05B638744D0E}"/>
          </ac:spMkLst>
        </pc:spChg>
        <pc:spChg chg="mod">
          <ac:chgData name="VANEENOGE Camille" userId="6e7f4196-225c-4d88-a65f-4b95462c5fbf" providerId="ADAL" clId="{BD842958-C058-4E4D-9EFF-BED2C627D91A}" dt="2025-01-19T18:27:37.083" v="1262" actId="13926"/>
          <ac:spMkLst>
            <pc:docMk/>
            <pc:sldMk cId="3509200503" sldId="2147482019"/>
            <ac:spMk id="48" creationId="{EE8BD97A-A712-B66D-B52D-77ACA667D12C}"/>
          </ac:spMkLst>
        </pc:spChg>
        <pc:spChg chg="mod">
          <ac:chgData name="VANEENOGE Camille" userId="6e7f4196-225c-4d88-a65f-4b95462c5fbf" providerId="ADAL" clId="{BD842958-C058-4E4D-9EFF-BED2C627D91A}" dt="2025-01-19T18:27:37.083" v="1262" actId="13926"/>
          <ac:spMkLst>
            <pc:docMk/>
            <pc:sldMk cId="3509200503" sldId="2147482019"/>
            <ac:spMk id="49" creationId="{638449EC-BA35-C052-2D5F-E6D207EE5C79}"/>
          </ac:spMkLst>
        </pc:spChg>
        <pc:spChg chg="mod">
          <ac:chgData name="VANEENOGE Camille" userId="6e7f4196-225c-4d88-a65f-4b95462c5fbf" providerId="ADAL" clId="{BD842958-C058-4E4D-9EFF-BED2C627D91A}" dt="2025-01-19T18:27:37.083" v="1262" actId="13926"/>
          <ac:spMkLst>
            <pc:docMk/>
            <pc:sldMk cId="3509200503" sldId="2147482019"/>
            <ac:spMk id="50" creationId="{CF98BF53-B1F4-97DB-C181-3670D757EEF8}"/>
          </ac:spMkLst>
        </pc:spChg>
        <pc:spChg chg="mod">
          <ac:chgData name="VANEENOGE Camille" userId="6e7f4196-225c-4d88-a65f-4b95462c5fbf" providerId="ADAL" clId="{BD842958-C058-4E4D-9EFF-BED2C627D91A}" dt="2025-01-19T18:27:37.083" v="1262" actId="13926"/>
          <ac:spMkLst>
            <pc:docMk/>
            <pc:sldMk cId="3509200503" sldId="2147482019"/>
            <ac:spMk id="52" creationId="{FEA1BBD2-9FEB-9826-19BB-624625965179}"/>
          </ac:spMkLst>
        </pc:spChg>
        <pc:spChg chg="mod">
          <ac:chgData name="VANEENOGE Camille" userId="6e7f4196-225c-4d88-a65f-4b95462c5fbf" providerId="ADAL" clId="{BD842958-C058-4E4D-9EFF-BED2C627D91A}" dt="2025-01-19T18:27:37.083" v="1262" actId="13926"/>
          <ac:spMkLst>
            <pc:docMk/>
            <pc:sldMk cId="3509200503" sldId="2147482019"/>
            <ac:spMk id="53" creationId="{B1913941-D025-9807-F679-A76F16C69440}"/>
          </ac:spMkLst>
        </pc:spChg>
        <pc:spChg chg="mod topLvl">
          <ac:chgData name="VANEENOGE Camille" userId="6e7f4196-225c-4d88-a65f-4b95462c5fbf" providerId="ADAL" clId="{BD842958-C058-4E4D-9EFF-BED2C627D91A}" dt="2025-01-19T18:27:24.500" v="1261" actId="13926"/>
          <ac:spMkLst>
            <pc:docMk/>
            <pc:sldMk cId="3509200503" sldId="2147482019"/>
            <ac:spMk id="61" creationId="{71A58203-A04E-AC35-A769-A154C8A2D8AB}"/>
          </ac:spMkLst>
        </pc:spChg>
        <pc:spChg chg="mod topLvl">
          <ac:chgData name="VANEENOGE Camille" userId="6e7f4196-225c-4d88-a65f-4b95462c5fbf" providerId="ADAL" clId="{BD842958-C058-4E4D-9EFF-BED2C627D91A}" dt="2025-01-19T18:27:24.500" v="1261" actId="13926"/>
          <ac:spMkLst>
            <pc:docMk/>
            <pc:sldMk cId="3509200503" sldId="2147482019"/>
            <ac:spMk id="62" creationId="{8E0EBF56-7400-C4FC-6600-625293E524CE}"/>
          </ac:spMkLst>
        </pc:spChg>
        <pc:spChg chg="mod">
          <ac:chgData name="VANEENOGE Camille" userId="6e7f4196-225c-4d88-a65f-4b95462c5fbf" providerId="ADAL" clId="{BD842958-C058-4E4D-9EFF-BED2C627D91A}" dt="2025-01-19T18:27:24.500" v="1261" actId="13926"/>
          <ac:spMkLst>
            <pc:docMk/>
            <pc:sldMk cId="3509200503" sldId="2147482019"/>
            <ac:spMk id="64" creationId="{5283049A-264B-06BE-3836-B4E2018E30BC}"/>
          </ac:spMkLst>
        </pc:spChg>
        <pc:grpChg chg="add mod">
          <ac:chgData name="VANEENOGE Camille" userId="6e7f4196-225c-4d88-a65f-4b95462c5fbf" providerId="ADAL" clId="{BD842958-C058-4E4D-9EFF-BED2C627D91A}" dt="2024-12-20T18:27:36.449" v="476" actId="164"/>
          <ac:grpSpMkLst>
            <pc:docMk/>
            <pc:sldMk cId="3509200503" sldId="2147482019"/>
            <ac:grpSpMk id="4" creationId="{35674A36-7143-E64B-6D83-DBFD2F3DDA8F}"/>
          </ac:grpSpMkLst>
        </pc:grpChg>
        <pc:grpChg chg="mod topLvl">
          <ac:chgData name="VANEENOGE Camille" userId="6e7f4196-225c-4d88-a65f-4b95462c5fbf" providerId="ADAL" clId="{BD842958-C058-4E4D-9EFF-BED2C627D91A}" dt="2024-12-20T18:37:55.533" v="627" actId="165"/>
          <ac:grpSpMkLst>
            <pc:docMk/>
            <pc:sldMk cId="3509200503" sldId="2147482019"/>
            <ac:grpSpMk id="10" creationId="{41FD4C3D-C6C1-9A0A-04CC-0429E5F0AE44}"/>
          </ac:grpSpMkLst>
        </pc:grpChg>
        <pc:grpChg chg="mod topLvl">
          <ac:chgData name="VANEENOGE Camille" userId="6e7f4196-225c-4d88-a65f-4b95462c5fbf" providerId="ADAL" clId="{BD842958-C058-4E4D-9EFF-BED2C627D91A}" dt="2024-12-20T18:37:55.533" v="627" actId="165"/>
          <ac:grpSpMkLst>
            <pc:docMk/>
            <pc:sldMk cId="3509200503" sldId="2147482019"/>
            <ac:grpSpMk id="11" creationId="{AC298C31-B2E9-2888-5722-A37E641DF85A}"/>
          </ac:grpSpMkLst>
        </pc:grpChg>
        <pc:grpChg chg="mod">
          <ac:chgData name="VANEENOGE Camille" userId="6e7f4196-225c-4d88-a65f-4b95462c5fbf" providerId="ADAL" clId="{BD842958-C058-4E4D-9EFF-BED2C627D91A}" dt="2024-12-20T18:37:55.533" v="627" actId="165"/>
          <ac:grpSpMkLst>
            <pc:docMk/>
            <pc:sldMk cId="3509200503" sldId="2147482019"/>
            <ac:grpSpMk id="14" creationId="{FDBCEF86-98F9-73EC-A334-6A1F69F4D83D}"/>
          </ac:grpSpMkLst>
        </pc:grpChg>
        <pc:grpChg chg="mod topLvl">
          <ac:chgData name="VANEENOGE Camille" userId="6e7f4196-225c-4d88-a65f-4b95462c5fbf" providerId="ADAL" clId="{BD842958-C058-4E4D-9EFF-BED2C627D91A}" dt="2024-12-20T18:27:36.449" v="476" actId="164"/>
          <ac:grpSpMkLst>
            <pc:docMk/>
            <pc:sldMk cId="3509200503" sldId="2147482019"/>
            <ac:grpSpMk id="22" creationId="{05785DC0-0DF3-FBE8-AA3E-EF9C46567D49}"/>
          </ac:grpSpMkLst>
        </pc:grpChg>
        <pc:grpChg chg="mod topLvl">
          <ac:chgData name="VANEENOGE Camille" userId="6e7f4196-225c-4d88-a65f-4b95462c5fbf" providerId="ADAL" clId="{BD842958-C058-4E4D-9EFF-BED2C627D91A}" dt="2024-12-20T18:37:55.533" v="627" actId="165"/>
          <ac:grpSpMkLst>
            <pc:docMk/>
            <pc:sldMk cId="3509200503" sldId="2147482019"/>
            <ac:grpSpMk id="28" creationId="{586884E8-0929-D4A3-9AAC-2D03C450FF91}"/>
          </ac:grpSpMkLst>
        </pc:grpChg>
        <pc:grpChg chg="mod topLvl">
          <ac:chgData name="VANEENOGE Camille" userId="6e7f4196-225c-4d88-a65f-4b95462c5fbf" providerId="ADAL" clId="{BD842958-C058-4E4D-9EFF-BED2C627D91A}" dt="2024-12-20T18:37:55.533" v="627" actId="165"/>
          <ac:grpSpMkLst>
            <pc:docMk/>
            <pc:sldMk cId="3509200503" sldId="2147482019"/>
            <ac:grpSpMk id="63" creationId="{802DB91C-7271-5B54-813A-266247CFE7B6}"/>
          </ac:grpSpMkLst>
        </pc:grpChg>
        <pc:picChg chg="mod">
          <ac:chgData name="VANEENOGE Camille" userId="6e7f4196-225c-4d88-a65f-4b95462c5fbf" providerId="ADAL" clId="{BD842958-C058-4E4D-9EFF-BED2C627D91A}" dt="2024-12-20T18:37:55.533" v="627" actId="165"/>
          <ac:picMkLst>
            <pc:docMk/>
            <pc:sldMk cId="3509200503" sldId="2147482019"/>
            <ac:picMk id="16" creationId="{6BB33862-C929-6D33-2FD7-013894F00143}"/>
          </ac:picMkLst>
        </pc:picChg>
        <pc:picChg chg="mod">
          <ac:chgData name="VANEENOGE Camille" userId="6e7f4196-225c-4d88-a65f-4b95462c5fbf" providerId="ADAL" clId="{BD842958-C058-4E4D-9EFF-BED2C627D91A}" dt="2024-12-20T18:27:05.246" v="473" actId="165"/>
          <ac:picMkLst>
            <pc:docMk/>
            <pc:sldMk cId="3509200503" sldId="2147482019"/>
            <ac:picMk id="24" creationId="{BB1EB561-4264-81FD-2247-A7DA7A2DBDB0}"/>
          </ac:picMkLst>
        </pc:picChg>
        <pc:picChg chg="mod">
          <ac:chgData name="VANEENOGE Camille" userId="6e7f4196-225c-4d88-a65f-4b95462c5fbf" providerId="ADAL" clId="{BD842958-C058-4E4D-9EFF-BED2C627D91A}" dt="2024-12-20T18:37:55.533" v="627" actId="165"/>
          <ac:picMkLst>
            <pc:docMk/>
            <pc:sldMk cId="3509200503" sldId="2147482019"/>
            <ac:picMk id="31" creationId="{166B17BF-45FC-77B6-13E0-0D96369978FC}"/>
          </ac:picMkLst>
        </pc:picChg>
        <pc:picChg chg="mod">
          <ac:chgData name="VANEENOGE Camille" userId="6e7f4196-225c-4d88-a65f-4b95462c5fbf" providerId="ADAL" clId="{BD842958-C058-4E4D-9EFF-BED2C627D91A}" dt="2024-12-20T18:37:55.533" v="627" actId="165"/>
          <ac:picMkLst>
            <pc:docMk/>
            <pc:sldMk cId="3509200503" sldId="2147482019"/>
            <ac:picMk id="65" creationId="{7D0E5C10-52C0-CE30-E42E-61F8B6F87111}"/>
          </ac:picMkLst>
        </pc:picChg>
      </pc:sldChg>
      <pc:sldChg chg="new del">
        <pc:chgData name="VANEENOGE Camille" userId="6e7f4196-225c-4d88-a65f-4b95462c5fbf" providerId="ADAL" clId="{BD842958-C058-4E4D-9EFF-BED2C627D91A}" dt="2024-12-20T17:33:19.208" v="123" actId="47"/>
        <pc:sldMkLst>
          <pc:docMk/>
          <pc:sldMk cId="3314814973" sldId="2147482025"/>
        </pc:sldMkLst>
      </pc:sldChg>
      <pc:sldChg chg="delSp modSp add del mod">
        <pc:chgData name="VANEENOGE Camille" userId="6e7f4196-225c-4d88-a65f-4b95462c5fbf" providerId="ADAL" clId="{BD842958-C058-4E4D-9EFF-BED2C627D91A}" dt="2024-12-20T17:57:50.896" v="303" actId="47"/>
        <pc:sldMkLst>
          <pc:docMk/>
          <pc:sldMk cId="3315580023" sldId="2147482026"/>
        </pc:sldMkLst>
      </pc:sldChg>
      <pc:sldChg chg="addSp delSp modSp add mod">
        <pc:chgData name="VANEENOGE Camille" userId="6e7f4196-225c-4d88-a65f-4b95462c5fbf" providerId="ADAL" clId="{BD842958-C058-4E4D-9EFF-BED2C627D91A}" dt="2025-01-19T18:43:09.778" v="1531" actId="1035"/>
        <pc:sldMkLst>
          <pc:docMk/>
          <pc:sldMk cId="691075873" sldId="2147482027"/>
        </pc:sldMkLst>
        <pc:spChg chg="mod">
          <ac:chgData name="VANEENOGE Camille" userId="6e7f4196-225c-4d88-a65f-4b95462c5fbf" providerId="ADAL" clId="{BD842958-C058-4E4D-9EFF-BED2C627D91A}" dt="2025-01-19T18:43:09.778" v="1531" actId="1035"/>
          <ac:spMkLst>
            <pc:docMk/>
            <pc:sldMk cId="691075873" sldId="2147482027"/>
            <ac:spMk id="2" creationId="{1A425188-6714-B8A2-7B46-BD64B5B0F04D}"/>
          </ac:spMkLst>
        </pc:spChg>
        <pc:spChg chg="mod topLvl">
          <ac:chgData name="VANEENOGE Camille" userId="6e7f4196-225c-4d88-a65f-4b95462c5fbf" providerId="ADAL" clId="{BD842958-C058-4E4D-9EFF-BED2C627D91A}" dt="2025-01-19T18:35:32.874" v="1348" actId="165"/>
          <ac:spMkLst>
            <pc:docMk/>
            <pc:sldMk cId="691075873" sldId="2147482027"/>
            <ac:spMk id="5" creationId="{9795E040-5F71-E925-015E-6FDA5467A7DE}"/>
          </ac:spMkLst>
        </pc:spChg>
        <pc:spChg chg="add del mod">
          <ac:chgData name="VANEENOGE Camille" userId="6e7f4196-225c-4d88-a65f-4b95462c5fbf" providerId="ADAL" clId="{BD842958-C058-4E4D-9EFF-BED2C627D91A}" dt="2025-01-19T18:41:22.582" v="1523" actId="12789"/>
          <ac:spMkLst>
            <pc:docMk/>
            <pc:sldMk cId="691075873" sldId="2147482027"/>
            <ac:spMk id="6" creationId="{AE46592D-02BF-F799-E21F-555C4E92B496}"/>
          </ac:spMkLst>
        </pc:spChg>
        <pc:spChg chg="add mod">
          <ac:chgData name="VANEENOGE Camille" userId="6e7f4196-225c-4d88-a65f-4b95462c5fbf" providerId="ADAL" clId="{BD842958-C058-4E4D-9EFF-BED2C627D91A}" dt="2025-01-19T18:42:35.692" v="1526" actId="1076"/>
          <ac:spMkLst>
            <pc:docMk/>
            <pc:sldMk cId="691075873" sldId="2147482027"/>
            <ac:spMk id="11" creationId="{FAF00FEE-BD18-43B6-FB7C-6032703B1235}"/>
          </ac:spMkLst>
        </pc:spChg>
        <pc:spChg chg="add mod">
          <ac:chgData name="VANEENOGE Camille" userId="6e7f4196-225c-4d88-a65f-4b95462c5fbf" providerId="ADAL" clId="{BD842958-C058-4E4D-9EFF-BED2C627D91A}" dt="2025-01-19T18:41:09.610" v="1519" actId="1035"/>
          <ac:spMkLst>
            <pc:docMk/>
            <pc:sldMk cId="691075873" sldId="2147482027"/>
            <ac:spMk id="14" creationId="{9CB8713B-C583-FC50-22BB-142B363068F3}"/>
          </ac:spMkLst>
        </pc:spChg>
        <pc:spChg chg="add mod">
          <ac:chgData name="VANEENOGE Camille" userId="6e7f4196-225c-4d88-a65f-4b95462c5fbf" providerId="ADAL" clId="{BD842958-C058-4E4D-9EFF-BED2C627D91A}" dt="2024-12-20T17:53:43.721" v="249"/>
          <ac:spMkLst>
            <pc:docMk/>
            <pc:sldMk cId="691075873" sldId="2147482027"/>
            <ac:spMk id="18" creationId="{C008E4EE-4521-7E17-37F4-4A17E2F45257}"/>
          </ac:spMkLst>
        </pc:spChg>
        <pc:spChg chg="mod">
          <ac:chgData name="VANEENOGE Camille" userId="6e7f4196-225c-4d88-a65f-4b95462c5fbf" providerId="ADAL" clId="{BD842958-C058-4E4D-9EFF-BED2C627D91A}" dt="2024-12-20T17:53:59.826" v="250" actId="20577"/>
          <ac:spMkLst>
            <pc:docMk/>
            <pc:sldMk cId="691075873" sldId="2147482027"/>
            <ac:spMk id="19" creationId="{83FF211C-24B9-3760-E0B5-1C0B47D6BD60}"/>
          </ac:spMkLst>
        </pc:spChg>
        <pc:spChg chg="mod topLvl">
          <ac:chgData name="VANEENOGE Camille" userId="6e7f4196-225c-4d88-a65f-4b95462c5fbf" providerId="ADAL" clId="{BD842958-C058-4E4D-9EFF-BED2C627D91A}" dt="2025-01-19T18:42:53.799" v="1528" actId="165"/>
          <ac:spMkLst>
            <pc:docMk/>
            <pc:sldMk cId="691075873" sldId="2147482027"/>
            <ac:spMk id="21" creationId="{1B0B08ED-D740-1DB6-8C6B-A3358AF4C978}"/>
          </ac:spMkLst>
        </pc:spChg>
        <pc:spChg chg="mod topLvl">
          <ac:chgData name="VANEENOGE Camille" userId="6e7f4196-225c-4d88-a65f-4b95462c5fbf" providerId="ADAL" clId="{BD842958-C058-4E4D-9EFF-BED2C627D91A}" dt="2025-01-19T18:42:53.799" v="1528" actId="165"/>
          <ac:spMkLst>
            <pc:docMk/>
            <pc:sldMk cId="691075873" sldId="2147482027"/>
            <ac:spMk id="23" creationId="{44CC402F-6F51-3C94-0855-E56E22403CAF}"/>
          </ac:spMkLst>
        </pc:spChg>
        <pc:spChg chg="mod topLvl">
          <ac:chgData name="VANEENOGE Camille" userId="6e7f4196-225c-4d88-a65f-4b95462c5fbf" providerId="ADAL" clId="{BD842958-C058-4E4D-9EFF-BED2C627D91A}" dt="2025-01-19T18:43:09.778" v="1531" actId="1035"/>
          <ac:spMkLst>
            <pc:docMk/>
            <pc:sldMk cId="691075873" sldId="2147482027"/>
            <ac:spMk id="24" creationId="{C48446BE-479D-43F5-B078-5605B3A5E810}"/>
          </ac:spMkLst>
        </pc:spChg>
        <pc:spChg chg="mod topLvl">
          <ac:chgData name="VANEENOGE Camille" userId="6e7f4196-225c-4d88-a65f-4b95462c5fbf" providerId="ADAL" clId="{BD842958-C058-4E4D-9EFF-BED2C627D91A}" dt="2025-01-19T18:43:09.778" v="1531" actId="1035"/>
          <ac:spMkLst>
            <pc:docMk/>
            <pc:sldMk cId="691075873" sldId="2147482027"/>
            <ac:spMk id="25" creationId="{136F9F6A-A6A7-EAB1-2739-F7FB9651FFE1}"/>
          </ac:spMkLst>
        </pc:spChg>
        <pc:spChg chg="mod topLvl">
          <ac:chgData name="VANEENOGE Camille" userId="6e7f4196-225c-4d88-a65f-4b95462c5fbf" providerId="ADAL" clId="{BD842958-C058-4E4D-9EFF-BED2C627D91A}" dt="2025-01-19T18:43:09.778" v="1531" actId="1035"/>
          <ac:spMkLst>
            <pc:docMk/>
            <pc:sldMk cId="691075873" sldId="2147482027"/>
            <ac:spMk id="26" creationId="{E3C87FB0-B2C8-8642-24EF-30DEAEFF4615}"/>
          </ac:spMkLst>
        </pc:spChg>
        <pc:spChg chg="mod">
          <ac:chgData name="VANEENOGE Camille" userId="6e7f4196-225c-4d88-a65f-4b95462c5fbf" providerId="ADAL" clId="{BD842958-C058-4E4D-9EFF-BED2C627D91A}" dt="2025-01-19T18:43:09.778" v="1531" actId="1035"/>
          <ac:spMkLst>
            <pc:docMk/>
            <pc:sldMk cId="691075873" sldId="2147482027"/>
            <ac:spMk id="32" creationId="{38C7A123-2B0C-38CB-8D8F-704C4F6E6888}"/>
          </ac:spMkLst>
        </pc:spChg>
        <pc:spChg chg="mod topLvl">
          <ac:chgData name="VANEENOGE Camille" userId="6e7f4196-225c-4d88-a65f-4b95462c5fbf" providerId="ADAL" clId="{BD842958-C058-4E4D-9EFF-BED2C627D91A}" dt="2025-01-19T18:35:32.874" v="1348" actId="165"/>
          <ac:spMkLst>
            <pc:docMk/>
            <pc:sldMk cId="691075873" sldId="2147482027"/>
            <ac:spMk id="37" creationId="{E9F51B79-0874-C076-D760-B39CDDD678AB}"/>
          </ac:spMkLst>
        </pc:spChg>
        <pc:spChg chg="add mod">
          <ac:chgData name="VANEENOGE Camille" userId="6e7f4196-225c-4d88-a65f-4b95462c5fbf" providerId="ADAL" clId="{BD842958-C058-4E4D-9EFF-BED2C627D91A}" dt="2025-01-19T18:38:25.015" v="1458" actId="13926"/>
          <ac:spMkLst>
            <pc:docMk/>
            <pc:sldMk cId="691075873" sldId="2147482027"/>
            <ac:spMk id="39" creationId="{030827DA-595E-7284-3233-C1000A12BA52}"/>
          </ac:spMkLst>
        </pc:spChg>
        <pc:spChg chg="mod topLvl">
          <ac:chgData name="VANEENOGE Camille" userId="6e7f4196-225c-4d88-a65f-4b95462c5fbf" providerId="ADAL" clId="{BD842958-C058-4E4D-9EFF-BED2C627D91A}" dt="2025-01-19T18:42:53.799" v="1528" actId="165"/>
          <ac:spMkLst>
            <pc:docMk/>
            <pc:sldMk cId="691075873" sldId="2147482027"/>
            <ac:spMk id="40" creationId="{59334AA8-56EB-969E-6CF5-73F04762A7BD}"/>
          </ac:spMkLst>
        </pc:spChg>
        <pc:spChg chg="add mod">
          <ac:chgData name="VANEENOGE Camille" userId="6e7f4196-225c-4d88-a65f-4b95462c5fbf" providerId="ADAL" clId="{BD842958-C058-4E4D-9EFF-BED2C627D91A}" dt="2025-01-19T18:38:25.015" v="1458" actId="13926"/>
          <ac:spMkLst>
            <pc:docMk/>
            <pc:sldMk cId="691075873" sldId="2147482027"/>
            <ac:spMk id="44" creationId="{01EDA3EB-064D-A12F-0F86-F6F0D560F5CD}"/>
          </ac:spMkLst>
        </pc:spChg>
        <pc:spChg chg="mod topLvl">
          <ac:chgData name="VANEENOGE Camille" userId="6e7f4196-225c-4d88-a65f-4b95462c5fbf" providerId="ADAL" clId="{BD842958-C058-4E4D-9EFF-BED2C627D91A}" dt="2025-01-19T18:42:53.799" v="1528" actId="165"/>
          <ac:spMkLst>
            <pc:docMk/>
            <pc:sldMk cId="691075873" sldId="2147482027"/>
            <ac:spMk id="49" creationId="{D04275E0-A2DD-B9EF-5B9F-509785014010}"/>
          </ac:spMkLst>
        </pc:spChg>
        <pc:spChg chg="mod topLvl">
          <ac:chgData name="VANEENOGE Camille" userId="6e7f4196-225c-4d88-a65f-4b95462c5fbf" providerId="ADAL" clId="{BD842958-C058-4E4D-9EFF-BED2C627D91A}" dt="2025-01-19T18:42:53.799" v="1528" actId="165"/>
          <ac:spMkLst>
            <pc:docMk/>
            <pc:sldMk cId="691075873" sldId="2147482027"/>
            <ac:spMk id="50" creationId="{E50F306E-0301-19C5-10D2-C80861AC4C8B}"/>
          </ac:spMkLst>
        </pc:spChg>
        <pc:spChg chg="mod topLvl">
          <ac:chgData name="VANEENOGE Camille" userId="6e7f4196-225c-4d88-a65f-4b95462c5fbf" providerId="ADAL" clId="{BD842958-C058-4E4D-9EFF-BED2C627D91A}" dt="2025-01-19T18:42:53.799" v="1528" actId="165"/>
          <ac:spMkLst>
            <pc:docMk/>
            <pc:sldMk cId="691075873" sldId="2147482027"/>
            <ac:spMk id="51" creationId="{C3B09381-8360-096C-2639-7E4AEDCA1521}"/>
          </ac:spMkLst>
        </pc:spChg>
        <pc:spChg chg="mod">
          <ac:chgData name="VANEENOGE Camille" userId="6e7f4196-225c-4d88-a65f-4b95462c5fbf" providerId="ADAL" clId="{BD842958-C058-4E4D-9EFF-BED2C627D91A}" dt="2025-01-19T18:43:09.778" v="1531" actId="1035"/>
          <ac:spMkLst>
            <pc:docMk/>
            <pc:sldMk cId="691075873" sldId="2147482027"/>
            <ac:spMk id="52" creationId="{5B575B5A-B64E-A52D-348F-FE67AC2A1D87}"/>
          </ac:spMkLst>
        </pc:spChg>
        <pc:spChg chg="add mod">
          <ac:chgData name="VANEENOGE Camille" userId="6e7f4196-225c-4d88-a65f-4b95462c5fbf" providerId="ADAL" clId="{BD842958-C058-4E4D-9EFF-BED2C627D91A}" dt="2025-01-19T18:38:25.015" v="1458" actId="13926"/>
          <ac:spMkLst>
            <pc:docMk/>
            <pc:sldMk cId="691075873" sldId="2147482027"/>
            <ac:spMk id="53" creationId="{480405D7-3822-FF43-8755-65637B795688}"/>
          </ac:spMkLst>
        </pc:spChg>
        <pc:spChg chg="add mod">
          <ac:chgData name="VANEENOGE Camille" userId="6e7f4196-225c-4d88-a65f-4b95462c5fbf" providerId="ADAL" clId="{BD842958-C058-4E4D-9EFF-BED2C627D91A}" dt="2025-01-19T18:41:22.582" v="1523" actId="12789"/>
          <ac:spMkLst>
            <pc:docMk/>
            <pc:sldMk cId="691075873" sldId="2147482027"/>
            <ac:spMk id="61" creationId="{CF4ADDEC-F02B-460A-347C-FE6D4A5D4552}"/>
          </ac:spMkLst>
        </pc:spChg>
        <pc:spChg chg="add mod">
          <ac:chgData name="VANEENOGE Camille" userId="6e7f4196-225c-4d88-a65f-4b95462c5fbf" providerId="ADAL" clId="{BD842958-C058-4E4D-9EFF-BED2C627D91A}" dt="2025-01-19T18:41:22.582" v="1523" actId="12789"/>
          <ac:spMkLst>
            <pc:docMk/>
            <pc:sldMk cId="691075873" sldId="2147482027"/>
            <ac:spMk id="62" creationId="{58F75B9A-72C7-1F92-E686-7818B4CB4FB7}"/>
          </ac:spMkLst>
        </pc:spChg>
      </pc:sldChg>
      <pc:sldChg chg="addSp modSp new del mod">
        <pc:chgData name="VANEENOGE Camille" userId="6e7f4196-225c-4d88-a65f-4b95462c5fbf" providerId="ADAL" clId="{BD842958-C058-4E4D-9EFF-BED2C627D91A}" dt="2025-01-07T15:40:42.975" v="976" actId="47"/>
        <pc:sldMkLst>
          <pc:docMk/>
          <pc:sldMk cId="943970779" sldId="2147482028"/>
        </pc:sldMkLst>
      </pc:sldChg>
      <pc:sldChg chg="modSp add del mod">
        <pc:chgData name="VANEENOGE Camille" userId="6e7f4196-225c-4d88-a65f-4b95462c5fbf" providerId="ADAL" clId="{BD842958-C058-4E4D-9EFF-BED2C627D91A}" dt="2025-01-19T18:34:01.513" v="1285" actId="47"/>
        <pc:sldMkLst>
          <pc:docMk/>
          <pc:sldMk cId="4238787801" sldId="2147482069"/>
        </pc:sldMkLst>
      </pc:sldChg>
      <pc:sldChg chg="addSp delSp modSp add mod">
        <pc:chgData name="VANEENOGE Camille" userId="6e7f4196-225c-4d88-a65f-4b95462c5fbf" providerId="ADAL" clId="{BD842958-C058-4E4D-9EFF-BED2C627D91A}" dt="2025-01-19T18:39:55.875" v="1481" actId="207"/>
        <pc:sldMkLst>
          <pc:docMk/>
          <pc:sldMk cId="1516795618" sldId="2147482082"/>
        </pc:sldMkLst>
        <pc:spChg chg="mod">
          <ac:chgData name="VANEENOGE Camille" userId="6e7f4196-225c-4d88-a65f-4b95462c5fbf" providerId="ADAL" clId="{BD842958-C058-4E4D-9EFF-BED2C627D91A}" dt="2025-01-19T18:34:35.312" v="1318" actId="13926"/>
          <ac:spMkLst>
            <pc:docMk/>
            <pc:sldMk cId="1516795618" sldId="2147482082"/>
            <ac:spMk id="2" creationId="{39BB7040-9C76-46B1-DA65-E2E41AD27371}"/>
          </ac:spMkLst>
        </pc:spChg>
        <pc:spChg chg="mod">
          <ac:chgData name="VANEENOGE Camille" userId="6e7f4196-225c-4d88-a65f-4b95462c5fbf" providerId="ADAL" clId="{BD842958-C058-4E4D-9EFF-BED2C627D91A}" dt="2025-01-19T18:39:34.191" v="1469" actId="207"/>
          <ac:spMkLst>
            <pc:docMk/>
            <pc:sldMk cId="1516795618" sldId="2147482082"/>
            <ac:spMk id="12" creationId="{B9E6D1AF-BBB0-A287-9C43-46B3A5E8C6E7}"/>
          </ac:spMkLst>
        </pc:spChg>
        <pc:spChg chg="mod">
          <ac:chgData name="VANEENOGE Camille" userId="6e7f4196-225c-4d88-a65f-4b95462c5fbf" providerId="ADAL" clId="{BD842958-C058-4E4D-9EFF-BED2C627D91A}" dt="2025-01-19T18:39:55.875" v="1481" actId="207"/>
          <ac:spMkLst>
            <pc:docMk/>
            <pc:sldMk cId="1516795618" sldId="2147482082"/>
            <ac:spMk id="13" creationId="{3E40DE1F-5C70-4A7D-E86F-51B3F3DC19F5}"/>
          </ac:spMkLst>
        </pc:spChg>
        <pc:spChg chg="add mod">
          <ac:chgData name="VANEENOGE Camille" userId="6e7f4196-225c-4d88-a65f-4b95462c5fbf" providerId="ADAL" clId="{BD842958-C058-4E4D-9EFF-BED2C627D91A}" dt="2025-01-19T18:39:45.767" v="1472" actId="1076"/>
          <ac:spMkLst>
            <pc:docMk/>
            <pc:sldMk cId="1516795618" sldId="2147482082"/>
            <ac:spMk id="17" creationId="{B086384D-7779-82BF-7A18-97153CE59B37}"/>
          </ac:spMkLst>
        </pc:spChg>
      </pc:sldChg>
      <pc:sldChg chg="addSp modSp add mod">
        <pc:chgData name="VANEENOGE Camille" userId="6e7f4196-225c-4d88-a65f-4b95462c5fbf" providerId="ADAL" clId="{BD842958-C058-4E4D-9EFF-BED2C627D91A}" dt="2025-01-19T18:28:00.006" v="1267" actId="13926"/>
        <pc:sldMkLst>
          <pc:docMk/>
          <pc:sldMk cId="3414067080" sldId="2147483041"/>
        </pc:sldMkLst>
        <pc:spChg chg="mod">
          <ac:chgData name="VANEENOGE Camille" userId="6e7f4196-225c-4d88-a65f-4b95462c5fbf" providerId="ADAL" clId="{BD842958-C058-4E4D-9EFF-BED2C627D91A}" dt="2025-01-19T18:28:00.006" v="1267" actId="13926"/>
          <ac:spMkLst>
            <pc:docMk/>
            <pc:sldMk cId="3414067080" sldId="2147483041"/>
            <ac:spMk id="2" creationId="{9576E01A-75AF-AECE-FE11-51D9066F11B6}"/>
          </ac:spMkLst>
        </pc:spChg>
      </pc:sldChg>
      <pc:sldChg chg="delSp add mod">
        <pc:chgData name="VANEENOGE Camille" userId="6e7f4196-225c-4d88-a65f-4b95462c5fbf" providerId="ADAL" clId="{BD842958-C058-4E4D-9EFF-BED2C627D91A}" dt="2025-01-06T08:16:17.098" v="953" actId="478"/>
        <pc:sldMkLst>
          <pc:docMk/>
          <pc:sldMk cId="929130884" sldId="2147483042"/>
        </pc:sldMkLst>
      </pc:sldChg>
      <pc:sldChg chg="delSp add mod">
        <pc:chgData name="VANEENOGE Camille" userId="6e7f4196-225c-4d88-a65f-4b95462c5fbf" providerId="ADAL" clId="{BD842958-C058-4E4D-9EFF-BED2C627D91A}" dt="2025-01-06T08:16:19.013" v="954" actId="478"/>
        <pc:sldMkLst>
          <pc:docMk/>
          <pc:sldMk cId="977439633" sldId="2147483043"/>
        </pc:sldMkLst>
      </pc:sldChg>
      <pc:sldChg chg="addSp delSp modSp add mod">
        <pc:chgData name="VANEENOGE Camille" userId="6e7f4196-225c-4d88-a65f-4b95462c5fbf" providerId="ADAL" clId="{BD842958-C058-4E4D-9EFF-BED2C627D91A}" dt="2025-01-19T18:27:52.324" v="1265" actId="13926"/>
        <pc:sldMkLst>
          <pc:docMk/>
          <pc:sldMk cId="2625374015" sldId="2147483138"/>
        </pc:sldMkLst>
        <pc:spChg chg="mod">
          <ac:chgData name="VANEENOGE Camille" userId="6e7f4196-225c-4d88-a65f-4b95462c5fbf" providerId="ADAL" clId="{BD842958-C058-4E4D-9EFF-BED2C627D91A}" dt="2025-01-19T18:27:52.324" v="1265" actId="13926"/>
          <ac:spMkLst>
            <pc:docMk/>
            <pc:sldMk cId="2625374015" sldId="2147483138"/>
            <ac:spMk id="2" creationId="{8ACC4143-9229-1B46-AE73-FCC92C114EDC}"/>
          </ac:spMkLst>
        </pc:spChg>
        <pc:spChg chg="mod">
          <ac:chgData name="VANEENOGE Camille" userId="6e7f4196-225c-4d88-a65f-4b95462c5fbf" providerId="ADAL" clId="{BD842958-C058-4E4D-9EFF-BED2C627D91A}" dt="2025-01-07T15:40:56.195" v="980" actId="13926"/>
          <ac:spMkLst>
            <pc:docMk/>
            <pc:sldMk cId="2625374015" sldId="2147483138"/>
            <ac:spMk id="3128" creationId="{19D6497A-DAE0-98F1-BD86-4ED9A9960D02}"/>
          </ac:spMkLst>
        </pc:spChg>
        <pc:spChg chg="mod">
          <ac:chgData name="VANEENOGE Camille" userId="6e7f4196-225c-4d88-a65f-4b95462c5fbf" providerId="ADAL" clId="{BD842958-C058-4E4D-9EFF-BED2C627D91A}" dt="2025-01-07T15:41:32.925" v="984" actId="20577"/>
          <ac:spMkLst>
            <pc:docMk/>
            <pc:sldMk cId="2625374015" sldId="2147483138"/>
            <ac:spMk id="3175" creationId="{31E1BCC7-70D7-47BE-C126-A55AD8ED7F18}"/>
          </ac:spMkLst>
        </pc:spChg>
        <pc:cxnChg chg="mod">
          <ac:chgData name="VANEENOGE Camille" userId="6e7f4196-225c-4d88-a65f-4b95462c5fbf" providerId="ADAL" clId="{BD842958-C058-4E4D-9EFF-BED2C627D91A}" dt="2025-01-07T15:40:52.780" v="979" actId="478"/>
          <ac:cxnSpMkLst>
            <pc:docMk/>
            <pc:sldMk cId="2625374015" sldId="2147483138"/>
            <ac:cxnSpMk id="3133" creationId="{CF62D154-15E3-08F6-B63B-B9B723ACAE0C}"/>
          </ac:cxnSpMkLst>
        </pc:cxnChg>
      </pc:sldChg>
    </pc:docChg>
  </pc:docChgLst>
  <pc:docChgLst>
    <pc:chgData name="VERMONT Olivier" userId="634f67f3-c7f5-4fef-a3da-f29c37e9e44b" providerId="ADAL" clId="{652DB0A5-8515-4266-B2CE-B2846A873C7F}"/>
    <pc:docChg chg="modSld">
      <pc:chgData name="VERMONT Olivier" userId="634f67f3-c7f5-4fef-a3da-f29c37e9e44b" providerId="ADAL" clId="{652DB0A5-8515-4266-B2CE-B2846A873C7F}" dt="2024-02-07T16:28:53.836" v="26"/>
      <pc:docMkLst>
        <pc:docMk/>
      </pc:docMkLst>
      <pc:sldChg chg="addCm">
        <pc:chgData name="VERMONT Olivier" userId="634f67f3-c7f5-4fef-a3da-f29c37e9e44b" providerId="ADAL" clId="{652DB0A5-8515-4266-B2CE-B2846A873C7F}" dt="2024-02-05T07:59:02.147" v="0"/>
        <pc:sldMkLst>
          <pc:docMk/>
          <pc:sldMk cId="3897447519" sldId="2147469287"/>
        </pc:sldMkLst>
        <pc:extLst>
          <p:ext xmlns:p="http://schemas.openxmlformats.org/presentationml/2006/main" uri="{D6D511B9-2390-475A-947B-AFAB55BFBCF1}">
            <pc226:cmChg xmlns:pc226="http://schemas.microsoft.com/office/powerpoint/2022/06/main/command" chg="add">
              <pc226:chgData name="VERMONT Olivier" userId="634f67f3-c7f5-4fef-a3da-f29c37e9e44b" providerId="ADAL" clId="{652DB0A5-8515-4266-B2CE-B2846A873C7F}" dt="2024-02-05T07:59:02.147" v="0"/>
              <pc2:cmMkLst xmlns:pc2="http://schemas.microsoft.com/office/powerpoint/2019/9/main/command">
                <pc:docMk/>
                <pc:sldMk cId="3897447519" sldId="2147469287"/>
                <pc2:cmMk id="{FF0B8B12-B6C1-4E3F-9561-ED96B035C21F}"/>
              </pc2:cmMkLst>
            </pc226:cmChg>
          </p:ext>
        </pc:extLst>
      </pc:sldChg>
      <pc:sldChg chg="addCm">
        <pc:chgData name="VERMONT Olivier" userId="634f67f3-c7f5-4fef-a3da-f29c37e9e44b" providerId="ADAL" clId="{652DB0A5-8515-4266-B2CE-B2846A873C7F}" dt="2024-02-06T11:56:39.932" v="7"/>
        <pc:sldMkLst>
          <pc:docMk/>
          <pc:sldMk cId="3340189546" sldId="2147482003"/>
        </pc:sldMkLst>
        <pc:extLst>
          <p:ext xmlns:p="http://schemas.openxmlformats.org/presentationml/2006/main" uri="{D6D511B9-2390-475A-947B-AFAB55BFBCF1}">
            <pc226:cmChg xmlns:pc226="http://schemas.microsoft.com/office/powerpoint/2022/06/main/command" chg="add">
              <pc226:chgData name="VERMONT Olivier" userId="634f67f3-c7f5-4fef-a3da-f29c37e9e44b" providerId="ADAL" clId="{652DB0A5-8515-4266-B2CE-B2846A873C7F}" dt="2024-02-05T16:10:05.586" v="1"/>
              <pc2:cmMkLst xmlns:pc2="http://schemas.microsoft.com/office/powerpoint/2019/9/main/command">
                <pc:docMk/>
                <pc:sldMk cId="3340189546" sldId="2147482003"/>
                <pc2:cmMk id="{41C1E103-4871-4381-8A2B-49C402C1574D}"/>
              </pc2:cmMkLst>
            </pc226:cmChg>
            <pc226:cmChg xmlns:pc226="http://schemas.microsoft.com/office/powerpoint/2022/06/main/command" chg="add">
              <pc226:chgData name="VERMONT Olivier" userId="634f67f3-c7f5-4fef-a3da-f29c37e9e44b" providerId="ADAL" clId="{652DB0A5-8515-4266-B2CE-B2846A873C7F}" dt="2024-02-05T16:10:33.352" v="2"/>
              <pc2:cmMkLst xmlns:pc2="http://schemas.microsoft.com/office/powerpoint/2019/9/main/command">
                <pc:docMk/>
                <pc:sldMk cId="3340189546" sldId="2147482003"/>
                <pc2:cmMk id="{162D4C50-C815-4824-98B0-B8C2482E70D4}"/>
              </pc2:cmMkLst>
            </pc226:cmChg>
            <pc226:cmChg xmlns:pc226="http://schemas.microsoft.com/office/powerpoint/2022/06/main/command" chg="add">
              <pc226:chgData name="VERMONT Olivier" userId="634f67f3-c7f5-4fef-a3da-f29c37e9e44b" providerId="ADAL" clId="{652DB0A5-8515-4266-B2CE-B2846A873C7F}" dt="2024-02-05T16:17:18.449" v="3"/>
              <pc2:cmMkLst xmlns:pc2="http://schemas.microsoft.com/office/powerpoint/2019/9/main/command">
                <pc:docMk/>
                <pc:sldMk cId="3340189546" sldId="2147482003"/>
                <pc2:cmMk id="{49923E57-27E8-4FDD-AAA3-F8CF054F3B3F}"/>
              </pc2:cmMkLst>
            </pc226:cmChg>
            <pc226:cmChg xmlns:pc226="http://schemas.microsoft.com/office/powerpoint/2022/06/main/command" chg="add">
              <pc226:chgData name="VERMONT Olivier" userId="634f67f3-c7f5-4fef-a3da-f29c37e9e44b" providerId="ADAL" clId="{652DB0A5-8515-4266-B2CE-B2846A873C7F}" dt="2024-02-06T11:56:39.932" v="7"/>
              <pc2:cmMkLst xmlns:pc2="http://schemas.microsoft.com/office/powerpoint/2019/9/main/command">
                <pc:docMk/>
                <pc:sldMk cId="3340189546" sldId="2147482003"/>
                <pc2:cmMk id="{E6783559-ABBD-4B9E-93CD-22EC5954B8ED}"/>
              </pc2:cmMkLst>
            </pc226:cmChg>
          </p:ext>
        </pc:extLst>
      </pc:sldChg>
      <pc:sldChg chg="modSp mod addCm modCm">
        <pc:chgData name="VERMONT Olivier" userId="634f67f3-c7f5-4fef-a3da-f29c37e9e44b" providerId="ADAL" clId="{652DB0A5-8515-4266-B2CE-B2846A873C7F}" dt="2024-02-06T11:59:29.974" v="13"/>
        <pc:sldMkLst>
          <pc:docMk/>
          <pc:sldMk cId="258348270" sldId="2147482004"/>
        </pc:sldMkLst>
        <pc:extLst>
          <p:ext xmlns:p="http://schemas.openxmlformats.org/presentationml/2006/main" uri="{D6D511B9-2390-475A-947B-AFAB55BFBCF1}">
            <pc226:cmChg xmlns:pc226="http://schemas.microsoft.com/office/powerpoint/2022/06/main/command" chg="add mod">
              <pc226:chgData name="VERMONT Olivier" userId="634f67f3-c7f5-4fef-a3da-f29c37e9e44b" providerId="ADAL" clId="{652DB0A5-8515-4266-B2CE-B2846A873C7F}" dt="2024-02-06T11:59:29.974" v="13"/>
              <pc2:cmMkLst xmlns:pc2="http://schemas.microsoft.com/office/powerpoint/2019/9/main/command">
                <pc:docMk/>
                <pc:sldMk cId="258348270" sldId="2147482004"/>
                <pc2:cmMk id="{C1F02B01-72A0-4EFB-943F-330D46CE9B72}"/>
              </pc2:cmMkLst>
            </pc226:cmChg>
            <pc226:cmChg xmlns:pc226="http://schemas.microsoft.com/office/powerpoint/2022/06/main/command" chg="add">
              <pc226:chgData name="VERMONT Olivier" userId="634f67f3-c7f5-4fef-a3da-f29c37e9e44b" providerId="ADAL" clId="{652DB0A5-8515-4266-B2CE-B2846A873C7F}" dt="2024-02-06T11:57:08.272" v="11"/>
              <pc2:cmMkLst xmlns:pc2="http://schemas.microsoft.com/office/powerpoint/2019/9/main/command">
                <pc:docMk/>
                <pc:sldMk cId="258348270" sldId="2147482004"/>
                <pc2:cmMk id="{ADF8590A-DFD9-4885-BC86-88089C0C666E}"/>
              </pc2:cmMkLst>
            </pc226:cmChg>
          </p:ext>
        </pc:extLst>
      </pc:sldChg>
      <pc:sldChg chg="modSp mod addCm">
        <pc:chgData name="VERMONT Olivier" userId="634f67f3-c7f5-4fef-a3da-f29c37e9e44b" providerId="ADAL" clId="{652DB0A5-8515-4266-B2CE-B2846A873C7F}" dt="2024-02-06T12:01:16.831" v="18"/>
        <pc:sldMkLst>
          <pc:docMk/>
          <pc:sldMk cId="2145233351" sldId="2147482005"/>
        </pc:sldMkLst>
        <pc:extLst>
          <p:ext xmlns:p="http://schemas.openxmlformats.org/presentationml/2006/main" uri="{D6D511B9-2390-475A-947B-AFAB55BFBCF1}">
            <pc226:cmChg xmlns:pc226="http://schemas.microsoft.com/office/powerpoint/2022/06/main/command" chg="add">
              <pc226:chgData name="VERMONT Olivier" userId="634f67f3-c7f5-4fef-a3da-f29c37e9e44b" providerId="ADAL" clId="{652DB0A5-8515-4266-B2CE-B2846A873C7F}" dt="2024-02-06T12:01:16.831" v="18"/>
              <pc2:cmMkLst xmlns:pc2="http://schemas.microsoft.com/office/powerpoint/2019/9/main/command">
                <pc:docMk/>
                <pc:sldMk cId="2145233351" sldId="2147482005"/>
                <pc2:cmMk id="{3EF8D717-633F-4496-B38E-AB77F440EDE3}"/>
              </pc2:cmMkLst>
            </pc226:cmChg>
          </p:ext>
        </pc:extLst>
      </pc:sldChg>
      <pc:sldChg chg="modSp mod addCm modCm">
        <pc:chgData name="VERMONT Olivier" userId="634f67f3-c7f5-4fef-a3da-f29c37e9e44b" providerId="ADAL" clId="{652DB0A5-8515-4266-B2CE-B2846A873C7F}" dt="2024-02-06T11:54:46.725" v="6" actId="20577"/>
        <pc:sldMkLst>
          <pc:docMk/>
          <pc:sldMk cId="980070838" sldId="2147482006"/>
        </pc:sldMkLst>
        <pc:extLst>
          <p:ext xmlns:p="http://schemas.openxmlformats.org/presentationml/2006/main" uri="{D6D511B9-2390-475A-947B-AFAB55BFBCF1}">
            <pc226:cmChg xmlns:pc226="http://schemas.microsoft.com/office/powerpoint/2022/06/main/command" chg="add mod">
              <pc226:chgData name="VERMONT Olivier" userId="634f67f3-c7f5-4fef-a3da-f29c37e9e44b" providerId="ADAL" clId="{652DB0A5-8515-4266-B2CE-B2846A873C7F}" dt="2024-02-06T11:53:51.349" v="5"/>
              <pc2:cmMkLst xmlns:pc2="http://schemas.microsoft.com/office/powerpoint/2019/9/main/command">
                <pc:docMk/>
                <pc:sldMk cId="980070838" sldId="2147482006"/>
                <pc2:cmMk id="{412DBCFE-33D6-4900-988E-25295F888D4B}"/>
              </pc2:cmMkLst>
            </pc226:cmChg>
          </p:ext>
        </pc:extLst>
      </pc:sldChg>
      <pc:sldChg chg="addCm">
        <pc:chgData name="VERMONT Olivier" userId="634f67f3-c7f5-4fef-a3da-f29c37e9e44b" providerId="ADAL" clId="{652DB0A5-8515-4266-B2CE-B2846A873C7F}" dt="2024-02-07T13:05:37.938" v="21"/>
        <pc:sldMkLst>
          <pc:docMk/>
          <pc:sldMk cId="1039753401" sldId="2147482007"/>
        </pc:sldMkLst>
        <pc:extLst>
          <p:ext xmlns:p="http://schemas.openxmlformats.org/presentationml/2006/main" uri="{D6D511B9-2390-475A-947B-AFAB55BFBCF1}">
            <pc226:cmChg xmlns:pc226="http://schemas.microsoft.com/office/powerpoint/2022/06/main/command" chg="add">
              <pc226:chgData name="VERMONT Olivier" userId="634f67f3-c7f5-4fef-a3da-f29c37e9e44b" providerId="ADAL" clId="{652DB0A5-8515-4266-B2CE-B2846A873C7F}" dt="2024-02-07T13:05:37.938" v="21"/>
              <pc2:cmMkLst xmlns:pc2="http://schemas.microsoft.com/office/powerpoint/2019/9/main/command">
                <pc:docMk/>
                <pc:sldMk cId="1039753401" sldId="2147482007"/>
                <pc2:cmMk id="{5C432493-8803-48A0-AB9A-938653B86437}"/>
              </pc2:cmMkLst>
            </pc226:cmChg>
          </p:ext>
        </pc:extLst>
      </pc:sldChg>
      <pc:sldChg chg="addCm">
        <pc:chgData name="VERMONT Olivier" userId="634f67f3-c7f5-4fef-a3da-f29c37e9e44b" providerId="ADAL" clId="{652DB0A5-8515-4266-B2CE-B2846A873C7F}" dt="2024-02-06T12:08:09.457" v="20"/>
        <pc:sldMkLst>
          <pc:docMk/>
          <pc:sldMk cId="162960782" sldId="2147482014"/>
        </pc:sldMkLst>
        <pc:extLst>
          <p:ext xmlns:p="http://schemas.openxmlformats.org/presentationml/2006/main" uri="{D6D511B9-2390-475A-947B-AFAB55BFBCF1}">
            <pc226:cmChg xmlns:pc226="http://schemas.microsoft.com/office/powerpoint/2022/06/main/command" chg="add">
              <pc226:chgData name="VERMONT Olivier" userId="634f67f3-c7f5-4fef-a3da-f29c37e9e44b" providerId="ADAL" clId="{652DB0A5-8515-4266-B2CE-B2846A873C7F}" dt="2024-02-06T12:06:40.301" v="19"/>
              <pc2:cmMkLst xmlns:pc2="http://schemas.microsoft.com/office/powerpoint/2019/9/main/command">
                <pc:docMk/>
                <pc:sldMk cId="162960782" sldId="2147482014"/>
                <pc2:cmMk id="{197B3A61-8E08-4E7B-A9BD-42829F6925B0}"/>
              </pc2:cmMkLst>
            </pc226:cmChg>
            <pc226:cmChg xmlns:pc226="http://schemas.microsoft.com/office/powerpoint/2022/06/main/command" chg="add">
              <pc226:chgData name="VERMONT Olivier" userId="634f67f3-c7f5-4fef-a3da-f29c37e9e44b" providerId="ADAL" clId="{652DB0A5-8515-4266-B2CE-B2846A873C7F}" dt="2024-02-06T12:08:09.457" v="20"/>
              <pc2:cmMkLst xmlns:pc2="http://schemas.microsoft.com/office/powerpoint/2019/9/main/command">
                <pc:docMk/>
                <pc:sldMk cId="162960782" sldId="2147482014"/>
                <pc2:cmMk id="{D28ADAD7-BE59-476D-885D-02395AFEA245}"/>
              </pc2:cmMkLst>
            </pc226:cmChg>
          </p:ext>
        </pc:extLst>
      </pc:sldChg>
      <pc:sldChg chg="modSp mod addCm">
        <pc:chgData name="VERMONT Olivier" userId="634f67f3-c7f5-4fef-a3da-f29c37e9e44b" providerId="ADAL" clId="{652DB0A5-8515-4266-B2CE-B2846A873C7F}" dt="2024-02-07T16:25:23.336" v="25" actId="20577"/>
        <pc:sldMkLst>
          <pc:docMk/>
          <pc:sldMk cId="4187097854" sldId="2147482016"/>
        </pc:sldMkLst>
        <pc:extLst>
          <p:ext xmlns:p="http://schemas.openxmlformats.org/presentationml/2006/main" uri="{D6D511B9-2390-475A-947B-AFAB55BFBCF1}">
            <pc226:cmChg xmlns:pc226="http://schemas.microsoft.com/office/powerpoint/2022/06/main/command" chg="add">
              <pc226:chgData name="VERMONT Olivier" userId="634f67f3-c7f5-4fef-a3da-f29c37e9e44b" providerId="ADAL" clId="{652DB0A5-8515-4266-B2CE-B2846A873C7F}" dt="2024-02-07T13:14:51.550" v="22"/>
              <pc2:cmMkLst xmlns:pc2="http://schemas.microsoft.com/office/powerpoint/2019/9/main/command">
                <pc:docMk/>
                <pc:sldMk cId="4187097854" sldId="2147482016"/>
                <pc2:cmMk id="{82FDD979-CC41-414B-9B57-7D2F8B9DDF43}"/>
              </pc2:cmMkLst>
            </pc226:cmChg>
          </p:ext>
        </pc:extLst>
      </pc:sldChg>
      <pc:sldChg chg="addCm">
        <pc:chgData name="VERMONT Olivier" userId="634f67f3-c7f5-4fef-a3da-f29c37e9e44b" providerId="ADAL" clId="{652DB0A5-8515-4266-B2CE-B2846A873C7F}" dt="2024-02-07T16:28:53.836" v="26"/>
        <pc:sldMkLst>
          <pc:docMk/>
          <pc:sldMk cId="428757134" sldId="2147482017"/>
        </pc:sldMkLst>
        <pc:extLst>
          <p:ext xmlns:p="http://schemas.openxmlformats.org/presentationml/2006/main" uri="{D6D511B9-2390-475A-947B-AFAB55BFBCF1}">
            <pc226:cmChg xmlns:pc226="http://schemas.microsoft.com/office/powerpoint/2022/06/main/command" chg="add">
              <pc226:chgData name="VERMONT Olivier" userId="634f67f3-c7f5-4fef-a3da-f29c37e9e44b" providerId="ADAL" clId="{652DB0A5-8515-4266-B2CE-B2846A873C7F}" dt="2024-02-07T16:28:53.836" v="26"/>
              <pc2:cmMkLst xmlns:pc2="http://schemas.microsoft.com/office/powerpoint/2019/9/main/command">
                <pc:docMk/>
                <pc:sldMk cId="428757134" sldId="2147482017"/>
                <pc2:cmMk id="{F947AD06-365A-446F-AE9B-BFCD5F523B7C}"/>
              </pc2:cmMkLst>
            </pc226:cmChg>
          </p:ext>
        </pc:extLst>
      </pc:sldChg>
    </pc:docChg>
  </pc:docChgLst>
  <pc:docChgLst>
    <pc:chgData name="VERMONT Olivier" userId="S::olivier.vermont@vinci-construction.com::634f67f3-c7f5-4fef-a3da-f29c37e9e44b" providerId="AD" clId="Web-{E05128E7-5E3F-462B-D864-9E730FF74EC5}"/>
    <pc:docChg chg="modSld">
      <pc:chgData name="VERMONT Olivier" userId="S::olivier.vermont@vinci-construction.com::634f67f3-c7f5-4fef-a3da-f29c37e9e44b" providerId="AD" clId="Web-{E05128E7-5E3F-462B-D864-9E730FF74EC5}" dt="2022-12-16T07:42:35.044" v="23"/>
      <pc:docMkLst>
        <pc:docMk/>
      </pc:docMkLst>
      <pc:sldChg chg="addCm modCm">
        <pc:chgData name="VERMONT Olivier" userId="S::olivier.vermont@vinci-construction.com::634f67f3-c7f5-4fef-a3da-f29c37e9e44b" providerId="AD" clId="Web-{E05128E7-5E3F-462B-D864-9E730FF74EC5}" dt="2022-12-16T07:20:35.961" v="7"/>
        <pc:sldMkLst>
          <pc:docMk/>
          <pc:sldMk cId="3241130360" sldId="2147469112"/>
        </pc:sldMkLst>
      </pc:sldChg>
      <pc:sldChg chg="addCm">
        <pc:chgData name="VERMONT Olivier" userId="S::olivier.vermont@vinci-construction.com::634f67f3-c7f5-4fef-a3da-f29c37e9e44b" providerId="AD" clId="Web-{E05128E7-5E3F-462B-D864-9E730FF74EC5}" dt="2022-12-16T07:22:42.402" v="8"/>
        <pc:sldMkLst>
          <pc:docMk/>
          <pc:sldMk cId="1312330934" sldId="2147469122"/>
        </pc:sldMkLst>
      </pc:sldChg>
      <pc:sldChg chg="addCm">
        <pc:chgData name="VERMONT Olivier" userId="S::olivier.vermont@vinci-construction.com::634f67f3-c7f5-4fef-a3da-f29c37e9e44b" providerId="AD" clId="Web-{E05128E7-5E3F-462B-D864-9E730FF74EC5}" dt="2022-12-16T07:38:10.162" v="22"/>
        <pc:sldMkLst>
          <pc:docMk/>
          <pc:sldMk cId="4175321075" sldId="2147469233"/>
        </pc:sldMkLst>
      </pc:sldChg>
      <pc:sldChg chg="addCm">
        <pc:chgData name="VERMONT Olivier" userId="S::olivier.vermont@vinci-construction.com::634f67f3-c7f5-4fef-a3da-f29c37e9e44b" providerId="AD" clId="Web-{E05128E7-5E3F-462B-D864-9E730FF74EC5}" dt="2022-12-16T07:42:35.044" v="23"/>
        <pc:sldMkLst>
          <pc:docMk/>
          <pc:sldMk cId="137568215" sldId="2147469234"/>
        </pc:sldMkLst>
      </pc:sldChg>
      <pc:sldChg chg="addCm modCm">
        <pc:chgData name="VERMONT Olivier" userId="S::olivier.vermont@vinci-construction.com::634f67f3-c7f5-4fef-a3da-f29c37e9e44b" providerId="AD" clId="Web-{E05128E7-5E3F-462B-D864-9E730FF74EC5}" dt="2022-12-16T06:39:59.984" v="1"/>
        <pc:sldMkLst>
          <pc:docMk/>
          <pc:sldMk cId="2528676621" sldId="2147469252"/>
        </pc:sldMkLst>
      </pc:sldChg>
      <pc:sldChg chg="addCm">
        <pc:chgData name="VERMONT Olivier" userId="S::olivier.vermont@vinci-construction.com::634f67f3-c7f5-4fef-a3da-f29c37e9e44b" providerId="AD" clId="Web-{E05128E7-5E3F-462B-D864-9E730FF74EC5}" dt="2022-12-16T07:25:14.640" v="9"/>
        <pc:sldMkLst>
          <pc:docMk/>
          <pc:sldMk cId="2105868698" sldId="2147469259"/>
        </pc:sldMkLst>
      </pc:sldChg>
      <pc:sldChg chg="addCm">
        <pc:chgData name="VERMONT Olivier" userId="S::olivier.vermont@vinci-construction.com::634f67f3-c7f5-4fef-a3da-f29c37e9e44b" providerId="AD" clId="Web-{E05128E7-5E3F-462B-D864-9E730FF74EC5}" dt="2022-12-16T07:30:33.212" v="12"/>
        <pc:sldMkLst>
          <pc:docMk/>
          <pc:sldMk cId="1450007021" sldId="2147469263"/>
        </pc:sldMkLst>
      </pc:sldChg>
      <pc:sldChg chg="addCm">
        <pc:chgData name="VERMONT Olivier" userId="S::olivier.vermont@vinci-construction.com::634f67f3-c7f5-4fef-a3da-f29c37e9e44b" providerId="AD" clId="Web-{E05128E7-5E3F-462B-D864-9E730FF74EC5}" dt="2022-12-16T07:16:10.141" v="4"/>
        <pc:sldMkLst>
          <pc:docMk/>
          <pc:sldMk cId="1876804831" sldId="2147469265"/>
        </pc:sldMkLst>
      </pc:sldChg>
      <pc:sldChg chg="modSp addCm">
        <pc:chgData name="VERMONT Olivier" userId="S::olivier.vermont@vinci-construction.com::634f67f3-c7f5-4fef-a3da-f29c37e9e44b" providerId="AD" clId="Web-{E05128E7-5E3F-462B-D864-9E730FF74EC5}" dt="2022-12-16T07:34:00.764" v="21"/>
        <pc:sldMkLst>
          <pc:docMk/>
          <pc:sldMk cId="27772628" sldId="2147469270"/>
        </pc:sldMkLst>
      </pc:sldChg>
      <pc:sldChg chg="addCm">
        <pc:chgData name="VERMONT Olivier" userId="S::olivier.vermont@vinci-construction.com::634f67f3-c7f5-4fef-a3da-f29c37e9e44b" providerId="AD" clId="Web-{E05128E7-5E3F-462B-D864-9E730FF74EC5}" dt="2022-12-16T07:05:03.169" v="2"/>
        <pc:sldMkLst>
          <pc:docMk/>
          <pc:sldMk cId="704760206" sldId="2147469275"/>
        </pc:sldMkLst>
      </pc:sldChg>
      <pc:sldChg chg="addCm">
        <pc:chgData name="VERMONT Olivier" userId="S::olivier.vermont@vinci-construction.com::634f67f3-c7f5-4fef-a3da-f29c37e9e44b" providerId="AD" clId="Web-{E05128E7-5E3F-462B-D864-9E730FF74EC5}" dt="2022-12-16T07:28:35.709" v="11"/>
        <pc:sldMkLst>
          <pc:docMk/>
          <pc:sldMk cId="483041667" sldId="2147469276"/>
        </pc:sldMkLst>
      </pc:sldChg>
    </pc:docChg>
  </pc:docChgLst>
  <pc:docChgLst>
    <pc:chgData name="COIGNET Alexis" userId="76ea5e1a-bc88-4802-bf9d-ac1355beb253" providerId="ADAL" clId="{751420B8-DE03-4E3B-9309-1CF1B93EFDAD}"/>
    <pc:docChg chg="undo custSel addSld delSld modSld sldOrd modSection">
      <pc:chgData name="COIGNET Alexis" userId="76ea5e1a-bc88-4802-bf9d-ac1355beb253" providerId="ADAL" clId="{751420B8-DE03-4E3B-9309-1CF1B93EFDAD}" dt="2024-01-11T10:32:52.273" v="8968" actId="729"/>
      <pc:docMkLst>
        <pc:docMk/>
      </pc:docMkLst>
      <pc:sldChg chg="modSp">
        <pc:chgData name="COIGNET Alexis" userId="76ea5e1a-bc88-4802-bf9d-ac1355beb253" providerId="ADAL" clId="{751420B8-DE03-4E3B-9309-1CF1B93EFDAD}" dt="2023-12-26T14:42:09.562" v="2233"/>
        <pc:sldMkLst>
          <pc:docMk/>
          <pc:sldMk cId="1670719887" sldId="264"/>
        </pc:sldMkLst>
      </pc:sldChg>
      <pc:sldChg chg="modSp mod">
        <pc:chgData name="COIGNET Alexis" userId="76ea5e1a-bc88-4802-bf9d-ac1355beb253" providerId="ADAL" clId="{751420B8-DE03-4E3B-9309-1CF1B93EFDAD}" dt="2023-12-28T16:06:06.281" v="3779" actId="20577"/>
        <pc:sldMkLst>
          <pc:docMk/>
          <pc:sldMk cId="772362737" sldId="2147326870"/>
        </pc:sldMkLst>
      </pc:sldChg>
      <pc:sldChg chg="modCm">
        <pc:chgData name="COIGNET Alexis" userId="76ea5e1a-bc88-4802-bf9d-ac1355beb253" providerId="ADAL" clId="{751420B8-DE03-4E3B-9309-1CF1B93EFDAD}" dt="2023-02-15T16:23:21.798" v="2" actId="2056"/>
        <pc:sldMkLst>
          <pc:docMk/>
          <pc:sldMk cId="2972058130" sldId="2147469095"/>
        </pc:sldMkLst>
      </pc:sldChg>
      <pc:sldChg chg="addSp modSp del mod">
        <pc:chgData name="COIGNET Alexis" userId="76ea5e1a-bc88-4802-bf9d-ac1355beb253" providerId="ADAL" clId="{751420B8-DE03-4E3B-9309-1CF1B93EFDAD}" dt="2024-01-10T13:15:19.986" v="5829" actId="47"/>
        <pc:sldMkLst>
          <pc:docMk/>
          <pc:sldMk cId="1678300054" sldId="2147469140"/>
        </pc:sldMkLst>
      </pc:sldChg>
      <pc:sldChg chg="addSp delSp modSp mod modShow">
        <pc:chgData name="COIGNET Alexis" userId="76ea5e1a-bc88-4802-bf9d-ac1355beb253" providerId="ADAL" clId="{751420B8-DE03-4E3B-9309-1CF1B93EFDAD}" dt="2024-01-10T09:22:25.650" v="5210" actId="729"/>
        <pc:sldMkLst>
          <pc:docMk/>
          <pc:sldMk cId="3937719075" sldId="2147469217"/>
        </pc:sldMkLst>
      </pc:sldChg>
      <pc:sldChg chg="mod modShow">
        <pc:chgData name="COIGNET Alexis" userId="76ea5e1a-bc88-4802-bf9d-ac1355beb253" providerId="ADAL" clId="{751420B8-DE03-4E3B-9309-1CF1B93EFDAD}" dt="2024-01-10T09:22:21.875" v="5209" actId="729"/>
        <pc:sldMkLst>
          <pc:docMk/>
          <pc:sldMk cId="1451093172" sldId="2147469218"/>
        </pc:sldMkLst>
      </pc:sldChg>
      <pc:sldChg chg="modSp mod">
        <pc:chgData name="COIGNET Alexis" userId="76ea5e1a-bc88-4802-bf9d-ac1355beb253" providerId="ADAL" clId="{751420B8-DE03-4E3B-9309-1CF1B93EFDAD}" dt="2023-12-28T13:36:08.041" v="3673" actId="1037"/>
        <pc:sldMkLst>
          <pc:docMk/>
          <pc:sldMk cId="1030784313" sldId="2147469255"/>
        </pc:sldMkLst>
      </pc:sldChg>
      <pc:sldChg chg="modSp mod modShow">
        <pc:chgData name="COIGNET Alexis" userId="76ea5e1a-bc88-4802-bf9d-ac1355beb253" providerId="ADAL" clId="{751420B8-DE03-4E3B-9309-1CF1B93EFDAD}" dt="2024-01-09T17:13:47.767" v="4796" actId="729"/>
        <pc:sldMkLst>
          <pc:docMk/>
          <pc:sldMk cId="1632319133" sldId="2147469264"/>
        </pc:sldMkLst>
      </pc:sldChg>
      <pc:sldChg chg="modCm">
        <pc:chgData name="COIGNET Alexis" userId="76ea5e1a-bc88-4802-bf9d-ac1355beb253" providerId="ADAL" clId="{751420B8-DE03-4E3B-9309-1CF1B93EFDAD}" dt="2023-12-13T09:19:58.275" v="3" actId="2056"/>
        <pc:sldMkLst>
          <pc:docMk/>
          <pc:sldMk cId="27772628" sldId="2147469270"/>
        </pc:sldMkLst>
      </pc:sldChg>
      <pc:sldChg chg="modSp mod">
        <pc:chgData name="COIGNET Alexis" userId="76ea5e1a-bc88-4802-bf9d-ac1355beb253" providerId="ADAL" clId="{751420B8-DE03-4E3B-9309-1CF1B93EFDAD}" dt="2024-01-11T10:06:08.988" v="8152" actId="5793"/>
        <pc:sldMkLst>
          <pc:docMk/>
          <pc:sldMk cId="3897447519" sldId="2147469287"/>
        </pc:sldMkLst>
      </pc:sldChg>
      <pc:sldChg chg="modSp mod modShow">
        <pc:chgData name="COIGNET Alexis" userId="76ea5e1a-bc88-4802-bf9d-ac1355beb253" providerId="ADAL" clId="{751420B8-DE03-4E3B-9309-1CF1B93EFDAD}" dt="2024-01-09T17:13:45.134" v="4795" actId="729"/>
        <pc:sldMkLst>
          <pc:docMk/>
          <pc:sldMk cId="505188205" sldId="2147469288"/>
        </pc:sldMkLst>
      </pc:sldChg>
      <pc:sldChg chg="modSp mod modShow">
        <pc:chgData name="COIGNET Alexis" userId="76ea5e1a-bc88-4802-bf9d-ac1355beb253" providerId="ADAL" clId="{751420B8-DE03-4E3B-9309-1CF1B93EFDAD}" dt="2024-01-10T08:25:18.685" v="4883" actId="729"/>
        <pc:sldMkLst>
          <pc:docMk/>
          <pc:sldMk cId="1893851666" sldId="2147469289"/>
        </pc:sldMkLst>
      </pc:sldChg>
      <pc:sldChg chg="modSp mod modShow">
        <pc:chgData name="COIGNET Alexis" userId="76ea5e1a-bc88-4802-bf9d-ac1355beb253" providerId="ADAL" clId="{751420B8-DE03-4E3B-9309-1CF1B93EFDAD}" dt="2024-01-10T08:25:15.567" v="4882" actId="729"/>
        <pc:sldMkLst>
          <pc:docMk/>
          <pc:sldMk cId="4090274451" sldId="2147469290"/>
        </pc:sldMkLst>
      </pc:sldChg>
      <pc:sldChg chg="addSp delSp modSp mod modShow">
        <pc:chgData name="COIGNET Alexis" userId="76ea5e1a-bc88-4802-bf9d-ac1355beb253" providerId="ADAL" clId="{751420B8-DE03-4E3B-9309-1CF1B93EFDAD}" dt="2024-01-10T09:22:27.746" v="5211" actId="729"/>
        <pc:sldMkLst>
          <pc:docMk/>
          <pc:sldMk cId="913351391" sldId="2147469291"/>
        </pc:sldMkLst>
      </pc:sldChg>
      <pc:sldChg chg="modSp mod modCm">
        <pc:chgData name="COIGNET Alexis" userId="76ea5e1a-bc88-4802-bf9d-ac1355beb253" providerId="ADAL" clId="{751420B8-DE03-4E3B-9309-1CF1B93EFDAD}" dt="2023-12-28T14:12:09.611" v="3745"/>
        <pc:sldMkLst>
          <pc:docMk/>
          <pc:sldMk cId="39565805" sldId="2147481955"/>
        </pc:sldMkLst>
      </pc:sldChg>
      <pc:sldChg chg="delSp mod modCm">
        <pc:chgData name="COIGNET Alexis" userId="76ea5e1a-bc88-4802-bf9d-ac1355beb253" providerId="ADAL" clId="{751420B8-DE03-4E3B-9309-1CF1B93EFDAD}" dt="2023-12-28T16:23:34.529" v="3974" actId="478"/>
        <pc:sldMkLst>
          <pc:docMk/>
          <pc:sldMk cId="3438293396" sldId="2147481973"/>
        </pc:sldMkLst>
      </pc:sldChg>
      <pc:sldChg chg="addSp delSp modSp add del mod">
        <pc:chgData name="COIGNET Alexis" userId="76ea5e1a-bc88-4802-bf9d-ac1355beb253" providerId="ADAL" clId="{751420B8-DE03-4E3B-9309-1CF1B93EFDAD}" dt="2023-12-26T14:46:52.596" v="2339" actId="47"/>
        <pc:sldMkLst>
          <pc:docMk/>
          <pc:sldMk cId="618962803" sldId="2147481976"/>
        </pc:sldMkLst>
      </pc:sldChg>
      <pc:sldChg chg="delSp mod modCm">
        <pc:chgData name="COIGNET Alexis" userId="76ea5e1a-bc88-4802-bf9d-ac1355beb253" providerId="ADAL" clId="{751420B8-DE03-4E3B-9309-1CF1B93EFDAD}" dt="2023-12-28T16:23:38.914" v="3975" actId="478"/>
        <pc:sldMkLst>
          <pc:docMk/>
          <pc:sldMk cId="3580833316" sldId="2147481978"/>
        </pc:sldMkLst>
      </pc:sldChg>
      <pc:sldChg chg="addSp delSp modSp add mod modCm">
        <pc:chgData name="COIGNET Alexis" userId="76ea5e1a-bc88-4802-bf9d-ac1355beb253" providerId="ADAL" clId="{751420B8-DE03-4E3B-9309-1CF1B93EFDAD}" dt="2024-01-11T09:29:12.850" v="8125" actId="478"/>
        <pc:sldMkLst>
          <pc:docMk/>
          <pc:sldMk cId="2738404544" sldId="2147481979"/>
        </pc:sldMkLst>
        <pc:extLst>
          <p:ext xmlns:p="http://schemas.openxmlformats.org/presentationml/2006/main" uri="{D6D511B9-2390-475A-947B-AFAB55BFBCF1}">
            <pc226:cmChg xmlns:pc226="http://schemas.microsoft.com/office/powerpoint/2022/06/main/command" chg="mod">
              <pc226:chgData name="COIGNET Alexis" userId="76ea5e1a-bc88-4802-bf9d-ac1355beb253" providerId="ADAL" clId="{751420B8-DE03-4E3B-9309-1CF1B93EFDAD}" dt="2024-01-05T14:48:32.310" v="4126" actId="20577"/>
              <pc2:cmMkLst xmlns:pc2="http://schemas.microsoft.com/office/powerpoint/2019/9/main/command">
                <pc:docMk/>
                <pc:sldMk cId="2738404544" sldId="2147481979"/>
                <pc2:cmMk id="{6C88BB97-0F3C-44F2-A4BF-E079B56B8635}"/>
              </pc2:cmMkLst>
            </pc226:cmChg>
          </p:ext>
        </pc:extLst>
      </pc:sldChg>
      <pc:sldChg chg="addSp delSp modSp add mod modCm">
        <pc:chgData name="COIGNET Alexis" userId="76ea5e1a-bc88-4802-bf9d-ac1355beb253" providerId="ADAL" clId="{751420B8-DE03-4E3B-9309-1CF1B93EFDAD}" dt="2024-01-10T15:15:23.827" v="8044" actId="20577"/>
        <pc:sldMkLst>
          <pc:docMk/>
          <pc:sldMk cId="2251311509" sldId="2147481981"/>
        </pc:sldMkLst>
      </pc:sldChg>
      <pc:sldChg chg="addSp delSp modSp add mod modCm">
        <pc:chgData name="COIGNET Alexis" userId="76ea5e1a-bc88-4802-bf9d-ac1355beb253" providerId="ADAL" clId="{751420B8-DE03-4E3B-9309-1CF1B93EFDAD}" dt="2024-01-10T15:15:36.320" v="8046" actId="20577"/>
        <pc:sldMkLst>
          <pc:docMk/>
          <pc:sldMk cId="4196752458" sldId="2147481983"/>
        </pc:sldMkLst>
      </pc:sldChg>
      <pc:sldChg chg="addSp delSp modSp add mod ord modShow modCm">
        <pc:chgData name="COIGNET Alexis" userId="76ea5e1a-bc88-4802-bf9d-ac1355beb253" providerId="ADAL" clId="{751420B8-DE03-4E3B-9309-1CF1B93EFDAD}" dt="2024-01-11T09:29:28.620" v="8127"/>
        <pc:sldMkLst>
          <pc:docMk/>
          <pc:sldMk cId="1611954198" sldId="2147481990"/>
        </pc:sldMkLst>
      </pc:sldChg>
      <pc:sldChg chg="addSp delSp modSp add mod modCm">
        <pc:chgData name="COIGNET Alexis" userId="76ea5e1a-bc88-4802-bf9d-ac1355beb253" providerId="ADAL" clId="{751420B8-DE03-4E3B-9309-1CF1B93EFDAD}" dt="2024-01-10T15:17:30.754" v="8111" actId="1036"/>
        <pc:sldMkLst>
          <pc:docMk/>
          <pc:sldMk cId="3872359938" sldId="2147481991"/>
        </pc:sldMkLst>
      </pc:sldChg>
      <pc:sldChg chg="add del">
        <pc:chgData name="COIGNET Alexis" userId="76ea5e1a-bc88-4802-bf9d-ac1355beb253" providerId="ADAL" clId="{751420B8-DE03-4E3B-9309-1CF1B93EFDAD}" dt="2023-12-22T13:28:24.774" v="457"/>
        <pc:sldMkLst>
          <pc:docMk/>
          <pc:sldMk cId="1688882512" sldId="2147481992"/>
        </pc:sldMkLst>
      </pc:sldChg>
      <pc:sldChg chg="addSp delSp modSp add mod ord modCm">
        <pc:chgData name="COIGNET Alexis" userId="76ea5e1a-bc88-4802-bf9d-ac1355beb253" providerId="ADAL" clId="{751420B8-DE03-4E3B-9309-1CF1B93EFDAD}" dt="2023-12-28T16:23:08.764" v="3967" actId="478"/>
        <pc:sldMkLst>
          <pc:docMk/>
          <pc:sldMk cId="1956832423" sldId="2147481992"/>
        </pc:sldMkLst>
      </pc:sldChg>
      <pc:sldChg chg="modSp mod modCm">
        <pc:chgData name="COIGNET Alexis" userId="76ea5e1a-bc88-4802-bf9d-ac1355beb253" providerId="ADAL" clId="{751420B8-DE03-4E3B-9309-1CF1B93EFDAD}" dt="2024-01-10T17:19:55.143" v="8123" actId="1076"/>
        <pc:sldMkLst>
          <pc:docMk/>
          <pc:sldMk cId="1441249587" sldId="2147481993"/>
        </pc:sldMkLst>
      </pc:sldChg>
      <pc:sldChg chg="modSp mod modShow">
        <pc:chgData name="COIGNET Alexis" userId="76ea5e1a-bc88-4802-bf9d-ac1355beb253" providerId="ADAL" clId="{751420B8-DE03-4E3B-9309-1CF1B93EFDAD}" dt="2024-01-10T13:14:39.366" v="5828" actId="729"/>
        <pc:sldMkLst>
          <pc:docMk/>
          <pc:sldMk cId="918475442" sldId="2147481995"/>
        </pc:sldMkLst>
      </pc:sldChg>
      <pc:sldChg chg="modSp add mod">
        <pc:chgData name="COIGNET Alexis" userId="76ea5e1a-bc88-4802-bf9d-ac1355beb253" providerId="ADAL" clId="{751420B8-DE03-4E3B-9309-1CF1B93EFDAD}" dt="2023-12-28T15:35:45.090" v="3771" actId="20577"/>
        <pc:sldMkLst>
          <pc:docMk/>
          <pc:sldMk cId="2459300264" sldId="2147481996"/>
        </pc:sldMkLst>
      </pc:sldChg>
      <pc:sldChg chg="addSp delSp modSp add del mod ord modShow modCm">
        <pc:chgData name="COIGNET Alexis" userId="76ea5e1a-bc88-4802-bf9d-ac1355beb253" providerId="ADAL" clId="{751420B8-DE03-4E3B-9309-1CF1B93EFDAD}" dt="2024-01-10T15:12:27.557" v="7749"/>
        <pc:sldMkLst>
          <pc:docMk/>
          <pc:sldMk cId="619587472" sldId="2147481997"/>
        </pc:sldMkLst>
      </pc:sldChg>
      <pc:sldChg chg="delSp modSp add mod">
        <pc:chgData name="COIGNET Alexis" userId="76ea5e1a-bc88-4802-bf9d-ac1355beb253" providerId="ADAL" clId="{751420B8-DE03-4E3B-9309-1CF1B93EFDAD}" dt="2024-01-08T08:48:27.958" v="4690" actId="1037"/>
        <pc:sldMkLst>
          <pc:docMk/>
          <pc:sldMk cId="1257207121" sldId="2147481999"/>
        </pc:sldMkLst>
      </pc:sldChg>
      <pc:sldChg chg="addSp delSp modSp add mod modShow">
        <pc:chgData name="COIGNET Alexis" userId="76ea5e1a-bc88-4802-bf9d-ac1355beb253" providerId="ADAL" clId="{751420B8-DE03-4E3B-9309-1CF1B93EFDAD}" dt="2024-01-10T08:25:22.450" v="4884" actId="729"/>
        <pc:sldMkLst>
          <pc:docMk/>
          <pc:sldMk cId="2161414971" sldId="2147482000"/>
        </pc:sldMkLst>
      </pc:sldChg>
      <pc:sldChg chg="delSp add del mod">
        <pc:chgData name="COIGNET Alexis" userId="76ea5e1a-bc88-4802-bf9d-ac1355beb253" providerId="ADAL" clId="{751420B8-DE03-4E3B-9309-1CF1B93EFDAD}" dt="2024-01-09T20:21:21.471" v="4818" actId="47"/>
        <pc:sldMkLst>
          <pc:docMk/>
          <pc:sldMk cId="3078506807" sldId="2147482001"/>
        </pc:sldMkLst>
      </pc:sldChg>
      <pc:sldChg chg="addSp delSp modSp new mod modShow">
        <pc:chgData name="COIGNET Alexis" userId="76ea5e1a-bc88-4802-bf9d-ac1355beb253" providerId="ADAL" clId="{751420B8-DE03-4E3B-9309-1CF1B93EFDAD}" dt="2024-01-10T09:22:19.870" v="5208" actId="729"/>
        <pc:sldMkLst>
          <pc:docMk/>
          <pc:sldMk cId="1693618491" sldId="2147482002"/>
        </pc:sldMkLst>
      </pc:sldChg>
      <pc:sldChg chg="addSp delSp modSp new mod">
        <pc:chgData name="COIGNET Alexis" userId="76ea5e1a-bc88-4802-bf9d-ac1355beb253" providerId="ADAL" clId="{751420B8-DE03-4E3B-9309-1CF1B93EFDAD}" dt="2024-01-11T10:14:48.936" v="8379" actId="14100"/>
        <pc:sldMkLst>
          <pc:docMk/>
          <pc:sldMk cId="3340189546" sldId="2147482003"/>
        </pc:sldMkLst>
      </pc:sldChg>
      <pc:sldChg chg="addSp delSp modSp new mod">
        <pc:chgData name="COIGNET Alexis" userId="76ea5e1a-bc88-4802-bf9d-ac1355beb253" providerId="ADAL" clId="{751420B8-DE03-4E3B-9309-1CF1B93EFDAD}" dt="2024-01-11T10:18:19.645" v="8436" actId="20577"/>
        <pc:sldMkLst>
          <pc:docMk/>
          <pc:sldMk cId="258348270" sldId="2147482004"/>
        </pc:sldMkLst>
      </pc:sldChg>
      <pc:sldChg chg="addSp delSp modSp new mod">
        <pc:chgData name="COIGNET Alexis" userId="76ea5e1a-bc88-4802-bf9d-ac1355beb253" providerId="ADAL" clId="{751420B8-DE03-4E3B-9309-1CF1B93EFDAD}" dt="2024-01-11T10:20:55.516" v="8503" actId="20577"/>
        <pc:sldMkLst>
          <pc:docMk/>
          <pc:sldMk cId="2145233351" sldId="2147482005"/>
        </pc:sldMkLst>
      </pc:sldChg>
      <pc:sldChg chg="addSp delSp modSp add mod">
        <pc:chgData name="COIGNET Alexis" userId="76ea5e1a-bc88-4802-bf9d-ac1355beb253" providerId="ADAL" clId="{751420B8-DE03-4E3B-9309-1CF1B93EFDAD}" dt="2024-01-11T10:08:02.284" v="8161" actId="14100"/>
        <pc:sldMkLst>
          <pc:docMk/>
          <pc:sldMk cId="980070838" sldId="2147482006"/>
        </pc:sldMkLst>
      </pc:sldChg>
      <pc:sldChg chg="delSp modSp add mod modShow">
        <pc:chgData name="COIGNET Alexis" userId="76ea5e1a-bc88-4802-bf9d-ac1355beb253" providerId="ADAL" clId="{751420B8-DE03-4E3B-9309-1CF1B93EFDAD}" dt="2024-01-11T10:32:52.273" v="8968" actId="729"/>
        <pc:sldMkLst>
          <pc:docMk/>
          <pc:sldMk cId="1039753401" sldId="2147482007"/>
        </pc:sldMkLst>
      </pc:sldChg>
      <pc:sldChg chg="addSp modSp add del mod">
        <pc:chgData name="COIGNET Alexis" userId="76ea5e1a-bc88-4802-bf9d-ac1355beb253" providerId="ADAL" clId="{751420B8-DE03-4E3B-9309-1CF1B93EFDAD}" dt="2024-01-10T14:00:33.077" v="6056" actId="47"/>
        <pc:sldMkLst>
          <pc:docMk/>
          <pc:sldMk cId="3855713646" sldId="2147482008"/>
        </pc:sldMkLst>
      </pc:sldChg>
      <pc:sldChg chg="addSp delSp modSp new mod ord modShow">
        <pc:chgData name="COIGNET Alexis" userId="76ea5e1a-bc88-4802-bf9d-ac1355beb253" providerId="ADAL" clId="{751420B8-DE03-4E3B-9309-1CF1B93EFDAD}" dt="2024-01-11T10:32:48.799" v="8967" actId="729"/>
        <pc:sldMkLst>
          <pc:docMk/>
          <pc:sldMk cId="2582682113" sldId="2147482009"/>
        </pc:sldMkLst>
      </pc:sldChg>
      <pc:sldChg chg="addSp delSp modSp add mod ord modShow">
        <pc:chgData name="COIGNET Alexis" userId="76ea5e1a-bc88-4802-bf9d-ac1355beb253" providerId="ADAL" clId="{751420B8-DE03-4E3B-9309-1CF1B93EFDAD}" dt="2024-01-11T10:32:46.146" v="8966" actId="729"/>
        <pc:sldMkLst>
          <pc:docMk/>
          <pc:sldMk cId="4130302315" sldId="2147482011"/>
        </pc:sldMkLst>
      </pc:sldChg>
      <pc:sldChg chg="addSp delSp modSp add mod">
        <pc:chgData name="COIGNET Alexis" userId="76ea5e1a-bc88-4802-bf9d-ac1355beb253" providerId="ADAL" clId="{751420B8-DE03-4E3B-9309-1CF1B93EFDAD}" dt="2024-01-10T13:23:20.103" v="5902" actId="1035"/>
        <pc:sldMkLst>
          <pc:docMk/>
          <pc:sldMk cId="3277470691" sldId="2147482012"/>
        </pc:sldMkLst>
      </pc:sldChg>
      <pc:sldChg chg="addSp delSp modSp add del mod">
        <pc:chgData name="COIGNET Alexis" userId="76ea5e1a-bc88-4802-bf9d-ac1355beb253" providerId="ADAL" clId="{751420B8-DE03-4E3B-9309-1CF1B93EFDAD}" dt="2024-01-10T14:40:13.940" v="6838" actId="47"/>
        <pc:sldMkLst>
          <pc:docMk/>
          <pc:sldMk cId="1811825250" sldId="2147482013"/>
        </pc:sldMkLst>
      </pc:sldChg>
      <pc:sldChg chg="addSp delSp modSp add mod">
        <pc:chgData name="COIGNET Alexis" userId="76ea5e1a-bc88-4802-bf9d-ac1355beb253" providerId="ADAL" clId="{751420B8-DE03-4E3B-9309-1CF1B93EFDAD}" dt="2024-01-11T10:28:07.149" v="8738" actId="13926"/>
        <pc:sldMkLst>
          <pc:docMk/>
          <pc:sldMk cId="162960782" sldId="2147482014"/>
        </pc:sldMkLst>
      </pc:sldChg>
      <pc:sldChg chg="delSp modSp add mod modCm">
        <pc:chgData name="COIGNET Alexis" userId="76ea5e1a-bc88-4802-bf9d-ac1355beb253" providerId="ADAL" clId="{751420B8-DE03-4E3B-9309-1CF1B93EFDAD}" dt="2024-01-11T09:29:02.115" v="8124" actId="478"/>
        <pc:sldMkLst>
          <pc:docMk/>
          <pc:sldMk cId="132357815" sldId="2147482015"/>
        </pc:sldMkLst>
        <pc:extLst>
          <p:ext xmlns:p="http://schemas.openxmlformats.org/presentationml/2006/main" uri="{D6D511B9-2390-475A-947B-AFAB55BFBCF1}">
            <pc226:cmChg xmlns:pc226="http://schemas.microsoft.com/office/powerpoint/2022/06/main/command" chg="mod">
              <pc226:chgData name="COIGNET Alexis" userId="76ea5e1a-bc88-4802-bf9d-ac1355beb253" providerId="ADAL" clId="{751420B8-DE03-4E3B-9309-1CF1B93EFDAD}" dt="2024-01-10T15:09:35.651" v="7088" actId="20577"/>
              <pc2:cmMkLst xmlns:pc2="http://schemas.microsoft.com/office/powerpoint/2019/9/main/command">
                <pc:docMk/>
                <pc:sldMk cId="132357815" sldId="2147482015"/>
                <pc2:cmMk id="{3EF33905-38A3-4A70-B222-8D16B5198EC1}"/>
              </pc2:cmMkLst>
            </pc226:cmChg>
            <pc226:cmChg xmlns:pc226="http://schemas.microsoft.com/office/powerpoint/2022/06/main/command" chg="mod">
              <pc226:chgData name="COIGNET Alexis" userId="76ea5e1a-bc88-4802-bf9d-ac1355beb253" providerId="ADAL" clId="{751420B8-DE03-4E3B-9309-1CF1B93EFDAD}" dt="2024-01-10T15:08:54.219" v="6915" actId="20577"/>
              <pc2:cmMkLst xmlns:pc2="http://schemas.microsoft.com/office/powerpoint/2019/9/main/command">
                <pc:docMk/>
                <pc:sldMk cId="132357815" sldId="2147482015"/>
                <pc2:cmMk id="{9E5B3EAC-D356-4432-81E9-6007E5E91C1F}"/>
              </pc2:cmMkLst>
            </pc226:cmChg>
          </p:ext>
        </pc:extLst>
      </pc:sldChg>
      <pc:sldChg chg="addSp delSp modSp add mod">
        <pc:chgData name="COIGNET Alexis" userId="76ea5e1a-bc88-4802-bf9d-ac1355beb253" providerId="ADAL" clId="{751420B8-DE03-4E3B-9309-1CF1B93EFDAD}" dt="2024-01-11T09:40:28.672" v="8132" actId="1076"/>
        <pc:sldMkLst>
          <pc:docMk/>
          <pc:sldMk cId="4187097854" sldId="2147482016"/>
        </pc:sldMkLst>
      </pc:sldChg>
      <pc:sldChg chg="addSp delSp modSp add mod">
        <pc:chgData name="COIGNET Alexis" userId="76ea5e1a-bc88-4802-bf9d-ac1355beb253" providerId="ADAL" clId="{751420B8-DE03-4E3B-9309-1CF1B93EFDAD}" dt="2024-01-11T09:40:42.397" v="8135" actId="1076"/>
        <pc:sldMkLst>
          <pc:docMk/>
          <pc:sldMk cId="428757134" sldId="2147482017"/>
        </pc:sldMkLst>
      </pc:sldChg>
    </pc:docChg>
  </pc:docChgLst>
</pc:chgInfo>
</file>

<file path=ppt/comments/modernComment_7FFFF97F_FA255C4A.xml><?xml version="1.0" encoding="utf-8"?>
<p188:cmLst xmlns:a="http://schemas.openxmlformats.org/drawingml/2006/main" xmlns:r="http://schemas.openxmlformats.org/officeDocument/2006/relationships" xmlns:p188="http://schemas.microsoft.com/office/powerpoint/2018/8/main">
  <p188:cm id="{E978E8BA-E97A-471C-BFE9-959B9E528F39}" authorId="{BCBD2DC4-7336-ABE4-044B-53877AF61DFE}" status="resolved" created="2023-12-27T09:36:27.013" complete="100000">
    <ac:deMkLst xmlns:ac="http://schemas.microsoft.com/office/drawing/2013/main/command">
      <pc:docMk xmlns:pc="http://schemas.microsoft.com/office/powerpoint/2013/main/command"/>
      <pc:sldMk xmlns:pc="http://schemas.microsoft.com/office/powerpoint/2013/main/command" cId="4196752458" sldId="2147481983"/>
      <ac:spMk id="88" creationId="{69DE2DA4-DD66-A313-EF19-302FF5D100EE}"/>
    </ac:deMkLst>
    <p188:txBody>
      <a:bodyPr/>
      <a:lstStyle/>
      <a:p>
        <a:r>
          <a:rPr lang="fr-FR"/>
          <a:t>And close ticket</a:t>
        </a:r>
      </a:p>
    </p188:txBody>
    <p188:extLst>
      <p:ext xmlns:p="http://schemas.openxmlformats.org/presentationml/2006/main" uri="{57CB4572-C831-44C2-8A1C-0ADB6CCDFE69}">
        <p223:reactions xmlns:p223="http://schemas.microsoft.com/office/powerpoint/2022/03/main">
          <p223:rxn type="👍">
            <p223:instance time="2023-12-27T09:44:31.301" authorId="{F27054D2-5526-DE38-2589-91083FD1A3B9}"/>
          </p223:rxn>
        </p223:reactions>
      </p:ext>
    </p188:extLst>
  </p188:cm>
</p188:cmLst>
</file>

<file path=ppt/comments/modernComment_7FFFF994_F6614EE.xml><?xml version="1.0" encoding="utf-8"?>
<p188:cmLst xmlns:a="http://schemas.openxmlformats.org/drawingml/2006/main" xmlns:r="http://schemas.openxmlformats.org/officeDocument/2006/relationships" xmlns:p188="http://schemas.microsoft.com/office/powerpoint/2018/8/main">
  <p188:cm id="{ADF8590A-DFD9-4885-BC86-88089C0C666E}" authorId="{BCBD2DC4-7336-ABE4-044B-53877AF61DFE}" status="resolved" created="2024-02-06T11:57:08.191">
    <ac:deMkLst xmlns:ac="http://schemas.microsoft.com/office/drawing/2013/main/command">
      <pc:docMk xmlns:pc="http://schemas.microsoft.com/office/powerpoint/2013/main/command"/>
      <pc:sldMk xmlns:pc="http://schemas.microsoft.com/office/powerpoint/2013/main/command" cId="258348270" sldId="2147482004"/>
      <ac:spMk id="26" creationId="{58A07627-F078-DCB9-DE8F-2C548BE85094}"/>
    </ac:deMkLst>
    <p188:txBody>
      <a:bodyPr/>
      <a:lstStyle/>
      <a:p>
        <a:r>
          <a:rPr lang="fr-FR"/>
          <a:t>his</a:t>
        </a:r>
      </a:p>
    </p188:txBody>
  </p188:cm>
  <p188:cm id="{C1F02B01-72A0-4EFB-943F-330D46CE9B72}" authorId="{BCBD2DC4-7336-ABE4-044B-53877AF61DFE}" status="resolved" created="2024-02-06T11:58:33.166">
    <ac:txMkLst xmlns:ac="http://schemas.microsoft.com/office/drawing/2013/main/command">
      <pc:docMk xmlns:pc="http://schemas.microsoft.com/office/powerpoint/2013/main/command"/>
      <pc:sldMk xmlns:pc="http://schemas.microsoft.com/office/powerpoint/2013/main/command" cId="258348270" sldId="2147482004"/>
      <ac:spMk id="21" creationId="{3A604B95-C628-6D6A-4374-81207E21C807}"/>
      <ac:txMk cp="233">
        <ac:context len="234" hash="666869572"/>
      </ac:txMk>
    </ac:txMkLst>
    <p188:pos x="1127203" y="1190503"/>
    <p188:txBody>
      <a:bodyPr/>
      <a:lstStyle/>
      <a:p>
        <a:r>
          <a:rPr lang="fr-FR"/>
          <a:t>La notion d'area me semble un peu floue. Ceci dit, je n'ai rien de mieux à proposer, peut-être mettre le point après "steward."</a:t>
        </a:r>
      </a:p>
    </p188:txBody>
  </p188:cm>
</p188:cmLst>
</file>

<file path=ppt/comments/modernComment_7FFFF9A1_198E508E.xml><?xml version="1.0" encoding="utf-8"?>
<p188:cmLst xmlns:a="http://schemas.openxmlformats.org/drawingml/2006/main" xmlns:r="http://schemas.openxmlformats.org/officeDocument/2006/relationships" xmlns:p188="http://schemas.microsoft.com/office/powerpoint/2018/8/main">
  <p188:cm id="{6566BED0-AB9C-4E40-838D-52E757DD9CF0}" authorId="{081847EF-17AB-4F4C-895E-4ECF3FDBCD94}" created="2025-01-08T08:00:45.517">
    <pc:sldMkLst xmlns:pc="http://schemas.microsoft.com/office/powerpoint/2013/main/command">
      <pc:docMk/>
      <pc:sldMk cId="428757134" sldId="2147482017"/>
    </pc:sldMkLst>
    <p188:txBody>
      <a:bodyPr/>
      <a:lstStyle/>
      <a:p>
        <a:r>
          <a:rPr lang="fr-FR"/>
          <a:t>[@COIGNET Alexis]  et [@BRET Pierre]  j’ai reformulé la définition de data catalog suite à un commentaire de Christophe mais en regardant les autres définitions je pense que ça vaudrait le coup de repasser dessus pour supprimer les termes qui ne nous servent pas et reformuler ceux qui nous servent en fct de notre usage, à faire pour la prochaine version!</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FD06E5D-522F-4494-A00C-185B609AA6A0}" type="datetimeFigureOut">
              <a:rPr lang="fr-FR" smtClean="0"/>
              <a:t>31/01/2025</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72C1BE7-F5A9-4E6F-BF7E-29C94264C93B}" type="slidenum">
              <a:rPr lang="fr-FR" smtClean="0"/>
              <a:t>‹N°›</a:t>
            </a:fld>
            <a:endParaRPr lang="fr-FR"/>
          </a:p>
        </p:txBody>
      </p:sp>
    </p:spTree>
    <p:extLst>
      <p:ext uri="{BB962C8B-B14F-4D97-AF65-F5344CB8AC3E}">
        <p14:creationId xmlns:p14="http://schemas.microsoft.com/office/powerpoint/2010/main" val="22728606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272C1BE7-F5A9-4E6F-BF7E-29C94264C93B}" type="slidenum">
              <a:rPr lang="en-US" smtClean="0"/>
              <a:t>1</a:t>
            </a:fld>
            <a:endParaRPr lang="en-US"/>
          </a:p>
        </p:txBody>
      </p:sp>
    </p:spTree>
    <p:extLst>
      <p:ext uri="{BB962C8B-B14F-4D97-AF65-F5344CB8AC3E}">
        <p14:creationId xmlns:p14="http://schemas.microsoft.com/office/powerpoint/2010/main" val="13067270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6C36E5C7-C0A9-4234-8FCB-36E9FDFB93D9}" type="slidenum">
              <a:rPr lang="en-US" smtClean="0"/>
              <a:t>15</a:t>
            </a:fld>
            <a:endParaRPr lang="en-US"/>
          </a:p>
        </p:txBody>
      </p:sp>
    </p:spTree>
    <p:extLst>
      <p:ext uri="{BB962C8B-B14F-4D97-AF65-F5344CB8AC3E}">
        <p14:creationId xmlns:p14="http://schemas.microsoft.com/office/powerpoint/2010/main" val="22297790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AA759650-762C-9343-8990-0901C80FC791}" type="slidenum">
              <a:rPr lang="fr-FR" smtClean="0"/>
              <a:pPr/>
              <a:t>16</a:t>
            </a:fld>
            <a:endParaRPr lang="fr-FR"/>
          </a:p>
        </p:txBody>
      </p:sp>
    </p:spTree>
    <p:extLst>
      <p:ext uri="{BB962C8B-B14F-4D97-AF65-F5344CB8AC3E}">
        <p14:creationId xmlns:p14="http://schemas.microsoft.com/office/powerpoint/2010/main" val="32418946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C8A38D4B-0249-4FAE-8CBA-D5AD124EA7E8}" type="slidenum">
              <a:rPr lang="fr-FR" smtClean="0"/>
              <a:t>17</a:t>
            </a:fld>
            <a:endParaRPr lang="fr-FR"/>
          </a:p>
        </p:txBody>
      </p:sp>
    </p:spTree>
    <p:extLst>
      <p:ext uri="{BB962C8B-B14F-4D97-AF65-F5344CB8AC3E}">
        <p14:creationId xmlns:p14="http://schemas.microsoft.com/office/powerpoint/2010/main" val="24055441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C8A38D4B-0249-4FAE-8CBA-D5AD124EA7E8}" type="slidenum">
              <a:rPr lang="fr-FR" smtClean="0"/>
              <a:t>18</a:t>
            </a:fld>
            <a:endParaRPr lang="fr-FR"/>
          </a:p>
        </p:txBody>
      </p:sp>
    </p:spTree>
    <p:extLst>
      <p:ext uri="{BB962C8B-B14F-4D97-AF65-F5344CB8AC3E}">
        <p14:creationId xmlns:p14="http://schemas.microsoft.com/office/powerpoint/2010/main" val="24055441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272C1BE7-F5A9-4E6F-BF7E-29C94264C93B}" type="slidenum">
              <a:rPr lang="en-US" smtClean="0"/>
              <a:t>20</a:t>
            </a:fld>
            <a:endParaRPr lang="en-US"/>
          </a:p>
        </p:txBody>
      </p:sp>
    </p:spTree>
    <p:extLst>
      <p:ext uri="{BB962C8B-B14F-4D97-AF65-F5344CB8AC3E}">
        <p14:creationId xmlns:p14="http://schemas.microsoft.com/office/powerpoint/2010/main" val="36036336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272C1BE7-F5A9-4E6F-BF7E-29C94264C93B}" type="slidenum">
              <a:rPr lang="en-US" smtClean="0"/>
              <a:t>21</a:t>
            </a:fld>
            <a:endParaRPr lang="en-US"/>
          </a:p>
        </p:txBody>
      </p:sp>
    </p:spTree>
    <p:extLst>
      <p:ext uri="{BB962C8B-B14F-4D97-AF65-F5344CB8AC3E}">
        <p14:creationId xmlns:p14="http://schemas.microsoft.com/office/powerpoint/2010/main" val="4781174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2C1BE7-F5A9-4E6F-BF7E-29C94264C93B}"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53296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2C1BE7-F5A9-4E6F-BF7E-29C94264C93B}"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98811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272C1BE7-F5A9-4E6F-BF7E-29C94264C93B}" type="slidenum">
              <a:rPr lang="en-US" smtClean="0"/>
              <a:t>25</a:t>
            </a:fld>
            <a:endParaRPr lang="en-US"/>
          </a:p>
        </p:txBody>
      </p:sp>
    </p:spTree>
    <p:extLst>
      <p:ext uri="{BB962C8B-B14F-4D97-AF65-F5344CB8AC3E}">
        <p14:creationId xmlns:p14="http://schemas.microsoft.com/office/powerpoint/2010/main" val="42527242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9B27248-ADBB-44E7-B85D-7E1B35FCA37A}" type="slidenum">
              <a:rPr lang="fr-FR" smtClean="0"/>
              <a:t>26</a:t>
            </a:fld>
            <a:endParaRPr lang="fr-FR"/>
          </a:p>
        </p:txBody>
      </p:sp>
    </p:spTree>
    <p:extLst>
      <p:ext uri="{BB962C8B-B14F-4D97-AF65-F5344CB8AC3E}">
        <p14:creationId xmlns:p14="http://schemas.microsoft.com/office/powerpoint/2010/main" val="23611613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272C1BE7-F5A9-4E6F-BF7E-29C94264C93B}" type="slidenum">
              <a:rPr lang="en-US" smtClean="0"/>
              <a:t>2</a:t>
            </a:fld>
            <a:endParaRPr lang="en-US"/>
          </a:p>
        </p:txBody>
      </p:sp>
    </p:spTree>
    <p:extLst>
      <p:ext uri="{BB962C8B-B14F-4D97-AF65-F5344CB8AC3E}">
        <p14:creationId xmlns:p14="http://schemas.microsoft.com/office/powerpoint/2010/main" val="11598125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272C1BE7-F5A9-4E6F-BF7E-29C94264C93B}" type="slidenum">
              <a:rPr lang="en-US" smtClean="0"/>
              <a:t>27</a:t>
            </a:fld>
            <a:endParaRPr lang="en-US"/>
          </a:p>
        </p:txBody>
      </p:sp>
    </p:spTree>
    <p:extLst>
      <p:ext uri="{BB962C8B-B14F-4D97-AF65-F5344CB8AC3E}">
        <p14:creationId xmlns:p14="http://schemas.microsoft.com/office/powerpoint/2010/main" val="14076343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272C1BE7-F5A9-4E6F-BF7E-29C94264C93B}" type="slidenum">
              <a:rPr lang="en-US" smtClean="0"/>
              <a:t>28</a:t>
            </a:fld>
            <a:endParaRPr lang="en-US"/>
          </a:p>
        </p:txBody>
      </p:sp>
    </p:spTree>
    <p:extLst>
      <p:ext uri="{BB962C8B-B14F-4D97-AF65-F5344CB8AC3E}">
        <p14:creationId xmlns:p14="http://schemas.microsoft.com/office/powerpoint/2010/main" val="29909752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272C1BE7-F5A9-4E6F-BF7E-29C94264C93B}" type="slidenum">
              <a:rPr lang="en-US" smtClean="0"/>
              <a:t>29</a:t>
            </a:fld>
            <a:endParaRPr lang="en-US"/>
          </a:p>
        </p:txBody>
      </p:sp>
    </p:spTree>
    <p:extLst>
      <p:ext uri="{BB962C8B-B14F-4D97-AF65-F5344CB8AC3E}">
        <p14:creationId xmlns:p14="http://schemas.microsoft.com/office/powerpoint/2010/main" val="30913118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272C1BE7-F5A9-4E6F-BF7E-29C94264C93B}" type="slidenum">
              <a:rPr lang="en-US" smtClean="0"/>
              <a:t>30</a:t>
            </a:fld>
            <a:endParaRPr lang="en-US"/>
          </a:p>
        </p:txBody>
      </p:sp>
    </p:spTree>
    <p:extLst>
      <p:ext uri="{BB962C8B-B14F-4D97-AF65-F5344CB8AC3E}">
        <p14:creationId xmlns:p14="http://schemas.microsoft.com/office/powerpoint/2010/main" val="20193300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272C1BE7-F5A9-4E6F-BF7E-29C94264C93B}" type="slidenum">
              <a:rPr lang="en-US" smtClean="0"/>
              <a:t>31</a:t>
            </a:fld>
            <a:endParaRPr lang="en-US"/>
          </a:p>
        </p:txBody>
      </p:sp>
    </p:spTree>
    <p:extLst>
      <p:ext uri="{BB962C8B-B14F-4D97-AF65-F5344CB8AC3E}">
        <p14:creationId xmlns:p14="http://schemas.microsoft.com/office/powerpoint/2010/main" val="24382833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272C1BE7-F5A9-4E6F-BF7E-29C94264C93B}" type="slidenum">
              <a:rPr lang="en-US" smtClean="0"/>
              <a:t>32</a:t>
            </a:fld>
            <a:endParaRPr lang="en-US"/>
          </a:p>
        </p:txBody>
      </p:sp>
    </p:spTree>
    <p:extLst>
      <p:ext uri="{BB962C8B-B14F-4D97-AF65-F5344CB8AC3E}">
        <p14:creationId xmlns:p14="http://schemas.microsoft.com/office/powerpoint/2010/main" val="167466901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272C1BE7-F5A9-4E6F-BF7E-29C94264C93B}" type="slidenum">
              <a:rPr lang="fr-FR" smtClean="0"/>
              <a:t>33</a:t>
            </a:fld>
            <a:endParaRPr lang="fr-FR"/>
          </a:p>
        </p:txBody>
      </p:sp>
    </p:spTree>
    <p:extLst>
      <p:ext uri="{BB962C8B-B14F-4D97-AF65-F5344CB8AC3E}">
        <p14:creationId xmlns:p14="http://schemas.microsoft.com/office/powerpoint/2010/main" val="288703233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272C1BE7-F5A9-4E6F-BF7E-29C94264C93B}" type="slidenum">
              <a:rPr lang="en-US" smtClean="0"/>
              <a:t>37</a:t>
            </a:fld>
            <a:endParaRPr lang="en-US"/>
          </a:p>
        </p:txBody>
      </p:sp>
    </p:spTree>
    <p:extLst>
      <p:ext uri="{BB962C8B-B14F-4D97-AF65-F5344CB8AC3E}">
        <p14:creationId xmlns:p14="http://schemas.microsoft.com/office/powerpoint/2010/main" val="26666132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272C1BE7-F5A9-4E6F-BF7E-29C94264C93B}" type="slidenum">
              <a:rPr lang="en-US" smtClean="0"/>
              <a:t>3</a:t>
            </a:fld>
            <a:endParaRPr lang="en-US"/>
          </a:p>
        </p:txBody>
      </p:sp>
    </p:spTree>
    <p:extLst>
      <p:ext uri="{BB962C8B-B14F-4D97-AF65-F5344CB8AC3E}">
        <p14:creationId xmlns:p14="http://schemas.microsoft.com/office/powerpoint/2010/main" val="3211259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4722CD1A-4017-4A96-95A0-EC863688205F}" type="slidenum">
              <a:rPr lang="fr-FR" smtClean="0"/>
              <a:t>5</a:t>
            </a:fld>
            <a:endParaRPr lang="fr-FR"/>
          </a:p>
        </p:txBody>
      </p:sp>
    </p:spTree>
    <p:extLst>
      <p:ext uri="{BB962C8B-B14F-4D97-AF65-F5344CB8AC3E}">
        <p14:creationId xmlns:p14="http://schemas.microsoft.com/office/powerpoint/2010/main" val="26618847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4722CD1A-4017-4A96-95A0-EC863688205F}" type="slidenum">
              <a:rPr lang="fr-FR" smtClean="0"/>
              <a:t>6</a:t>
            </a:fld>
            <a:endParaRPr lang="fr-FR"/>
          </a:p>
        </p:txBody>
      </p:sp>
    </p:spTree>
    <p:extLst>
      <p:ext uri="{BB962C8B-B14F-4D97-AF65-F5344CB8AC3E}">
        <p14:creationId xmlns:p14="http://schemas.microsoft.com/office/powerpoint/2010/main" val="18351238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Idée: construire une slide de récap en détaillant juste les </a:t>
            </a:r>
            <a:r>
              <a:rPr lang="fr-FR" err="1"/>
              <a:t>consumers</a:t>
            </a:r>
            <a:r>
              <a:rPr lang="fr-FR"/>
              <a:t>/</a:t>
            </a:r>
            <a:r>
              <a:rPr lang="fr-FR" err="1"/>
              <a:t>producers</a:t>
            </a:r>
            <a:r>
              <a:rPr lang="fr-FR"/>
              <a:t> </a:t>
            </a:r>
          </a:p>
          <a:p>
            <a:r>
              <a:rPr lang="fr-FR"/>
              <a:t>Mettre une pastille « vous êtes ici » selon les </a:t>
            </a:r>
            <a:r>
              <a:rPr lang="fr-FR" err="1"/>
              <a:t>interlocuateurs</a:t>
            </a:r>
            <a:endParaRPr lang="en-US"/>
          </a:p>
        </p:txBody>
      </p:sp>
      <p:sp>
        <p:nvSpPr>
          <p:cNvPr id="4" name="Espace réservé du numéro de diapositive 3"/>
          <p:cNvSpPr>
            <a:spLocks noGrp="1"/>
          </p:cNvSpPr>
          <p:nvPr>
            <p:ph type="sldNum" sz="quarter" idx="5"/>
          </p:nvPr>
        </p:nvSpPr>
        <p:spPr/>
        <p:txBody>
          <a:bodyPr/>
          <a:lstStyle/>
          <a:p>
            <a:fld id="{5105387B-A8B6-4E8A-8BB9-C5D13506771E}" type="slidenum">
              <a:rPr lang="fr-FR" smtClean="0"/>
              <a:t>8</a:t>
            </a:fld>
            <a:endParaRPr lang="fr-FR"/>
          </a:p>
        </p:txBody>
      </p:sp>
    </p:spTree>
    <p:extLst>
      <p:ext uri="{BB962C8B-B14F-4D97-AF65-F5344CB8AC3E}">
        <p14:creationId xmlns:p14="http://schemas.microsoft.com/office/powerpoint/2010/main" val="21383266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D8B167-962D-48E6-88F2-CEF4C950A38D}" type="slidenum">
              <a:rPr lang="fr-FR" smtClean="0"/>
              <a:t>12</a:t>
            </a:fld>
            <a:endParaRPr lang="fr-FR"/>
          </a:p>
        </p:txBody>
      </p:sp>
    </p:spTree>
    <p:extLst>
      <p:ext uri="{BB962C8B-B14F-4D97-AF65-F5344CB8AC3E}">
        <p14:creationId xmlns:p14="http://schemas.microsoft.com/office/powerpoint/2010/main" val="23058190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2BC7146E-41F6-4D38-93B7-40CD12B304A8}" type="slidenum">
              <a:rPr lang="fr-FR" smtClean="0"/>
              <a:t>13</a:t>
            </a:fld>
            <a:endParaRPr lang="fr-FR"/>
          </a:p>
        </p:txBody>
      </p:sp>
    </p:spTree>
    <p:extLst>
      <p:ext uri="{BB962C8B-B14F-4D97-AF65-F5344CB8AC3E}">
        <p14:creationId xmlns:p14="http://schemas.microsoft.com/office/powerpoint/2010/main" val="30080753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A828A0-60B3-44D5-B9CB-14B9903DF8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163652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1.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9.png"/><Relationship Id="rId4" Type="http://schemas.openxmlformats.org/officeDocument/2006/relationships/image" Target="../media/image1.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Home-Photo">
    <p:bg>
      <p:bgPr>
        <a:solidFill>
          <a:schemeClr val="bg1"/>
        </a:solidFill>
        <a:effectLst/>
      </p:bgPr>
    </p:bg>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20A59C01-358C-4967-8633-9C89B50085F1}"/>
              </a:ext>
            </a:extLst>
          </p:cNvPr>
          <p:cNvCxnSpPr>
            <a:cxnSpLocks/>
          </p:cNvCxnSpPr>
          <p:nvPr/>
        </p:nvCxnSpPr>
        <p:spPr>
          <a:xfrm flipH="1">
            <a:off x="812800" y="5630333"/>
            <a:ext cx="10566400" cy="0"/>
          </a:xfrm>
          <a:prstGeom prst="line">
            <a:avLst/>
          </a:prstGeom>
          <a:ln w="6350">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9" name="Rectangle 18">
            <a:extLst>
              <a:ext uri="{FF2B5EF4-FFF2-40B4-BE49-F238E27FC236}">
                <a16:creationId xmlns:a16="http://schemas.microsoft.com/office/drawing/2014/main" id="{5C459608-2702-4E4F-9EEF-958C7918B398}"/>
              </a:ext>
            </a:extLst>
          </p:cNvPr>
          <p:cNvSpPr/>
          <p:nvPr/>
        </p:nvSpPr>
        <p:spPr>
          <a:xfrm>
            <a:off x="975425" y="678355"/>
            <a:ext cx="1803401" cy="1962093"/>
          </a:xfrm>
          <a:prstGeom prst="rect">
            <a:avLst/>
          </a:prstGeom>
          <a:solidFill>
            <a:schemeClr val="accent3"/>
          </a:solidFill>
          <a:ln w="63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fr-FR" sz="2400"/>
          </a:p>
        </p:txBody>
      </p:sp>
      <p:sp>
        <p:nvSpPr>
          <p:cNvPr id="20" name="Rectangle 19">
            <a:extLst>
              <a:ext uri="{FF2B5EF4-FFF2-40B4-BE49-F238E27FC236}">
                <a16:creationId xmlns:a16="http://schemas.microsoft.com/office/drawing/2014/main" id="{2B710B50-5203-4F3B-BFAA-76500AD2E836}"/>
              </a:ext>
            </a:extLst>
          </p:cNvPr>
          <p:cNvSpPr/>
          <p:nvPr/>
        </p:nvSpPr>
        <p:spPr>
          <a:xfrm>
            <a:off x="812800" y="2297571"/>
            <a:ext cx="3826213" cy="3800272"/>
          </a:xfrm>
          <a:prstGeom prst="rect">
            <a:avLst/>
          </a:prstGeom>
          <a:solidFill>
            <a:schemeClr val="accent1"/>
          </a:solidFill>
          <a:ln w="63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2400"/>
          </a:p>
        </p:txBody>
      </p:sp>
      <p:sp>
        <p:nvSpPr>
          <p:cNvPr id="2" name="Rectangle 1">
            <a:extLst>
              <a:ext uri="{FF2B5EF4-FFF2-40B4-BE49-F238E27FC236}">
                <a16:creationId xmlns:a16="http://schemas.microsoft.com/office/drawing/2014/main" id="{69D04F92-153C-48E4-A5AB-8DFC47FB55A6}"/>
              </a:ext>
            </a:extLst>
          </p:cNvPr>
          <p:cNvSpPr/>
          <p:nvPr/>
        </p:nvSpPr>
        <p:spPr>
          <a:xfrm>
            <a:off x="1184976" y="894631"/>
            <a:ext cx="3462864" cy="4601255"/>
          </a:xfrm>
          <a:prstGeom prst="rect">
            <a:avLst/>
          </a:prstGeom>
          <a:solidFill>
            <a:schemeClr val="bg1"/>
          </a:solidFill>
          <a:ln w="63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2400"/>
          </a:p>
        </p:txBody>
      </p:sp>
      <p:pic>
        <p:nvPicPr>
          <p:cNvPr id="16" name="Image 1">
            <a:extLst>
              <a:ext uri="{FF2B5EF4-FFF2-40B4-BE49-F238E27FC236}">
                <a16:creationId xmlns:a16="http://schemas.microsoft.com/office/drawing/2014/main" id="{02C5263E-5625-4EE1-9E30-5F7674C8836B}"/>
              </a:ext>
            </a:extLst>
          </p:cNvPr>
          <p:cNvPicPr>
            <a:picLocks noChangeAspect="1"/>
          </p:cNvPicPr>
          <p:nvPr/>
        </p:nvPicPr>
        <p:blipFill>
          <a:blip r:embed="rId2"/>
          <a:srcRect/>
          <a:stretch/>
        </p:blipFill>
        <p:spPr bwMode="auto">
          <a:xfrm>
            <a:off x="9821584" y="5965189"/>
            <a:ext cx="1532216" cy="4293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Picture Placeholder 6">
            <a:extLst>
              <a:ext uri="{FF2B5EF4-FFF2-40B4-BE49-F238E27FC236}">
                <a16:creationId xmlns:a16="http://schemas.microsoft.com/office/drawing/2014/main" id="{D16EC0D8-4E60-42BB-9AF2-6B2B80836049}"/>
              </a:ext>
            </a:extLst>
          </p:cNvPr>
          <p:cNvSpPr>
            <a:spLocks noGrp="1"/>
          </p:cNvSpPr>
          <p:nvPr>
            <p:ph type="pic" sz="quarter" idx="11"/>
          </p:nvPr>
        </p:nvSpPr>
        <p:spPr>
          <a:xfrm>
            <a:off x="1184976" y="894632"/>
            <a:ext cx="4344481" cy="4807520"/>
          </a:xfrm>
          <a:prstGeom prst="rect">
            <a:avLst/>
          </a:prstGeom>
          <a:solidFill>
            <a:schemeClr val="bg1">
              <a:lumMod val="95000"/>
            </a:schemeClr>
          </a:solidFill>
        </p:spPr>
        <p:txBody>
          <a:bodyPr/>
          <a:lstStyle>
            <a:lvl1pPr marL="0" indent="0" algn="ctr">
              <a:buNone/>
              <a:defRPr sz="2400"/>
            </a:lvl1pPr>
          </a:lstStyle>
          <a:p>
            <a:r>
              <a:rPr lang="fr-FR"/>
              <a:t>Cliquez sur l'icône pour ajouter une image</a:t>
            </a:r>
          </a:p>
        </p:txBody>
      </p:sp>
      <p:sp>
        <p:nvSpPr>
          <p:cNvPr id="15" name="Title 14">
            <a:extLst>
              <a:ext uri="{FF2B5EF4-FFF2-40B4-BE49-F238E27FC236}">
                <a16:creationId xmlns:a16="http://schemas.microsoft.com/office/drawing/2014/main" id="{38ECEC9E-9C39-4E5C-B866-940C3D6D2F3D}"/>
              </a:ext>
            </a:extLst>
          </p:cNvPr>
          <p:cNvSpPr>
            <a:spLocks noGrp="1"/>
          </p:cNvSpPr>
          <p:nvPr>
            <p:ph type="title" hasCustomPrompt="1"/>
          </p:nvPr>
        </p:nvSpPr>
        <p:spPr>
          <a:xfrm>
            <a:off x="5968365" y="1565642"/>
            <a:ext cx="5385435" cy="1732751"/>
          </a:xfrm>
          <a:prstGeom prst="rect">
            <a:avLst/>
          </a:prstGeom>
          <a:noFill/>
        </p:spPr>
        <p:txBody>
          <a:bodyPr lIns="0" anchor="b"/>
          <a:lstStyle>
            <a:lvl1pPr algn="l">
              <a:defRPr lang="fr-FR" sz="5333" cap="none" baseline="0" dirty="0">
                <a:solidFill>
                  <a:schemeClr val="accent1"/>
                </a:solidFill>
                <a:latin typeface="Vinci Sans Medium" panose="02000000000000000000" pitchFamily="2" charset="0"/>
              </a:defRPr>
            </a:lvl1pPr>
          </a:lstStyle>
          <a:p>
            <a:pPr lvl="0">
              <a:lnSpc>
                <a:spcPts val="5333"/>
              </a:lnSpc>
            </a:pPr>
            <a:r>
              <a:rPr lang="en-US"/>
              <a:t>Click to edit master title style</a:t>
            </a:r>
            <a:endParaRPr lang="fr-FR"/>
          </a:p>
        </p:txBody>
      </p:sp>
      <p:sp>
        <p:nvSpPr>
          <p:cNvPr id="18" name="Text Placeholder 17">
            <a:extLst>
              <a:ext uri="{FF2B5EF4-FFF2-40B4-BE49-F238E27FC236}">
                <a16:creationId xmlns:a16="http://schemas.microsoft.com/office/drawing/2014/main" id="{B59898E6-C4BF-425A-B1B0-587A4AF4CC36}"/>
              </a:ext>
            </a:extLst>
          </p:cNvPr>
          <p:cNvSpPr>
            <a:spLocks noGrp="1"/>
          </p:cNvSpPr>
          <p:nvPr>
            <p:ph type="body" sz="quarter" idx="10"/>
          </p:nvPr>
        </p:nvSpPr>
        <p:spPr>
          <a:xfrm>
            <a:off x="5968365" y="3495675"/>
            <a:ext cx="5385435" cy="554013"/>
          </a:xfrm>
          <a:prstGeom prst="rect">
            <a:avLst/>
          </a:prstGeom>
          <a:noFill/>
        </p:spPr>
        <p:txBody>
          <a:bodyPr lIns="0"/>
          <a:lstStyle>
            <a:lvl1pPr marL="0" indent="0" algn="l">
              <a:buNone/>
              <a:defRPr sz="2133">
                <a:solidFill>
                  <a:schemeClr val="accent3"/>
                </a:solidFill>
              </a:defRPr>
            </a:lvl1pPr>
            <a:lvl2pPr marL="364058" indent="0">
              <a:buNone/>
              <a:defRPr>
                <a:solidFill>
                  <a:schemeClr val="bg1"/>
                </a:solidFill>
              </a:defRPr>
            </a:lvl2pPr>
            <a:lvl3pPr marL="715415" indent="0">
              <a:buNone/>
              <a:defRPr>
                <a:solidFill>
                  <a:schemeClr val="bg1"/>
                </a:solidFill>
              </a:defRPr>
            </a:lvl3pPr>
            <a:lvl4pPr marL="1246686" indent="0">
              <a:buFont typeface="Arial" panose="020B0604020202020204" pitchFamily="34" charset="0"/>
              <a:buNone/>
              <a:defRPr>
                <a:solidFill>
                  <a:schemeClr val="bg1"/>
                </a:solidFill>
              </a:defRPr>
            </a:lvl4pPr>
            <a:lvl5pPr marL="1602277" indent="0">
              <a:buNone/>
              <a:defRPr>
                <a:solidFill>
                  <a:schemeClr val="bg1"/>
                </a:solidFill>
              </a:defRPr>
            </a:lvl5pPr>
          </a:lstStyle>
          <a:p>
            <a:pPr lvl="0"/>
            <a:r>
              <a:rPr lang="fr-FR"/>
              <a:t>Cliquez pour modifier les styles du texte du masque</a:t>
            </a:r>
          </a:p>
        </p:txBody>
      </p:sp>
      <p:cxnSp>
        <p:nvCxnSpPr>
          <p:cNvPr id="22" name="Straight Connector 21">
            <a:extLst>
              <a:ext uri="{FF2B5EF4-FFF2-40B4-BE49-F238E27FC236}">
                <a16:creationId xmlns:a16="http://schemas.microsoft.com/office/drawing/2014/main" id="{C41A50A5-EA4E-434D-9E75-7BF5DFA69209}"/>
              </a:ext>
            </a:extLst>
          </p:cNvPr>
          <p:cNvCxnSpPr>
            <a:cxnSpLocks/>
          </p:cNvCxnSpPr>
          <p:nvPr/>
        </p:nvCxnSpPr>
        <p:spPr>
          <a:xfrm>
            <a:off x="826120" y="6333067"/>
            <a:ext cx="0" cy="383696"/>
          </a:xfrm>
          <a:prstGeom prst="line">
            <a:avLst/>
          </a:prstGeom>
          <a:ln w="12700" cap="rnd">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23" name="Date Placeholder 1">
            <a:extLst>
              <a:ext uri="{FF2B5EF4-FFF2-40B4-BE49-F238E27FC236}">
                <a16:creationId xmlns:a16="http://schemas.microsoft.com/office/drawing/2014/main" id="{0ABF88C9-03CE-47EA-8740-AFCAE8EC6E08}"/>
              </a:ext>
            </a:extLst>
          </p:cNvPr>
          <p:cNvSpPr>
            <a:spLocks noGrp="1"/>
          </p:cNvSpPr>
          <p:nvPr>
            <p:ph type="dt" sz="half" idx="2"/>
          </p:nvPr>
        </p:nvSpPr>
        <p:spPr>
          <a:xfrm>
            <a:off x="916563" y="6341825"/>
            <a:ext cx="1115556" cy="366183"/>
          </a:xfrm>
          <a:prstGeom prst="rect">
            <a:avLst/>
          </a:prstGeom>
        </p:spPr>
        <p:txBody>
          <a:bodyPr wrap="none" anchor="ctr">
            <a:noAutofit/>
          </a:bodyPr>
          <a:lstStyle>
            <a:lvl1pPr>
              <a:defRPr kumimoji="0" lang="en-US" sz="1400" b="0" i="0" u="none" strike="noStrike" cap="none" spc="0" normalizeH="0" baseline="0" smtClean="0">
                <a:ln>
                  <a:noFill/>
                </a:ln>
                <a:solidFill>
                  <a:schemeClr val="bg2"/>
                </a:solidFill>
                <a:effectLst/>
                <a:uLnTx/>
                <a:uFillTx/>
                <a:latin typeface="+mj-lt"/>
                <a:cs typeface="Arial" pitchFamily="34" charset="0"/>
              </a:defRPr>
            </a:lvl1pPr>
          </a:lstStyle>
          <a:p>
            <a:fld id="{EB6F44F5-CF60-4B5F-9088-DB9D5BD65A1E}" type="datetimeFigureOut">
              <a:rPr lang="en-US" smtClean="0"/>
              <a:pPr/>
              <a:t>1/31/2025</a:t>
            </a:fld>
            <a:endParaRPr lang="en-US"/>
          </a:p>
        </p:txBody>
      </p:sp>
    </p:spTree>
    <p:extLst>
      <p:ext uri="{BB962C8B-B14F-4D97-AF65-F5344CB8AC3E}">
        <p14:creationId xmlns:p14="http://schemas.microsoft.com/office/powerpoint/2010/main" val="9717185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Graphique">
    <p:bg>
      <p:bgPr>
        <a:solidFill>
          <a:schemeClr val="bg1"/>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576000" y="96000"/>
            <a:ext cx="11040000" cy="816000"/>
          </a:xfrm>
          <a:prstGeom prst="rect">
            <a:avLst/>
          </a:prstGeom>
        </p:spPr>
        <p:txBody>
          <a:bodyPr lIns="0" tIns="0" rIns="0" bIns="72000" anchor="b" anchorCtr="0"/>
          <a:lstStyle>
            <a:lvl1pPr algn="l">
              <a:defRPr sz="3200" cap="none" baseline="0">
                <a:solidFill>
                  <a:schemeClr val="accent1"/>
                </a:solidFill>
                <a:latin typeface="+mn-lt"/>
              </a:defRPr>
            </a:lvl1pPr>
          </a:lstStyle>
          <a:p>
            <a:r>
              <a:rPr lang="fr-FR"/>
              <a:t>Modifiez le style du titre</a:t>
            </a:r>
          </a:p>
        </p:txBody>
      </p:sp>
      <p:sp>
        <p:nvSpPr>
          <p:cNvPr id="3" name="Espace réservé du texte 2"/>
          <p:cNvSpPr>
            <a:spLocks noGrp="1"/>
          </p:cNvSpPr>
          <p:nvPr>
            <p:ph type="body" idx="1" hasCustomPrompt="1"/>
          </p:nvPr>
        </p:nvSpPr>
        <p:spPr>
          <a:xfrm>
            <a:off x="576000" y="910684"/>
            <a:ext cx="11040000" cy="672000"/>
          </a:xfrm>
          <a:prstGeom prst="rect">
            <a:avLst/>
          </a:prstGeom>
        </p:spPr>
        <p:txBody>
          <a:bodyPr lIns="0" tIns="0" rIns="0" bIns="0" anchor="t" anchorCtr="0"/>
          <a:lstStyle>
            <a:lvl1pPr marL="0" indent="0" algn="l">
              <a:buNone/>
              <a:defRPr sz="2667" b="0" cap="none" baseline="0">
                <a:solidFill>
                  <a:schemeClr val="tx2"/>
                </a:solidFill>
                <a:latin typeface="+mn-lt"/>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fr-FR"/>
              <a:t>Modifiez les styles du texte du masque</a:t>
            </a:r>
          </a:p>
        </p:txBody>
      </p:sp>
      <p:sp>
        <p:nvSpPr>
          <p:cNvPr id="5" name="Footer Placeholder 4">
            <a:extLst>
              <a:ext uri="{FF2B5EF4-FFF2-40B4-BE49-F238E27FC236}">
                <a16:creationId xmlns:a16="http://schemas.microsoft.com/office/drawing/2014/main" id="{654D99D8-D22A-4E8C-B13C-6A76A01FB292}"/>
              </a:ext>
            </a:extLst>
          </p:cNvPr>
          <p:cNvSpPr>
            <a:spLocks noGrp="1"/>
          </p:cNvSpPr>
          <p:nvPr>
            <p:ph type="ftr" sz="quarter" idx="10"/>
          </p:nvPr>
        </p:nvSpPr>
        <p:spPr/>
        <p:txBody>
          <a:bodyPr/>
          <a:lstStyle/>
          <a:p>
            <a:endParaRPr lang="fr-FR"/>
          </a:p>
        </p:txBody>
      </p:sp>
      <p:sp>
        <p:nvSpPr>
          <p:cNvPr id="7" name="Chart Placeholder 6">
            <a:extLst>
              <a:ext uri="{FF2B5EF4-FFF2-40B4-BE49-F238E27FC236}">
                <a16:creationId xmlns:a16="http://schemas.microsoft.com/office/drawing/2014/main" id="{5E0F56B7-ACBD-47BC-8F76-CA9D719503DB}"/>
              </a:ext>
            </a:extLst>
          </p:cNvPr>
          <p:cNvSpPr>
            <a:spLocks noGrp="1"/>
          </p:cNvSpPr>
          <p:nvPr>
            <p:ph type="chart" sz="quarter" idx="11"/>
          </p:nvPr>
        </p:nvSpPr>
        <p:spPr>
          <a:xfrm>
            <a:off x="575734" y="1816100"/>
            <a:ext cx="11040533" cy="4131733"/>
          </a:xfrm>
          <a:prstGeom prst="rect">
            <a:avLst/>
          </a:prstGeom>
        </p:spPr>
        <p:txBody>
          <a:bodyPr/>
          <a:lstStyle>
            <a:lvl1pPr marL="0" indent="0" algn="ctr">
              <a:buNone/>
              <a:defRPr sz="2133"/>
            </a:lvl1pPr>
          </a:lstStyle>
          <a:p>
            <a:r>
              <a:rPr lang="fr-FR"/>
              <a:t>Cliquez sur l'icône pour ajouter un graphique</a:t>
            </a:r>
          </a:p>
        </p:txBody>
      </p:sp>
    </p:spTree>
    <p:extLst>
      <p:ext uri="{BB962C8B-B14F-4D97-AF65-F5344CB8AC3E}">
        <p14:creationId xmlns:p14="http://schemas.microsoft.com/office/powerpoint/2010/main" val="2780125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ableau">
    <p:bg>
      <p:bgPr>
        <a:solidFill>
          <a:schemeClr val="bg1"/>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576000" y="96000"/>
            <a:ext cx="11040000" cy="816000"/>
          </a:xfrm>
          <a:prstGeom prst="rect">
            <a:avLst/>
          </a:prstGeom>
        </p:spPr>
        <p:txBody>
          <a:bodyPr lIns="0" tIns="0" rIns="0" bIns="72000" anchor="b" anchorCtr="0"/>
          <a:lstStyle>
            <a:lvl1pPr algn="l">
              <a:defRPr sz="3200" cap="none" baseline="0">
                <a:solidFill>
                  <a:schemeClr val="accent1"/>
                </a:solidFill>
                <a:latin typeface="+mn-lt"/>
              </a:defRPr>
            </a:lvl1pPr>
          </a:lstStyle>
          <a:p>
            <a:r>
              <a:rPr lang="fr-FR"/>
              <a:t>Modifiez le style du titre</a:t>
            </a:r>
          </a:p>
        </p:txBody>
      </p:sp>
      <p:sp>
        <p:nvSpPr>
          <p:cNvPr id="3" name="Espace réservé du texte 2"/>
          <p:cNvSpPr>
            <a:spLocks noGrp="1"/>
          </p:cNvSpPr>
          <p:nvPr>
            <p:ph type="body" idx="1" hasCustomPrompt="1"/>
          </p:nvPr>
        </p:nvSpPr>
        <p:spPr>
          <a:xfrm>
            <a:off x="576000" y="910684"/>
            <a:ext cx="11040000" cy="672000"/>
          </a:xfrm>
          <a:prstGeom prst="rect">
            <a:avLst/>
          </a:prstGeom>
        </p:spPr>
        <p:txBody>
          <a:bodyPr lIns="0" tIns="0" rIns="0" bIns="0" anchor="t" anchorCtr="0"/>
          <a:lstStyle>
            <a:lvl1pPr marL="0" indent="0" algn="l">
              <a:buNone/>
              <a:defRPr sz="2667" b="0" cap="none" baseline="0">
                <a:solidFill>
                  <a:schemeClr val="tx2"/>
                </a:solidFill>
                <a:latin typeface="+mn-lt"/>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fr-FR"/>
              <a:t>Modifiez les styles du texte du masque</a:t>
            </a:r>
          </a:p>
        </p:txBody>
      </p:sp>
      <p:sp>
        <p:nvSpPr>
          <p:cNvPr id="5" name="Footer Placeholder 4">
            <a:extLst>
              <a:ext uri="{FF2B5EF4-FFF2-40B4-BE49-F238E27FC236}">
                <a16:creationId xmlns:a16="http://schemas.microsoft.com/office/drawing/2014/main" id="{654D99D8-D22A-4E8C-B13C-6A76A01FB292}"/>
              </a:ext>
            </a:extLst>
          </p:cNvPr>
          <p:cNvSpPr>
            <a:spLocks noGrp="1"/>
          </p:cNvSpPr>
          <p:nvPr>
            <p:ph type="ftr" sz="quarter" idx="10"/>
          </p:nvPr>
        </p:nvSpPr>
        <p:spPr/>
        <p:txBody>
          <a:bodyPr/>
          <a:lstStyle/>
          <a:p>
            <a:endParaRPr lang="fr-FR"/>
          </a:p>
        </p:txBody>
      </p:sp>
      <p:sp>
        <p:nvSpPr>
          <p:cNvPr id="6" name="Table Placeholder 5">
            <a:extLst>
              <a:ext uri="{FF2B5EF4-FFF2-40B4-BE49-F238E27FC236}">
                <a16:creationId xmlns:a16="http://schemas.microsoft.com/office/drawing/2014/main" id="{C1C163FE-B52C-4007-B8B5-B4751CEEF14D}"/>
              </a:ext>
            </a:extLst>
          </p:cNvPr>
          <p:cNvSpPr>
            <a:spLocks noGrp="1"/>
          </p:cNvSpPr>
          <p:nvPr>
            <p:ph type="tbl" sz="quarter" idx="11"/>
          </p:nvPr>
        </p:nvSpPr>
        <p:spPr>
          <a:xfrm>
            <a:off x="575734" y="1727201"/>
            <a:ext cx="11040533" cy="4220633"/>
          </a:xfrm>
          <a:prstGeom prst="rect">
            <a:avLst/>
          </a:prstGeom>
        </p:spPr>
        <p:txBody>
          <a:bodyPr/>
          <a:lstStyle>
            <a:lvl1pPr marL="0" indent="0" algn="ctr">
              <a:buNone/>
              <a:defRPr sz="2133"/>
            </a:lvl1pPr>
          </a:lstStyle>
          <a:p>
            <a:r>
              <a:rPr lang="fr-FR"/>
              <a:t>Cliquez sur l'icône pour ajouter un tableau</a:t>
            </a:r>
          </a:p>
        </p:txBody>
      </p:sp>
    </p:spTree>
    <p:extLst>
      <p:ext uri="{BB962C8B-B14F-4D97-AF65-F5344CB8AC3E}">
        <p14:creationId xmlns:p14="http://schemas.microsoft.com/office/powerpoint/2010/main" val="4135774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Vide">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654D99D8-D22A-4E8C-B13C-6A76A01FB292}"/>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1149159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lide phon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19EAFF6-97BB-42B7-A8C1-46B65DEB396C}"/>
              </a:ext>
            </a:extLst>
          </p:cNvPr>
          <p:cNvPicPr>
            <a:picLocks noChangeAspect="1"/>
          </p:cNvPicPr>
          <p:nvPr/>
        </p:nvPicPr>
        <p:blipFill>
          <a:blip r:embed="rId2"/>
          <a:stretch>
            <a:fillRect/>
          </a:stretch>
        </p:blipFill>
        <p:spPr>
          <a:xfrm>
            <a:off x="3313754" y="204417"/>
            <a:ext cx="8075897" cy="6858000"/>
          </a:xfrm>
          <a:prstGeom prst="rect">
            <a:avLst/>
          </a:prstGeom>
        </p:spPr>
      </p:pic>
      <p:sp>
        <p:nvSpPr>
          <p:cNvPr id="214" name="Image"/>
          <p:cNvSpPr>
            <a:spLocks noGrp="1"/>
          </p:cNvSpPr>
          <p:nvPr>
            <p:ph type="pic" sz="quarter" idx="23"/>
          </p:nvPr>
        </p:nvSpPr>
        <p:spPr>
          <a:xfrm>
            <a:off x="5969601" y="900040"/>
            <a:ext cx="2776515" cy="4852832"/>
          </a:xfrm>
          <a:prstGeom prst="rect">
            <a:avLst/>
          </a:prstGeom>
          <a:solidFill>
            <a:srgbClr val="EFF4F9"/>
          </a:solidFill>
        </p:spPr>
        <p:txBody>
          <a:bodyPr lIns="91439" tIns="45719" rIns="91439" bIns="45719">
            <a:noAutofit/>
          </a:bodyPr>
          <a:lstStyle>
            <a:lvl1pPr marL="0" indent="0" algn="ctr">
              <a:buFont typeface="Arial" panose="020B0604020202020204" pitchFamily="34" charset="0"/>
              <a:buNone/>
              <a:defRPr sz="1867"/>
            </a:lvl1pPr>
          </a:lstStyle>
          <a:p>
            <a:r>
              <a:rPr lang="fr-FR"/>
              <a:t>Cliquez sur l'icône pour ajouter une image</a:t>
            </a:r>
            <a:endParaRPr/>
          </a:p>
        </p:txBody>
      </p:sp>
      <p:sp>
        <p:nvSpPr>
          <p:cNvPr id="7" name="Titre 1">
            <a:extLst>
              <a:ext uri="{FF2B5EF4-FFF2-40B4-BE49-F238E27FC236}">
                <a16:creationId xmlns:a16="http://schemas.microsoft.com/office/drawing/2014/main" id="{FE7D5F2E-AED0-4803-8BB8-05C99793E014}"/>
              </a:ext>
            </a:extLst>
          </p:cNvPr>
          <p:cNvSpPr>
            <a:spLocks noGrp="1"/>
          </p:cNvSpPr>
          <p:nvPr>
            <p:ph type="title" hasCustomPrompt="1"/>
          </p:nvPr>
        </p:nvSpPr>
        <p:spPr>
          <a:xfrm>
            <a:off x="449602" y="2064500"/>
            <a:ext cx="4090649" cy="816000"/>
          </a:xfrm>
          <a:prstGeom prst="rect">
            <a:avLst/>
          </a:prstGeom>
        </p:spPr>
        <p:txBody>
          <a:bodyPr lIns="0" tIns="0" rIns="0" bIns="72000" anchor="b" anchorCtr="0"/>
          <a:lstStyle>
            <a:lvl1pPr algn="l">
              <a:defRPr sz="3200" cap="none" baseline="0">
                <a:solidFill>
                  <a:schemeClr val="accent1"/>
                </a:solidFill>
                <a:latin typeface="+mn-lt"/>
              </a:defRPr>
            </a:lvl1pPr>
          </a:lstStyle>
          <a:p>
            <a:r>
              <a:rPr lang="fr-FR"/>
              <a:t>Modifiez le style du titre</a:t>
            </a:r>
          </a:p>
        </p:txBody>
      </p:sp>
      <p:sp>
        <p:nvSpPr>
          <p:cNvPr id="8" name="Espace réservé du texte 2">
            <a:extLst>
              <a:ext uri="{FF2B5EF4-FFF2-40B4-BE49-F238E27FC236}">
                <a16:creationId xmlns:a16="http://schemas.microsoft.com/office/drawing/2014/main" id="{4AB15D1B-E066-4EE5-8439-CE2DFB4CBFC3}"/>
              </a:ext>
            </a:extLst>
          </p:cNvPr>
          <p:cNvSpPr>
            <a:spLocks noGrp="1"/>
          </p:cNvSpPr>
          <p:nvPr>
            <p:ph type="body" idx="1" hasCustomPrompt="1"/>
          </p:nvPr>
        </p:nvSpPr>
        <p:spPr>
          <a:xfrm>
            <a:off x="449602" y="2879184"/>
            <a:ext cx="4090649" cy="672000"/>
          </a:xfrm>
          <a:prstGeom prst="rect">
            <a:avLst/>
          </a:prstGeom>
        </p:spPr>
        <p:txBody>
          <a:bodyPr lIns="0" tIns="0" rIns="0" bIns="0" anchor="t" anchorCtr="0"/>
          <a:lstStyle>
            <a:lvl1pPr marL="0" indent="0" algn="l">
              <a:lnSpc>
                <a:spcPts val="2667"/>
              </a:lnSpc>
              <a:buNone/>
              <a:defRPr sz="2667" b="0" cap="none" baseline="0">
                <a:solidFill>
                  <a:schemeClr val="tx2"/>
                </a:solidFill>
                <a:latin typeface="+mn-lt"/>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fr-FR"/>
              <a:t>Modifiez les styles du texte du masque</a:t>
            </a:r>
          </a:p>
        </p:txBody>
      </p:sp>
    </p:spTree>
    <p:extLst>
      <p:ext uri="{BB962C8B-B14F-4D97-AF65-F5344CB8AC3E}">
        <p14:creationId xmlns:p14="http://schemas.microsoft.com/office/powerpoint/2010/main" val="777562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lide Ordi">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88DA13-791A-43FD-A6B9-C4A6D6F56657}"/>
              </a:ext>
            </a:extLst>
          </p:cNvPr>
          <p:cNvPicPr>
            <a:picLocks noChangeAspect="1"/>
          </p:cNvPicPr>
          <p:nvPr/>
        </p:nvPicPr>
        <p:blipFill>
          <a:blip r:embed="rId2"/>
          <a:srcRect t="8351" b="8351"/>
          <a:stretch/>
        </p:blipFill>
        <p:spPr>
          <a:xfrm>
            <a:off x="3511552" y="462389"/>
            <a:ext cx="8337283" cy="5597328"/>
          </a:xfrm>
          <a:prstGeom prst="rect">
            <a:avLst/>
          </a:prstGeom>
        </p:spPr>
      </p:pic>
      <p:sp>
        <p:nvSpPr>
          <p:cNvPr id="214" name="Image"/>
          <p:cNvSpPr>
            <a:spLocks noGrp="1"/>
          </p:cNvSpPr>
          <p:nvPr>
            <p:ph type="pic" sz="quarter" idx="23"/>
          </p:nvPr>
        </p:nvSpPr>
        <p:spPr>
          <a:xfrm>
            <a:off x="4487460" y="1057895"/>
            <a:ext cx="6542667" cy="4161804"/>
          </a:xfrm>
          <a:prstGeom prst="roundRect">
            <a:avLst>
              <a:gd name="adj" fmla="val 1670"/>
            </a:avLst>
          </a:prstGeom>
          <a:solidFill>
            <a:srgbClr val="EFF4F9"/>
          </a:solidFill>
        </p:spPr>
        <p:txBody>
          <a:bodyPr lIns="91439" tIns="45719" rIns="91439" bIns="45719">
            <a:noAutofit/>
          </a:bodyPr>
          <a:lstStyle>
            <a:lvl1pPr marL="0" indent="0" algn="ctr">
              <a:buFont typeface="Arial" panose="020B0604020202020204" pitchFamily="34" charset="0"/>
              <a:buNone/>
              <a:defRPr sz="1867"/>
            </a:lvl1pPr>
          </a:lstStyle>
          <a:p>
            <a:r>
              <a:rPr lang="fr-FR"/>
              <a:t>Cliquez sur l'icône pour ajouter une image</a:t>
            </a:r>
            <a:endParaRPr/>
          </a:p>
        </p:txBody>
      </p:sp>
      <p:sp>
        <p:nvSpPr>
          <p:cNvPr id="6" name="Titre 1">
            <a:extLst>
              <a:ext uri="{FF2B5EF4-FFF2-40B4-BE49-F238E27FC236}">
                <a16:creationId xmlns:a16="http://schemas.microsoft.com/office/drawing/2014/main" id="{2426998B-719C-4468-A384-7BCB21C0CF60}"/>
              </a:ext>
            </a:extLst>
          </p:cNvPr>
          <p:cNvSpPr>
            <a:spLocks noGrp="1"/>
          </p:cNvSpPr>
          <p:nvPr>
            <p:ph type="title" hasCustomPrompt="1"/>
          </p:nvPr>
        </p:nvSpPr>
        <p:spPr>
          <a:xfrm>
            <a:off x="449602" y="2057401"/>
            <a:ext cx="3315948" cy="823100"/>
          </a:xfrm>
          <a:prstGeom prst="rect">
            <a:avLst/>
          </a:prstGeom>
        </p:spPr>
        <p:txBody>
          <a:bodyPr lIns="0" tIns="0" rIns="0" bIns="72000" anchor="b" anchorCtr="0"/>
          <a:lstStyle>
            <a:lvl1pPr algn="l">
              <a:lnSpc>
                <a:spcPts val="3200"/>
              </a:lnSpc>
              <a:defRPr sz="3200" cap="none" baseline="0">
                <a:solidFill>
                  <a:schemeClr val="accent1"/>
                </a:solidFill>
                <a:latin typeface="+mn-lt"/>
              </a:defRPr>
            </a:lvl1pPr>
          </a:lstStyle>
          <a:p>
            <a:r>
              <a:rPr lang="fr-FR"/>
              <a:t>Modifiez le style du titre</a:t>
            </a:r>
          </a:p>
        </p:txBody>
      </p:sp>
      <p:sp>
        <p:nvSpPr>
          <p:cNvPr id="7" name="Espace réservé du texte 2">
            <a:extLst>
              <a:ext uri="{FF2B5EF4-FFF2-40B4-BE49-F238E27FC236}">
                <a16:creationId xmlns:a16="http://schemas.microsoft.com/office/drawing/2014/main" id="{ADD27CB5-DC52-4C14-B9E1-8A6FBBFB78F3}"/>
              </a:ext>
            </a:extLst>
          </p:cNvPr>
          <p:cNvSpPr>
            <a:spLocks noGrp="1"/>
          </p:cNvSpPr>
          <p:nvPr>
            <p:ph type="body" idx="1" hasCustomPrompt="1"/>
          </p:nvPr>
        </p:nvSpPr>
        <p:spPr>
          <a:xfrm>
            <a:off x="449602" y="2925053"/>
            <a:ext cx="3315948" cy="672000"/>
          </a:xfrm>
          <a:prstGeom prst="rect">
            <a:avLst/>
          </a:prstGeom>
        </p:spPr>
        <p:txBody>
          <a:bodyPr lIns="0" tIns="0" rIns="0" bIns="0" anchor="t" anchorCtr="0"/>
          <a:lstStyle>
            <a:lvl1pPr marL="0" indent="0" algn="l">
              <a:lnSpc>
                <a:spcPts val="2667"/>
              </a:lnSpc>
              <a:buNone/>
              <a:defRPr sz="2667" b="0" cap="none" baseline="0">
                <a:solidFill>
                  <a:schemeClr val="tx2"/>
                </a:solidFill>
                <a:latin typeface="+mn-lt"/>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fr-FR"/>
              <a:t>Modifiez les styles du texte du masque</a:t>
            </a:r>
          </a:p>
        </p:txBody>
      </p:sp>
    </p:spTree>
    <p:extLst>
      <p:ext uri="{BB962C8B-B14F-4D97-AF65-F5344CB8AC3E}">
        <p14:creationId xmlns:p14="http://schemas.microsoft.com/office/powerpoint/2010/main" val="3839415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Slide Fin">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3C32CC7-F487-4198-A919-E9E9B06CABA4}"/>
              </a:ext>
            </a:extLst>
          </p:cNvPr>
          <p:cNvSpPr/>
          <p:nvPr/>
        </p:nvSpPr>
        <p:spPr>
          <a:xfrm>
            <a:off x="439958" y="365370"/>
            <a:ext cx="11312085" cy="6127261"/>
          </a:xfrm>
          <a:prstGeom prst="rect">
            <a:avLst/>
          </a:prstGeom>
          <a:solidFill>
            <a:schemeClr val="bg1"/>
          </a:solidFill>
          <a:ln w="9525">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fr-FR" sz="2400"/>
          </a:p>
        </p:txBody>
      </p:sp>
      <p:pic>
        <p:nvPicPr>
          <p:cNvPr id="4" name="Image 1">
            <a:extLst>
              <a:ext uri="{FF2B5EF4-FFF2-40B4-BE49-F238E27FC236}">
                <a16:creationId xmlns:a16="http://schemas.microsoft.com/office/drawing/2014/main" id="{B4BBAC1D-1664-4E34-B203-C7914B721880}"/>
              </a:ext>
            </a:extLst>
          </p:cNvPr>
          <p:cNvPicPr>
            <a:picLocks noChangeAspect="1"/>
          </p:cNvPicPr>
          <p:nvPr/>
        </p:nvPicPr>
        <p:blipFill>
          <a:blip r:embed="rId2"/>
          <a:srcRect/>
          <a:stretch/>
        </p:blipFill>
        <p:spPr bwMode="auto">
          <a:xfrm>
            <a:off x="3976744" y="2534892"/>
            <a:ext cx="4238512" cy="11876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63586260"/>
      </p:ext>
    </p:extLst>
  </p:cSld>
  <p:clrMapOvr>
    <a:masterClrMapping/>
  </p:clrMapOvr>
  <p:transition spd="slow">
    <p:cove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re seul">
    <p:bg>
      <p:bgPr>
        <a:solidFill>
          <a:schemeClr val="bg1"/>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576000" y="96000"/>
            <a:ext cx="11040000" cy="816000"/>
          </a:xfrm>
          <a:prstGeom prst="rect">
            <a:avLst/>
          </a:prstGeom>
        </p:spPr>
        <p:txBody>
          <a:bodyPr lIns="0" tIns="0" rIns="0" bIns="72000" anchor="b" anchorCtr="0"/>
          <a:lstStyle>
            <a:lvl1pPr algn="l">
              <a:defRPr sz="3200" cap="none" baseline="0">
                <a:solidFill>
                  <a:schemeClr val="accent1"/>
                </a:solidFill>
                <a:latin typeface="+mn-lt"/>
              </a:defRPr>
            </a:lvl1pPr>
          </a:lstStyle>
          <a:p>
            <a:r>
              <a:rPr lang="fr-FR"/>
              <a:t>Modifiez le style du titre</a:t>
            </a:r>
          </a:p>
        </p:txBody>
      </p:sp>
    </p:spTree>
    <p:extLst>
      <p:ext uri="{BB962C8B-B14F-4D97-AF65-F5344CB8AC3E}">
        <p14:creationId xmlns:p14="http://schemas.microsoft.com/office/powerpoint/2010/main" val="1944469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re seul">
    <p:bg>
      <p:bgPr>
        <a:solidFill>
          <a:schemeClr val="bg1"/>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576000" y="96000"/>
            <a:ext cx="11040000" cy="816000"/>
          </a:xfrm>
          <a:prstGeom prst="rect">
            <a:avLst/>
          </a:prstGeom>
        </p:spPr>
        <p:txBody>
          <a:bodyPr lIns="0" tIns="0" rIns="0" bIns="72000" anchor="b" anchorCtr="0"/>
          <a:lstStyle>
            <a:lvl1pPr algn="l">
              <a:defRPr sz="3200" cap="none" baseline="0">
                <a:solidFill>
                  <a:schemeClr val="accent1"/>
                </a:solidFill>
                <a:latin typeface="+mn-lt"/>
              </a:defRPr>
            </a:lvl1pPr>
          </a:lstStyle>
          <a:p>
            <a:r>
              <a:rPr lang="fr-FR"/>
              <a:t>Modifiez le style du titre</a:t>
            </a:r>
          </a:p>
        </p:txBody>
      </p:sp>
      <p:sp>
        <p:nvSpPr>
          <p:cNvPr id="3" name="Espace réservé du texte 2"/>
          <p:cNvSpPr>
            <a:spLocks noGrp="1"/>
          </p:cNvSpPr>
          <p:nvPr>
            <p:ph type="body" idx="1" hasCustomPrompt="1"/>
          </p:nvPr>
        </p:nvSpPr>
        <p:spPr>
          <a:xfrm>
            <a:off x="576000" y="910684"/>
            <a:ext cx="11040000" cy="672000"/>
          </a:xfrm>
          <a:prstGeom prst="rect">
            <a:avLst/>
          </a:prstGeom>
        </p:spPr>
        <p:txBody>
          <a:bodyPr lIns="0" tIns="0" rIns="0" bIns="0" anchor="t" anchorCtr="0"/>
          <a:lstStyle>
            <a:lvl1pPr marL="0" indent="0" algn="l">
              <a:buNone/>
              <a:defRPr sz="2667" b="0" cap="none" baseline="0">
                <a:solidFill>
                  <a:schemeClr val="tx2"/>
                </a:solidFill>
                <a:latin typeface="+mn-lt"/>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fr-FR"/>
              <a:t>Modifiez les styles du texte du masque</a:t>
            </a:r>
          </a:p>
        </p:txBody>
      </p:sp>
      <p:sp>
        <p:nvSpPr>
          <p:cNvPr id="5" name="Footer Placeholder 4">
            <a:extLst>
              <a:ext uri="{FF2B5EF4-FFF2-40B4-BE49-F238E27FC236}">
                <a16:creationId xmlns:a16="http://schemas.microsoft.com/office/drawing/2014/main" id="{654D99D8-D22A-4E8C-B13C-6A76A01FB292}"/>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2593245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Home-Photo">
    <p:bg>
      <p:bgPr>
        <a:solidFill>
          <a:schemeClr val="bg1"/>
        </a:solidFill>
        <a:effectLst/>
      </p:bgPr>
    </p:bg>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20A59C01-358C-4967-8633-9C89B50085F1}"/>
              </a:ext>
            </a:extLst>
          </p:cNvPr>
          <p:cNvCxnSpPr>
            <a:cxnSpLocks/>
          </p:cNvCxnSpPr>
          <p:nvPr/>
        </p:nvCxnSpPr>
        <p:spPr>
          <a:xfrm flipH="1">
            <a:off x="812800" y="5630333"/>
            <a:ext cx="10566400" cy="0"/>
          </a:xfrm>
          <a:prstGeom prst="line">
            <a:avLst/>
          </a:prstGeom>
          <a:ln w="6350">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9" name="Rectangle 18">
            <a:extLst>
              <a:ext uri="{FF2B5EF4-FFF2-40B4-BE49-F238E27FC236}">
                <a16:creationId xmlns:a16="http://schemas.microsoft.com/office/drawing/2014/main" id="{5C459608-2702-4E4F-9EEF-958C7918B398}"/>
              </a:ext>
            </a:extLst>
          </p:cNvPr>
          <p:cNvSpPr/>
          <p:nvPr/>
        </p:nvSpPr>
        <p:spPr>
          <a:xfrm>
            <a:off x="975425" y="678355"/>
            <a:ext cx="1803401" cy="1962093"/>
          </a:xfrm>
          <a:prstGeom prst="rect">
            <a:avLst/>
          </a:prstGeom>
          <a:solidFill>
            <a:schemeClr val="accent3"/>
          </a:solidFill>
          <a:ln w="63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fr-FR" sz="2400"/>
          </a:p>
        </p:txBody>
      </p:sp>
      <p:sp>
        <p:nvSpPr>
          <p:cNvPr id="20" name="Rectangle 19">
            <a:extLst>
              <a:ext uri="{FF2B5EF4-FFF2-40B4-BE49-F238E27FC236}">
                <a16:creationId xmlns:a16="http://schemas.microsoft.com/office/drawing/2014/main" id="{2B710B50-5203-4F3B-BFAA-76500AD2E836}"/>
              </a:ext>
            </a:extLst>
          </p:cNvPr>
          <p:cNvSpPr/>
          <p:nvPr/>
        </p:nvSpPr>
        <p:spPr>
          <a:xfrm>
            <a:off x="812800" y="2297571"/>
            <a:ext cx="3826213" cy="3800272"/>
          </a:xfrm>
          <a:prstGeom prst="rect">
            <a:avLst/>
          </a:prstGeom>
          <a:solidFill>
            <a:schemeClr val="accent1"/>
          </a:solidFill>
          <a:ln w="63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2400"/>
          </a:p>
        </p:txBody>
      </p:sp>
      <p:sp>
        <p:nvSpPr>
          <p:cNvPr id="2" name="Rectangle 1">
            <a:extLst>
              <a:ext uri="{FF2B5EF4-FFF2-40B4-BE49-F238E27FC236}">
                <a16:creationId xmlns:a16="http://schemas.microsoft.com/office/drawing/2014/main" id="{69D04F92-153C-48E4-A5AB-8DFC47FB55A6}"/>
              </a:ext>
            </a:extLst>
          </p:cNvPr>
          <p:cNvSpPr/>
          <p:nvPr/>
        </p:nvSpPr>
        <p:spPr>
          <a:xfrm>
            <a:off x="1184976" y="894631"/>
            <a:ext cx="3462864" cy="4601255"/>
          </a:xfrm>
          <a:prstGeom prst="rect">
            <a:avLst/>
          </a:prstGeom>
          <a:solidFill>
            <a:schemeClr val="bg1"/>
          </a:solidFill>
          <a:ln w="63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2400"/>
          </a:p>
        </p:txBody>
      </p:sp>
      <p:pic>
        <p:nvPicPr>
          <p:cNvPr id="16" name="Image 1">
            <a:extLst>
              <a:ext uri="{FF2B5EF4-FFF2-40B4-BE49-F238E27FC236}">
                <a16:creationId xmlns:a16="http://schemas.microsoft.com/office/drawing/2014/main" id="{02C5263E-5625-4EE1-9E30-5F7674C8836B}"/>
              </a:ext>
            </a:extLst>
          </p:cNvPr>
          <p:cNvPicPr>
            <a:picLocks noChangeAspect="1"/>
          </p:cNvPicPr>
          <p:nvPr/>
        </p:nvPicPr>
        <p:blipFill>
          <a:blip r:embed="rId2"/>
          <a:srcRect/>
          <a:stretch/>
        </p:blipFill>
        <p:spPr bwMode="auto">
          <a:xfrm>
            <a:off x="9821584" y="5965189"/>
            <a:ext cx="1532216" cy="4293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Picture Placeholder 6">
            <a:extLst>
              <a:ext uri="{FF2B5EF4-FFF2-40B4-BE49-F238E27FC236}">
                <a16:creationId xmlns:a16="http://schemas.microsoft.com/office/drawing/2014/main" id="{D16EC0D8-4E60-42BB-9AF2-6B2B80836049}"/>
              </a:ext>
            </a:extLst>
          </p:cNvPr>
          <p:cNvSpPr>
            <a:spLocks noGrp="1"/>
          </p:cNvSpPr>
          <p:nvPr>
            <p:ph type="pic" sz="quarter" idx="11"/>
          </p:nvPr>
        </p:nvSpPr>
        <p:spPr>
          <a:xfrm>
            <a:off x="1184976" y="894632"/>
            <a:ext cx="4344481" cy="4807520"/>
          </a:xfrm>
          <a:prstGeom prst="rect">
            <a:avLst/>
          </a:prstGeom>
          <a:solidFill>
            <a:schemeClr val="bg1">
              <a:lumMod val="95000"/>
            </a:schemeClr>
          </a:solidFill>
        </p:spPr>
        <p:txBody>
          <a:bodyPr/>
          <a:lstStyle>
            <a:lvl1pPr marL="0" indent="0" algn="ctr">
              <a:buNone/>
              <a:defRPr sz="2400"/>
            </a:lvl1pPr>
          </a:lstStyle>
          <a:p>
            <a:r>
              <a:rPr lang="fr-FR"/>
              <a:t>Cliquez sur l'icône pour ajouter une image</a:t>
            </a:r>
          </a:p>
        </p:txBody>
      </p:sp>
      <p:sp>
        <p:nvSpPr>
          <p:cNvPr id="15" name="Title 14">
            <a:extLst>
              <a:ext uri="{FF2B5EF4-FFF2-40B4-BE49-F238E27FC236}">
                <a16:creationId xmlns:a16="http://schemas.microsoft.com/office/drawing/2014/main" id="{38ECEC9E-9C39-4E5C-B866-940C3D6D2F3D}"/>
              </a:ext>
            </a:extLst>
          </p:cNvPr>
          <p:cNvSpPr>
            <a:spLocks noGrp="1"/>
          </p:cNvSpPr>
          <p:nvPr>
            <p:ph type="title" hasCustomPrompt="1"/>
          </p:nvPr>
        </p:nvSpPr>
        <p:spPr>
          <a:xfrm>
            <a:off x="5968365" y="1565642"/>
            <a:ext cx="5385435" cy="1732751"/>
          </a:xfrm>
          <a:prstGeom prst="rect">
            <a:avLst/>
          </a:prstGeom>
          <a:noFill/>
        </p:spPr>
        <p:txBody>
          <a:bodyPr lIns="0" anchor="b"/>
          <a:lstStyle>
            <a:lvl1pPr algn="l">
              <a:defRPr lang="fr-FR" sz="5333" cap="none" baseline="0" dirty="0">
                <a:solidFill>
                  <a:schemeClr val="accent1"/>
                </a:solidFill>
                <a:latin typeface="Vinci Sans Medium" panose="02000000000000000000" pitchFamily="2" charset="0"/>
              </a:defRPr>
            </a:lvl1pPr>
          </a:lstStyle>
          <a:p>
            <a:pPr lvl="0">
              <a:lnSpc>
                <a:spcPts val="5333"/>
              </a:lnSpc>
            </a:pPr>
            <a:r>
              <a:rPr lang="en-US"/>
              <a:t>Click to edit master title style</a:t>
            </a:r>
            <a:endParaRPr lang="fr-FR"/>
          </a:p>
        </p:txBody>
      </p:sp>
      <p:sp>
        <p:nvSpPr>
          <p:cNvPr id="18" name="Text Placeholder 17">
            <a:extLst>
              <a:ext uri="{FF2B5EF4-FFF2-40B4-BE49-F238E27FC236}">
                <a16:creationId xmlns:a16="http://schemas.microsoft.com/office/drawing/2014/main" id="{B59898E6-C4BF-425A-B1B0-587A4AF4CC36}"/>
              </a:ext>
            </a:extLst>
          </p:cNvPr>
          <p:cNvSpPr>
            <a:spLocks noGrp="1"/>
          </p:cNvSpPr>
          <p:nvPr>
            <p:ph type="body" sz="quarter" idx="10"/>
          </p:nvPr>
        </p:nvSpPr>
        <p:spPr>
          <a:xfrm>
            <a:off x="5968365" y="3495675"/>
            <a:ext cx="5385435" cy="554013"/>
          </a:xfrm>
          <a:prstGeom prst="rect">
            <a:avLst/>
          </a:prstGeom>
          <a:noFill/>
        </p:spPr>
        <p:txBody>
          <a:bodyPr lIns="0"/>
          <a:lstStyle>
            <a:lvl1pPr marL="0" indent="0" algn="l">
              <a:buNone/>
              <a:defRPr sz="2133">
                <a:solidFill>
                  <a:schemeClr val="accent3"/>
                </a:solidFill>
              </a:defRPr>
            </a:lvl1pPr>
            <a:lvl2pPr marL="364058" indent="0">
              <a:buNone/>
              <a:defRPr>
                <a:solidFill>
                  <a:schemeClr val="bg1"/>
                </a:solidFill>
              </a:defRPr>
            </a:lvl2pPr>
            <a:lvl3pPr marL="715415" indent="0">
              <a:buNone/>
              <a:defRPr>
                <a:solidFill>
                  <a:schemeClr val="bg1"/>
                </a:solidFill>
              </a:defRPr>
            </a:lvl3pPr>
            <a:lvl4pPr marL="1246686" indent="0">
              <a:buFont typeface="Arial" panose="020B0604020202020204" pitchFamily="34" charset="0"/>
              <a:buNone/>
              <a:defRPr>
                <a:solidFill>
                  <a:schemeClr val="bg1"/>
                </a:solidFill>
              </a:defRPr>
            </a:lvl4pPr>
            <a:lvl5pPr marL="1602277" indent="0">
              <a:buNone/>
              <a:defRPr>
                <a:solidFill>
                  <a:schemeClr val="bg1"/>
                </a:solidFill>
              </a:defRPr>
            </a:lvl5pPr>
          </a:lstStyle>
          <a:p>
            <a:pPr lvl="0"/>
            <a:r>
              <a:rPr lang="fr-FR"/>
              <a:t>Cliquez pour modifier les styles du texte du masque</a:t>
            </a:r>
          </a:p>
        </p:txBody>
      </p:sp>
      <p:cxnSp>
        <p:nvCxnSpPr>
          <p:cNvPr id="22" name="Straight Connector 21">
            <a:extLst>
              <a:ext uri="{FF2B5EF4-FFF2-40B4-BE49-F238E27FC236}">
                <a16:creationId xmlns:a16="http://schemas.microsoft.com/office/drawing/2014/main" id="{C41A50A5-EA4E-434D-9E75-7BF5DFA69209}"/>
              </a:ext>
            </a:extLst>
          </p:cNvPr>
          <p:cNvCxnSpPr>
            <a:cxnSpLocks/>
          </p:cNvCxnSpPr>
          <p:nvPr/>
        </p:nvCxnSpPr>
        <p:spPr>
          <a:xfrm>
            <a:off x="826120" y="6333067"/>
            <a:ext cx="0" cy="383696"/>
          </a:xfrm>
          <a:prstGeom prst="line">
            <a:avLst/>
          </a:prstGeom>
          <a:ln w="12700" cap="rnd">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23" name="Date Placeholder 1">
            <a:extLst>
              <a:ext uri="{FF2B5EF4-FFF2-40B4-BE49-F238E27FC236}">
                <a16:creationId xmlns:a16="http://schemas.microsoft.com/office/drawing/2014/main" id="{0ABF88C9-03CE-47EA-8740-AFCAE8EC6E08}"/>
              </a:ext>
            </a:extLst>
          </p:cNvPr>
          <p:cNvSpPr>
            <a:spLocks noGrp="1"/>
          </p:cNvSpPr>
          <p:nvPr>
            <p:ph type="dt" sz="half" idx="2"/>
          </p:nvPr>
        </p:nvSpPr>
        <p:spPr>
          <a:xfrm>
            <a:off x="916563" y="6341825"/>
            <a:ext cx="1115556" cy="366183"/>
          </a:xfrm>
          <a:prstGeom prst="rect">
            <a:avLst/>
          </a:prstGeom>
        </p:spPr>
        <p:txBody>
          <a:bodyPr wrap="none" anchor="ctr">
            <a:noAutofit/>
          </a:bodyPr>
          <a:lstStyle>
            <a:lvl1pPr>
              <a:defRPr kumimoji="0" lang="en-US" sz="1400" b="0" i="0" u="none" strike="noStrike" cap="none" spc="0" normalizeH="0" baseline="0" smtClean="0">
                <a:ln>
                  <a:noFill/>
                </a:ln>
                <a:solidFill>
                  <a:schemeClr val="bg2"/>
                </a:solidFill>
                <a:effectLst/>
                <a:uLnTx/>
                <a:uFillTx/>
                <a:latin typeface="+mj-lt"/>
                <a:cs typeface="Arial" pitchFamily="34" charset="0"/>
              </a:defRPr>
            </a:lvl1pPr>
          </a:lstStyle>
          <a:p>
            <a:fld id="{EB6F44F5-CF60-4B5F-9088-DB9D5BD65A1E}" type="datetimeFigureOut">
              <a:rPr lang="en-US" smtClean="0"/>
              <a:pPr/>
              <a:t>1/31/2025</a:t>
            </a:fld>
            <a:endParaRPr lang="en-US"/>
          </a:p>
        </p:txBody>
      </p:sp>
    </p:spTree>
    <p:extLst>
      <p:ext uri="{BB962C8B-B14F-4D97-AF65-F5344CB8AC3E}">
        <p14:creationId xmlns:p14="http://schemas.microsoft.com/office/powerpoint/2010/main" val="1366297255"/>
      </p:ext>
    </p:extLst>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Home">
    <p:bg>
      <p:bgPr>
        <a:solidFill>
          <a:schemeClr val="bg1"/>
        </a:solidFill>
        <a:effectLst/>
      </p:bgPr>
    </p:bg>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20A59C01-358C-4967-8633-9C89B50085F1}"/>
              </a:ext>
            </a:extLst>
          </p:cNvPr>
          <p:cNvCxnSpPr>
            <a:cxnSpLocks/>
          </p:cNvCxnSpPr>
          <p:nvPr/>
        </p:nvCxnSpPr>
        <p:spPr>
          <a:xfrm flipH="1">
            <a:off x="812800" y="5630333"/>
            <a:ext cx="10566400" cy="0"/>
          </a:xfrm>
          <a:prstGeom prst="line">
            <a:avLst/>
          </a:prstGeom>
          <a:ln w="6350">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9" name="Rectangle 18">
            <a:extLst>
              <a:ext uri="{FF2B5EF4-FFF2-40B4-BE49-F238E27FC236}">
                <a16:creationId xmlns:a16="http://schemas.microsoft.com/office/drawing/2014/main" id="{5C459608-2702-4E4F-9EEF-958C7918B398}"/>
              </a:ext>
            </a:extLst>
          </p:cNvPr>
          <p:cNvSpPr/>
          <p:nvPr/>
        </p:nvSpPr>
        <p:spPr>
          <a:xfrm>
            <a:off x="975425" y="678355"/>
            <a:ext cx="1803401" cy="1962093"/>
          </a:xfrm>
          <a:prstGeom prst="rect">
            <a:avLst/>
          </a:prstGeom>
          <a:solidFill>
            <a:schemeClr val="accent3"/>
          </a:solidFill>
          <a:ln w="63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fr-FR" sz="2400"/>
          </a:p>
        </p:txBody>
      </p:sp>
      <p:sp>
        <p:nvSpPr>
          <p:cNvPr id="20" name="Rectangle 19">
            <a:extLst>
              <a:ext uri="{FF2B5EF4-FFF2-40B4-BE49-F238E27FC236}">
                <a16:creationId xmlns:a16="http://schemas.microsoft.com/office/drawing/2014/main" id="{2B710B50-5203-4F3B-BFAA-76500AD2E836}"/>
              </a:ext>
            </a:extLst>
          </p:cNvPr>
          <p:cNvSpPr/>
          <p:nvPr/>
        </p:nvSpPr>
        <p:spPr>
          <a:xfrm>
            <a:off x="812800" y="2297571"/>
            <a:ext cx="3826213" cy="3800272"/>
          </a:xfrm>
          <a:prstGeom prst="rect">
            <a:avLst/>
          </a:prstGeom>
          <a:solidFill>
            <a:schemeClr val="accent1"/>
          </a:solidFill>
          <a:ln w="63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2400"/>
          </a:p>
        </p:txBody>
      </p:sp>
      <p:sp>
        <p:nvSpPr>
          <p:cNvPr id="2" name="Rectangle 1">
            <a:extLst>
              <a:ext uri="{FF2B5EF4-FFF2-40B4-BE49-F238E27FC236}">
                <a16:creationId xmlns:a16="http://schemas.microsoft.com/office/drawing/2014/main" id="{69D04F92-153C-48E4-A5AB-8DFC47FB55A6}"/>
              </a:ext>
            </a:extLst>
          </p:cNvPr>
          <p:cNvSpPr/>
          <p:nvPr/>
        </p:nvSpPr>
        <p:spPr>
          <a:xfrm>
            <a:off x="1184976" y="894631"/>
            <a:ext cx="3462864" cy="4735699"/>
          </a:xfrm>
          <a:prstGeom prst="rect">
            <a:avLst/>
          </a:prstGeom>
          <a:solidFill>
            <a:schemeClr val="bg1"/>
          </a:solidFill>
          <a:ln w="63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2400"/>
          </a:p>
        </p:txBody>
      </p:sp>
      <p:pic>
        <p:nvPicPr>
          <p:cNvPr id="16" name="Image 1">
            <a:extLst>
              <a:ext uri="{FF2B5EF4-FFF2-40B4-BE49-F238E27FC236}">
                <a16:creationId xmlns:a16="http://schemas.microsoft.com/office/drawing/2014/main" id="{02C5263E-5625-4EE1-9E30-5F7674C8836B}"/>
              </a:ext>
            </a:extLst>
          </p:cNvPr>
          <p:cNvPicPr>
            <a:picLocks noChangeAspect="1"/>
          </p:cNvPicPr>
          <p:nvPr/>
        </p:nvPicPr>
        <p:blipFill>
          <a:blip r:embed="rId2"/>
          <a:srcRect/>
          <a:stretch/>
        </p:blipFill>
        <p:spPr bwMode="auto">
          <a:xfrm>
            <a:off x="9280933" y="4817579"/>
            <a:ext cx="2098268" cy="58795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5" name="Title 14">
            <a:extLst>
              <a:ext uri="{FF2B5EF4-FFF2-40B4-BE49-F238E27FC236}">
                <a16:creationId xmlns:a16="http://schemas.microsoft.com/office/drawing/2014/main" id="{38ECEC9E-9C39-4E5C-B866-940C3D6D2F3D}"/>
              </a:ext>
            </a:extLst>
          </p:cNvPr>
          <p:cNvSpPr>
            <a:spLocks noGrp="1"/>
          </p:cNvSpPr>
          <p:nvPr>
            <p:ph type="title" hasCustomPrompt="1"/>
          </p:nvPr>
        </p:nvSpPr>
        <p:spPr>
          <a:xfrm>
            <a:off x="1858160" y="1459411"/>
            <a:ext cx="9148864" cy="1732751"/>
          </a:xfrm>
          <a:prstGeom prst="rect">
            <a:avLst/>
          </a:prstGeom>
          <a:noFill/>
        </p:spPr>
        <p:txBody>
          <a:bodyPr lIns="0" anchor="b"/>
          <a:lstStyle>
            <a:lvl1pPr algn="l">
              <a:defRPr lang="fr-FR" sz="5333" cap="none" baseline="0" dirty="0">
                <a:solidFill>
                  <a:schemeClr val="accent1"/>
                </a:solidFill>
                <a:latin typeface="Vinci Sans Medium" panose="02000000000000000000" pitchFamily="2" charset="0"/>
              </a:defRPr>
            </a:lvl1pPr>
          </a:lstStyle>
          <a:p>
            <a:pPr lvl="0">
              <a:lnSpc>
                <a:spcPts val="5333"/>
              </a:lnSpc>
            </a:pPr>
            <a:r>
              <a:rPr lang="en-US"/>
              <a:t>Click to edit master title style</a:t>
            </a:r>
            <a:endParaRPr lang="fr-FR"/>
          </a:p>
        </p:txBody>
      </p:sp>
      <p:sp>
        <p:nvSpPr>
          <p:cNvPr id="18" name="Text Placeholder 17">
            <a:extLst>
              <a:ext uri="{FF2B5EF4-FFF2-40B4-BE49-F238E27FC236}">
                <a16:creationId xmlns:a16="http://schemas.microsoft.com/office/drawing/2014/main" id="{B59898E6-C4BF-425A-B1B0-587A4AF4CC36}"/>
              </a:ext>
            </a:extLst>
          </p:cNvPr>
          <p:cNvSpPr>
            <a:spLocks noGrp="1"/>
          </p:cNvSpPr>
          <p:nvPr>
            <p:ph type="body" sz="quarter" idx="10"/>
          </p:nvPr>
        </p:nvSpPr>
        <p:spPr>
          <a:xfrm>
            <a:off x="1858160" y="3389444"/>
            <a:ext cx="9148864" cy="554013"/>
          </a:xfrm>
          <a:prstGeom prst="rect">
            <a:avLst/>
          </a:prstGeom>
          <a:noFill/>
        </p:spPr>
        <p:txBody>
          <a:bodyPr lIns="0"/>
          <a:lstStyle>
            <a:lvl1pPr marL="0" indent="0" algn="l">
              <a:buNone/>
              <a:defRPr sz="2133">
                <a:solidFill>
                  <a:schemeClr val="accent3"/>
                </a:solidFill>
              </a:defRPr>
            </a:lvl1pPr>
            <a:lvl2pPr marL="364058" indent="0">
              <a:buNone/>
              <a:defRPr>
                <a:solidFill>
                  <a:schemeClr val="bg1"/>
                </a:solidFill>
              </a:defRPr>
            </a:lvl2pPr>
            <a:lvl3pPr marL="715415" indent="0">
              <a:buNone/>
              <a:defRPr>
                <a:solidFill>
                  <a:schemeClr val="bg1"/>
                </a:solidFill>
              </a:defRPr>
            </a:lvl3pPr>
            <a:lvl4pPr marL="1246686" indent="0">
              <a:buFont typeface="Arial" panose="020B0604020202020204" pitchFamily="34" charset="0"/>
              <a:buNone/>
              <a:defRPr>
                <a:solidFill>
                  <a:schemeClr val="bg1"/>
                </a:solidFill>
              </a:defRPr>
            </a:lvl4pPr>
            <a:lvl5pPr marL="1602277" indent="0">
              <a:buNone/>
              <a:defRPr>
                <a:solidFill>
                  <a:schemeClr val="bg1"/>
                </a:solidFill>
              </a:defRPr>
            </a:lvl5pPr>
          </a:lstStyle>
          <a:p>
            <a:pPr lvl="0"/>
            <a:r>
              <a:rPr lang="fr-FR"/>
              <a:t>Cliquez pour modifier les styles du texte du masque</a:t>
            </a:r>
          </a:p>
        </p:txBody>
      </p:sp>
      <p:cxnSp>
        <p:nvCxnSpPr>
          <p:cNvPr id="21" name="Straight Connector 20">
            <a:extLst>
              <a:ext uri="{FF2B5EF4-FFF2-40B4-BE49-F238E27FC236}">
                <a16:creationId xmlns:a16="http://schemas.microsoft.com/office/drawing/2014/main" id="{2C7990BE-42E0-495D-9E58-29F7D23A36F3}"/>
              </a:ext>
            </a:extLst>
          </p:cNvPr>
          <p:cNvCxnSpPr>
            <a:cxnSpLocks/>
          </p:cNvCxnSpPr>
          <p:nvPr/>
        </p:nvCxnSpPr>
        <p:spPr>
          <a:xfrm>
            <a:off x="826120" y="6333067"/>
            <a:ext cx="0" cy="383696"/>
          </a:xfrm>
          <a:prstGeom prst="line">
            <a:avLst/>
          </a:prstGeom>
          <a:ln w="12700" cap="rnd">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22" name="Date Placeholder 1">
            <a:extLst>
              <a:ext uri="{FF2B5EF4-FFF2-40B4-BE49-F238E27FC236}">
                <a16:creationId xmlns:a16="http://schemas.microsoft.com/office/drawing/2014/main" id="{3F42FA4B-CB98-4032-8711-1FE5376AB7B6}"/>
              </a:ext>
            </a:extLst>
          </p:cNvPr>
          <p:cNvSpPr>
            <a:spLocks noGrp="1"/>
          </p:cNvSpPr>
          <p:nvPr>
            <p:ph type="dt" sz="half" idx="2"/>
          </p:nvPr>
        </p:nvSpPr>
        <p:spPr>
          <a:xfrm>
            <a:off x="916563" y="6341825"/>
            <a:ext cx="1115556" cy="366183"/>
          </a:xfrm>
          <a:prstGeom prst="rect">
            <a:avLst/>
          </a:prstGeom>
        </p:spPr>
        <p:txBody>
          <a:bodyPr wrap="none" anchor="ctr">
            <a:noAutofit/>
          </a:bodyPr>
          <a:lstStyle>
            <a:lvl1pPr>
              <a:defRPr kumimoji="0" lang="en-US" sz="1400" b="0" i="0" u="none" strike="noStrike" cap="none" spc="0" normalizeH="0" baseline="0" smtClean="0">
                <a:ln>
                  <a:noFill/>
                </a:ln>
                <a:solidFill>
                  <a:schemeClr val="bg2"/>
                </a:solidFill>
                <a:effectLst/>
                <a:uLnTx/>
                <a:uFillTx/>
                <a:latin typeface="+mj-lt"/>
                <a:cs typeface="Arial" pitchFamily="34" charset="0"/>
              </a:defRPr>
            </a:lvl1pPr>
          </a:lstStyle>
          <a:p>
            <a:fld id="{EB6F44F5-CF60-4B5F-9088-DB9D5BD65A1E}" type="datetimeFigureOut">
              <a:rPr lang="en-US" smtClean="0"/>
              <a:pPr/>
              <a:t>1/31/2025</a:t>
            </a:fld>
            <a:endParaRPr lang="en-US"/>
          </a:p>
        </p:txBody>
      </p:sp>
    </p:spTree>
    <p:extLst>
      <p:ext uri="{BB962C8B-B14F-4D97-AF65-F5344CB8AC3E}">
        <p14:creationId xmlns:p14="http://schemas.microsoft.com/office/powerpoint/2010/main" val="143758192"/>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Home">
    <p:bg>
      <p:bgPr>
        <a:solidFill>
          <a:schemeClr val="bg1"/>
        </a:solidFill>
        <a:effectLst/>
      </p:bgPr>
    </p:bg>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20A59C01-358C-4967-8633-9C89B50085F1}"/>
              </a:ext>
            </a:extLst>
          </p:cNvPr>
          <p:cNvCxnSpPr>
            <a:cxnSpLocks/>
          </p:cNvCxnSpPr>
          <p:nvPr/>
        </p:nvCxnSpPr>
        <p:spPr>
          <a:xfrm flipH="1">
            <a:off x="812800" y="5630333"/>
            <a:ext cx="10566400" cy="0"/>
          </a:xfrm>
          <a:prstGeom prst="line">
            <a:avLst/>
          </a:prstGeom>
          <a:ln w="6350">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9" name="Rectangle 18">
            <a:extLst>
              <a:ext uri="{FF2B5EF4-FFF2-40B4-BE49-F238E27FC236}">
                <a16:creationId xmlns:a16="http://schemas.microsoft.com/office/drawing/2014/main" id="{5C459608-2702-4E4F-9EEF-958C7918B398}"/>
              </a:ext>
            </a:extLst>
          </p:cNvPr>
          <p:cNvSpPr/>
          <p:nvPr/>
        </p:nvSpPr>
        <p:spPr>
          <a:xfrm>
            <a:off x="975425" y="678355"/>
            <a:ext cx="1803401" cy="1962093"/>
          </a:xfrm>
          <a:prstGeom prst="rect">
            <a:avLst/>
          </a:prstGeom>
          <a:solidFill>
            <a:schemeClr val="accent3"/>
          </a:solidFill>
          <a:ln w="63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fr-FR" sz="2400"/>
          </a:p>
        </p:txBody>
      </p:sp>
      <p:sp>
        <p:nvSpPr>
          <p:cNvPr id="20" name="Rectangle 19">
            <a:extLst>
              <a:ext uri="{FF2B5EF4-FFF2-40B4-BE49-F238E27FC236}">
                <a16:creationId xmlns:a16="http://schemas.microsoft.com/office/drawing/2014/main" id="{2B710B50-5203-4F3B-BFAA-76500AD2E836}"/>
              </a:ext>
            </a:extLst>
          </p:cNvPr>
          <p:cNvSpPr/>
          <p:nvPr/>
        </p:nvSpPr>
        <p:spPr>
          <a:xfrm>
            <a:off x="812800" y="2297571"/>
            <a:ext cx="3826213" cy="3800272"/>
          </a:xfrm>
          <a:prstGeom prst="rect">
            <a:avLst/>
          </a:prstGeom>
          <a:solidFill>
            <a:schemeClr val="accent1"/>
          </a:solidFill>
          <a:ln w="63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2400"/>
          </a:p>
        </p:txBody>
      </p:sp>
      <p:sp>
        <p:nvSpPr>
          <p:cNvPr id="2" name="Rectangle 1">
            <a:extLst>
              <a:ext uri="{FF2B5EF4-FFF2-40B4-BE49-F238E27FC236}">
                <a16:creationId xmlns:a16="http://schemas.microsoft.com/office/drawing/2014/main" id="{69D04F92-153C-48E4-A5AB-8DFC47FB55A6}"/>
              </a:ext>
            </a:extLst>
          </p:cNvPr>
          <p:cNvSpPr/>
          <p:nvPr/>
        </p:nvSpPr>
        <p:spPr>
          <a:xfrm>
            <a:off x="1184976" y="894631"/>
            <a:ext cx="3462864" cy="4735699"/>
          </a:xfrm>
          <a:prstGeom prst="rect">
            <a:avLst/>
          </a:prstGeom>
          <a:solidFill>
            <a:schemeClr val="bg1"/>
          </a:solidFill>
          <a:ln w="63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2400"/>
          </a:p>
        </p:txBody>
      </p:sp>
      <p:pic>
        <p:nvPicPr>
          <p:cNvPr id="16" name="Image 1">
            <a:extLst>
              <a:ext uri="{FF2B5EF4-FFF2-40B4-BE49-F238E27FC236}">
                <a16:creationId xmlns:a16="http://schemas.microsoft.com/office/drawing/2014/main" id="{02C5263E-5625-4EE1-9E30-5F7674C8836B}"/>
              </a:ext>
            </a:extLst>
          </p:cNvPr>
          <p:cNvPicPr>
            <a:picLocks noChangeAspect="1"/>
          </p:cNvPicPr>
          <p:nvPr/>
        </p:nvPicPr>
        <p:blipFill>
          <a:blip r:embed="rId2"/>
          <a:srcRect/>
          <a:stretch/>
        </p:blipFill>
        <p:spPr bwMode="auto">
          <a:xfrm>
            <a:off x="9280933" y="4817579"/>
            <a:ext cx="2098268" cy="58795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5" name="Title 14">
            <a:extLst>
              <a:ext uri="{FF2B5EF4-FFF2-40B4-BE49-F238E27FC236}">
                <a16:creationId xmlns:a16="http://schemas.microsoft.com/office/drawing/2014/main" id="{38ECEC9E-9C39-4E5C-B866-940C3D6D2F3D}"/>
              </a:ext>
            </a:extLst>
          </p:cNvPr>
          <p:cNvSpPr>
            <a:spLocks noGrp="1"/>
          </p:cNvSpPr>
          <p:nvPr>
            <p:ph type="title" hasCustomPrompt="1"/>
          </p:nvPr>
        </p:nvSpPr>
        <p:spPr>
          <a:xfrm>
            <a:off x="1858160" y="1459411"/>
            <a:ext cx="9148864" cy="1732751"/>
          </a:xfrm>
          <a:prstGeom prst="rect">
            <a:avLst/>
          </a:prstGeom>
          <a:noFill/>
        </p:spPr>
        <p:txBody>
          <a:bodyPr lIns="0" anchor="b"/>
          <a:lstStyle>
            <a:lvl1pPr algn="l">
              <a:defRPr lang="fr-FR" sz="5333" cap="none" baseline="0" dirty="0">
                <a:solidFill>
                  <a:schemeClr val="accent1"/>
                </a:solidFill>
                <a:latin typeface="Vinci Sans Medium" panose="02000000000000000000" pitchFamily="2" charset="0"/>
              </a:defRPr>
            </a:lvl1pPr>
          </a:lstStyle>
          <a:p>
            <a:pPr lvl="0">
              <a:lnSpc>
                <a:spcPts val="5333"/>
              </a:lnSpc>
            </a:pPr>
            <a:r>
              <a:rPr lang="en-US"/>
              <a:t>Click to edit master title style</a:t>
            </a:r>
            <a:endParaRPr lang="fr-FR"/>
          </a:p>
        </p:txBody>
      </p:sp>
      <p:sp>
        <p:nvSpPr>
          <p:cNvPr id="18" name="Text Placeholder 17">
            <a:extLst>
              <a:ext uri="{FF2B5EF4-FFF2-40B4-BE49-F238E27FC236}">
                <a16:creationId xmlns:a16="http://schemas.microsoft.com/office/drawing/2014/main" id="{B59898E6-C4BF-425A-B1B0-587A4AF4CC36}"/>
              </a:ext>
            </a:extLst>
          </p:cNvPr>
          <p:cNvSpPr>
            <a:spLocks noGrp="1"/>
          </p:cNvSpPr>
          <p:nvPr>
            <p:ph type="body" sz="quarter" idx="10"/>
          </p:nvPr>
        </p:nvSpPr>
        <p:spPr>
          <a:xfrm>
            <a:off x="1858160" y="3389444"/>
            <a:ext cx="9148864" cy="554013"/>
          </a:xfrm>
          <a:prstGeom prst="rect">
            <a:avLst/>
          </a:prstGeom>
          <a:noFill/>
        </p:spPr>
        <p:txBody>
          <a:bodyPr lIns="0"/>
          <a:lstStyle>
            <a:lvl1pPr marL="0" indent="0" algn="l">
              <a:buNone/>
              <a:defRPr sz="2133">
                <a:solidFill>
                  <a:schemeClr val="accent3"/>
                </a:solidFill>
              </a:defRPr>
            </a:lvl1pPr>
            <a:lvl2pPr marL="364058" indent="0">
              <a:buNone/>
              <a:defRPr>
                <a:solidFill>
                  <a:schemeClr val="bg1"/>
                </a:solidFill>
              </a:defRPr>
            </a:lvl2pPr>
            <a:lvl3pPr marL="715415" indent="0">
              <a:buNone/>
              <a:defRPr>
                <a:solidFill>
                  <a:schemeClr val="bg1"/>
                </a:solidFill>
              </a:defRPr>
            </a:lvl3pPr>
            <a:lvl4pPr marL="1246686" indent="0">
              <a:buFont typeface="Arial" panose="020B0604020202020204" pitchFamily="34" charset="0"/>
              <a:buNone/>
              <a:defRPr>
                <a:solidFill>
                  <a:schemeClr val="bg1"/>
                </a:solidFill>
              </a:defRPr>
            </a:lvl4pPr>
            <a:lvl5pPr marL="1602277" indent="0">
              <a:buNone/>
              <a:defRPr>
                <a:solidFill>
                  <a:schemeClr val="bg1"/>
                </a:solidFill>
              </a:defRPr>
            </a:lvl5pPr>
          </a:lstStyle>
          <a:p>
            <a:pPr lvl="0"/>
            <a:r>
              <a:rPr lang="fr-FR"/>
              <a:t>Cliquez pour modifier les styles du texte du masque</a:t>
            </a:r>
          </a:p>
        </p:txBody>
      </p:sp>
      <p:cxnSp>
        <p:nvCxnSpPr>
          <p:cNvPr id="21" name="Straight Connector 20">
            <a:extLst>
              <a:ext uri="{FF2B5EF4-FFF2-40B4-BE49-F238E27FC236}">
                <a16:creationId xmlns:a16="http://schemas.microsoft.com/office/drawing/2014/main" id="{2C7990BE-42E0-495D-9E58-29F7D23A36F3}"/>
              </a:ext>
            </a:extLst>
          </p:cNvPr>
          <p:cNvCxnSpPr>
            <a:cxnSpLocks/>
          </p:cNvCxnSpPr>
          <p:nvPr/>
        </p:nvCxnSpPr>
        <p:spPr>
          <a:xfrm>
            <a:off x="826120" y="6333067"/>
            <a:ext cx="0" cy="383696"/>
          </a:xfrm>
          <a:prstGeom prst="line">
            <a:avLst/>
          </a:prstGeom>
          <a:ln w="12700" cap="rnd">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22" name="Date Placeholder 1">
            <a:extLst>
              <a:ext uri="{FF2B5EF4-FFF2-40B4-BE49-F238E27FC236}">
                <a16:creationId xmlns:a16="http://schemas.microsoft.com/office/drawing/2014/main" id="{3F42FA4B-CB98-4032-8711-1FE5376AB7B6}"/>
              </a:ext>
            </a:extLst>
          </p:cNvPr>
          <p:cNvSpPr>
            <a:spLocks noGrp="1"/>
          </p:cNvSpPr>
          <p:nvPr>
            <p:ph type="dt" sz="half" idx="2"/>
          </p:nvPr>
        </p:nvSpPr>
        <p:spPr>
          <a:xfrm>
            <a:off x="916563" y="6341825"/>
            <a:ext cx="1115556" cy="366183"/>
          </a:xfrm>
          <a:prstGeom prst="rect">
            <a:avLst/>
          </a:prstGeom>
        </p:spPr>
        <p:txBody>
          <a:bodyPr wrap="none" anchor="ctr">
            <a:noAutofit/>
          </a:bodyPr>
          <a:lstStyle>
            <a:lvl1pPr>
              <a:defRPr kumimoji="0" lang="en-US" sz="1400" b="0" i="0" u="none" strike="noStrike" cap="none" spc="0" normalizeH="0" baseline="0" smtClean="0">
                <a:ln>
                  <a:noFill/>
                </a:ln>
                <a:solidFill>
                  <a:schemeClr val="bg2"/>
                </a:solidFill>
                <a:effectLst/>
                <a:uLnTx/>
                <a:uFillTx/>
                <a:latin typeface="+mj-lt"/>
                <a:cs typeface="Arial" pitchFamily="34" charset="0"/>
              </a:defRPr>
            </a:lvl1pPr>
          </a:lstStyle>
          <a:p>
            <a:fld id="{EB6F44F5-CF60-4B5F-9088-DB9D5BD65A1E}" type="datetimeFigureOut">
              <a:rPr lang="en-US" smtClean="0"/>
              <a:pPr/>
              <a:t>1/31/2025</a:t>
            </a:fld>
            <a:endParaRPr lang="en-US"/>
          </a:p>
        </p:txBody>
      </p:sp>
    </p:spTree>
    <p:extLst>
      <p:ext uri="{BB962C8B-B14F-4D97-AF65-F5344CB8AC3E}">
        <p14:creationId xmlns:p14="http://schemas.microsoft.com/office/powerpoint/2010/main" val="12197087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Chapitre-Chiffr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4C3C40D-5BE5-4560-8981-9835F235A6A9}"/>
              </a:ext>
            </a:extLst>
          </p:cNvPr>
          <p:cNvSpPr/>
          <p:nvPr/>
        </p:nvSpPr>
        <p:spPr>
          <a:xfrm>
            <a:off x="1040199" y="1142671"/>
            <a:ext cx="2075765" cy="2075765"/>
          </a:xfrm>
          <a:prstGeom prst="rect">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fr-FR" sz="2400"/>
          </a:p>
        </p:txBody>
      </p:sp>
      <p:sp>
        <p:nvSpPr>
          <p:cNvPr id="15" name="Title 14">
            <a:extLst>
              <a:ext uri="{FF2B5EF4-FFF2-40B4-BE49-F238E27FC236}">
                <a16:creationId xmlns:a16="http://schemas.microsoft.com/office/drawing/2014/main" id="{38ECEC9E-9C39-4E5C-B866-940C3D6D2F3D}"/>
              </a:ext>
            </a:extLst>
          </p:cNvPr>
          <p:cNvSpPr>
            <a:spLocks noGrp="1"/>
          </p:cNvSpPr>
          <p:nvPr>
            <p:ph type="title"/>
          </p:nvPr>
        </p:nvSpPr>
        <p:spPr>
          <a:xfrm>
            <a:off x="3347439" y="1142672"/>
            <a:ext cx="7309719" cy="1563067"/>
          </a:xfrm>
          <a:prstGeom prst="rect">
            <a:avLst/>
          </a:prstGeom>
        </p:spPr>
        <p:txBody>
          <a:bodyPr lIns="0" anchor="b"/>
          <a:lstStyle>
            <a:lvl1pPr>
              <a:lnSpc>
                <a:spcPts val="5867"/>
              </a:lnSpc>
              <a:defRPr lang="fr-FR" sz="5867" cap="all" baseline="0" dirty="0">
                <a:solidFill>
                  <a:schemeClr val="accent1"/>
                </a:solidFill>
              </a:defRPr>
            </a:lvl1pPr>
          </a:lstStyle>
          <a:p>
            <a:pPr lvl="0">
              <a:lnSpc>
                <a:spcPts val="5333"/>
              </a:lnSpc>
            </a:pPr>
            <a:r>
              <a:rPr lang="fr-FR"/>
              <a:t>Modifiez le style du titre</a:t>
            </a:r>
          </a:p>
        </p:txBody>
      </p:sp>
      <p:sp>
        <p:nvSpPr>
          <p:cNvPr id="18" name="Text Placeholder 17">
            <a:extLst>
              <a:ext uri="{FF2B5EF4-FFF2-40B4-BE49-F238E27FC236}">
                <a16:creationId xmlns:a16="http://schemas.microsoft.com/office/drawing/2014/main" id="{B59898E6-C4BF-425A-B1B0-587A4AF4CC36}"/>
              </a:ext>
            </a:extLst>
          </p:cNvPr>
          <p:cNvSpPr>
            <a:spLocks noGrp="1"/>
          </p:cNvSpPr>
          <p:nvPr>
            <p:ph type="body" sz="quarter" idx="10"/>
          </p:nvPr>
        </p:nvSpPr>
        <p:spPr>
          <a:xfrm>
            <a:off x="3347439" y="2705739"/>
            <a:ext cx="7309719" cy="1280581"/>
          </a:xfrm>
          <a:prstGeom prst="rect">
            <a:avLst/>
          </a:prstGeom>
        </p:spPr>
        <p:txBody>
          <a:bodyPr lIns="0"/>
          <a:lstStyle>
            <a:lvl1pPr marL="0" indent="0">
              <a:buNone/>
              <a:defRPr>
                <a:solidFill>
                  <a:schemeClr val="accent3"/>
                </a:solidFill>
              </a:defRPr>
            </a:lvl1pPr>
            <a:lvl2pPr marL="364058" indent="0">
              <a:buNone/>
              <a:defRPr>
                <a:solidFill>
                  <a:schemeClr val="bg1"/>
                </a:solidFill>
              </a:defRPr>
            </a:lvl2pPr>
            <a:lvl3pPr marL="715415" indent="0">
              <a:buNone/>
              <a:defRPr>
                <a:solidFill>
                  <a:schemeClr val="bg1"/>
                </a:solidFill>
              </a:defRPr>
            </a:lvl3pPr>
            <a:lvl4pPr marL="1246686" indent="0">
              <a:buFont typeface="Arial" panose="020B0604020202020204" pitchFamily="34" charset="0"/>
              <a:buNone/>
              <a:defRPr>
                <a:solidFill>
                  <a:schemeClr val="bg1"/>
                </a:solidFill>
              </a:defRPr>
            </a:lvl4pPr>
            <a:lvl5pPr marL="1602277" indent="0">
              <a:buNone/>
              <a:defRPr>
                <a:solidFill>
                  <a:schemeClr val="bg1"/>
                </a:solidFill>
              </a:defRPr>
            </a:lvl5pPr>
          </a:lstStyle>
          <a:p>
            <a:pPr lvl="0"/>
            <a:r>
              <a:rPr lang="fr-FR"/>
              <a:t>Cliquez pour modifier les styles du texte du masque</a:t>
            </a:r>
          </a:p>
        </p:txBody>
      </p:sp>
      <p:sp>
        <p:nvSpPr>
          <p:cNvPr id="25" name="Rectangle 24">
            <a:extLst>
              <a:ext uri="{FF2B5EF4-FFF2-40B4-BE49-F238E27FC236}">
                <a16:creationId xmlns:a16="http://schemas.microsoft.com/office/drawing/2014/main" id="{3C5A4816-4C3C-41FE-8E71-C4A9B9B05E7E}"/>
              </a:ext>
            </a:extLst>
          </p:cNvPr>
          <p:cNvSpPr/>
          <p:nvPr/>
        </p:nvSpPr>
        <p:spPr>
          <a:xfrm flipH="1">
            <a:off x="1373619" y="1476091"/>
            <a:ext cx="1408925" cy="1408925"/>
          </a:xfrm>
          <a:prstGeom prst="rect">
            <a:avLst/>
          </a:prstGeom>
          <a:gradFill flip="none" rotWithShape="1">
            <a:gsLst>
              <a:gs pos="0">
                <a:schemeClr val="bg1"/>
              </a:gs>
              <a:gs pos="100000">
                <a:schemeClr val="bg1">
                  <a:lumMod val="95000"/>
                </a:schemeClr>
              </a:gs>
            </a:gsLst>
            <a:lin ang="10800000" scaled="1"/>
            <a:tileRect/>
          </a:gradFill>
          <a:ln w="53975">
            <a:gradFill flip="none" rotWithShape="1">
              <a:gsLst>
                <a:gs pos="0">
                  <a:schemeClr val="bg1"/>
                </a:gs>
                <a:gs pos="100000">
                  <a:schemeClr val="bg1">
                    <a:lumMod val="95000"/>
                  </a:schemeClr>
                </a:gs>
              </a:gsLst>
              <a:lin ang="0" scaled="1"/>
              <a:tileRect/>
            </a:gradFill>
          </a:ln>
          <a:effectLst>
            <a:outerShdw blurRad="190500" dist="165100" dir="4200000" algn="t" rotWithShape="0">
              <a:prstClr val="black">
                <a:alpha val="4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70">
              <a:lnSpc>
                <a:spcPts val="2400"/>
              </a:lnSpc>
            </a:pPr>
            <a:endParaRPr lang="en-US" sz="1400">
              <a:solidFill>
                <a:prstClr val="white"/>
              </a:solidFill>
              <a:latin typeface="+mj-lt"/>
            </a:endParaRPr>
          </a:p>
        </p:txBody>
      </p:sp>
      <p:sp>
        <p:nvSpPr>
          <p:cNvPr id="3" name="Text Placeholder 2">
            <a:extLst>
              <a:ext uri="{FF2B5EF4-FFF2-40B4-BE49-F238E27FC236}">
                <a16:creationId xmlns:a16="http://schemas.microsoft.com/office/drawing/2014/main" id="{0EE3739F-C927-4934-9BC6-BA07C80DF0E2}"/>
              </a:ext>
            </a:extLst>
          </p:cNvPr>
          <p:cNvSpPr>
            <a:spLocks noGrp="1"/>
          </p:cNvSpPr>
          <p:nvPr>
            <p:ph type="body" sz="quarter" idx="11" hasCustomPrompt="1"/>
          </p:nvPr>
        </p:nvSpPr>
        <p:spPr>
          <a:xfrm>
            <a:off x="1355133" y="1650250"/>
            <a:ext cx="1445900" cy="1025921"/>
          </a:xfrm>
          <a:prstGeom prst="rect">
            <a:avLst/>
          </a:prstGeom>
          <a:noFill/>
        </p:spPr>
        <p:txBody>
          <a:bodyPr wrap="square" rtlCol="0" anchor="ctr">
            <a:spAutoFit/>
          </a:bodyPr>
          <a:lstStyle>
            <a:lvl1pPr marL="0" indent="0" algn="ctr">
              <a:buNone/>
              <a:defRPr lang="en-US" sz="5867" dirty="0" smtClean="0">
                <a:solidFill>
                  <a:schemeClr val="accent1"/>
                </a:solidFill>
                <a:latin typeface="Vinci Sans Medium" panose="02000000000000000000" pitchFamily="2" charset="0"/>
                <a:cs typeface="+mn-cs"/>
              </a:defRPr>
            </a:lvl1pPr>
            <a:lvl2pPr>
              <a:defRPr lang="en-US" dirty="0" smtClean="0">
                <a:latin typeface="Arial" charset="0"/>
                <a:cs typeface="+mn-cs"/>
              </a:defRPr>
            </a:lvl2pPr>
            <a:lvl3pPr>
              <a:defRPr lang="en-US" dirty="0" smtClean="0">
                <a:latin typeface="Arial" charset="0"/>
                <a:cs typeface="+mn-cs"/>
              </a:defRPr>
            </a:lvl3pPr>
            <a:lvl4pPr>
              <a:defRPr lang="en-US" dirty="0" smtClean="0">
                <a:latin typeface="Arial" charset="0"/>
                <a:cs typeface="+mn-cs"/>
              </a:defRPr>
            </a:lvl4pPr>
            <a:lvl5pPr>
              <a:defRPr lang="fr-FR" dirty="0">
                <a:latin typeface="Arial" charset="0"/>
                <a:cs typeface="+mn-cs"/>
              </a:defRPr>
            </a:lvl5pPr>
          </a:lstStyle>
          <a:p>
            <a:pPr lvl="0" algn="ctr">
              <a:spcBef>
                <a:spcPct val="0"/>
              </a:spcBef>
              <a:spcAft>
                <a:spcPct val="0"/>
              </a:spcAft>
            </a:pPr>
            <a:r>
              <a:rPr lang="en-US"/>
              <a:t>##</a:t>
            </a:r>
          </a:p>
        </p:txBody>
      </p:sp>
      <p:cxnSp>
        <p:nvCxnSpPr>
          <p:cNvPr id="26" name="Straight Connector 25">
            <a:extLst>
              <a:ext uri="{FF2B5EF4-FFF2-40B4-BE49-F238E27FC236}">
                <a16:creationId xmlns:a16="http://schemas.microsoft.com/office/drawing/2014/main" id="{164968ED-3915-4F7A-ADCF-93689F7E400B}"/>
              </a:ext>
            </a:extLst>
          </p:cNvPr>
          <p:cNvCxnSpPr>
            <a:cxnSpLocks/>
          </p:cNvCxnSpPr>
          <p:nvPr/>
        </p:nvCxnSpPr>
        <p:spPr>
          <a:xfrm flipH="1">
            <a:off x="812800" y="5630333"/>
            <a:ext cx="10566400" cy="0"/>
          </a:xfrm>
          <a:prstGeom prst="line">
            <a:avLst/>
          </a:prstGeom>
          <a:ln w="6350">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
            <a:extLst>
              <a:ext uri="{FF2B5EF4-FFF2-40B4-BE49-F238E27FC236}">
                <a16:creationId xmlns:a16="http://schemas.microsoft.com/office/drawing/2014/main" id="{AA4403A4-985B-4037-B10A-9725A8F82F06}"/>
              </a:ext>
            </a:extLst>
          </p:cNvPr>
          <p:cNvPicPr>
            <a:picLocks noChangeAspect="1"/>
          </p:cNvPicPr>
          <p:nvPr/>
        </p:nvPicPr>
        <p:blipFill>
          <a:blip r:embed="rId2"/>
          <a:srcRect/>
          <a:stretch/>
        </p:blipFill>
        <p:spPr bwMode="auto">
          <a:xfrm>
            <a:off x="9821584" y="5965189"/>
            <a:ext cx="1532216" cy="4293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78943798"/>
      </p:ext>
    </p:extLst>
  </p:cSld>
  <p:clrMapOvr>
    <a:masterClrMapping/>
  </p:clrMapOvr>
  <p:transition spd="slow">
    <p:cover/>
  </p:transition>
  <p:hf hdr="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Chapitre-2">
    <p:bg>
      <p:bgPr>
        <a:solidFill>
          <a:schemeClr val="bg1"/>
        </a:solidFill>
        <a:effectLst/>
      </p:bgPr>
    </p:bg>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38ECEC9E-9C39-4E5C-B866-940C3D6D2F3D}"/>
              </a:ext>
            </a:extLst>
          </p:cNvPr>
          <p:cNvSpPr>
            <a:spLocks noGrp="1"/>
          </p:cNvSpPr>
          <p:nvPr>
            <p:ph type="title"/>
          </p:nvPr>
        </p:nvSpPr>
        <p:spPr>
          <a:xfrm>
            <a:off x="812801" y="855067"/>
            <a:ext cx="7309719" cy="1563067"/>
          </a:xfrm>
          <a:prstGeom prst="rect">
            <a:avLst/>
          </a:prstGeom>
        </p:spPr>
        <p:txBody>
          <a:bodyPr lIns="0" anchor="b"/>
          <a:lstStyle>
            <a:lvl1pPr>
              <a:lnSpc>
                <a:spcPts val="5867"/>
              </a:lnSpc>
              <a:defRPr lang="fr-FR" sz="5867" cap="all" baseline="0" dirty="0">
                <a:solidFill>
                  <a:schemeClr val="accent1"/>
                </a:solidFill>
              </a:defRPr>
            </a:lvl1pPr>
          </a:lstStyle>
          <a:p>
            <a:pPr lvl="0">
              <a:lnSpc>
                <a:spcPts val="5333"/>
              </a:lnSpc>
            </a:pPr>
            <a:r>
              <a:rPr lang="fr-FR"/>
              <a:t>Modifiez le style du titre</a:t>
            </a:r>
          </a:p>
        </p:txBody>
      </p:sp>
      <p:sp>
        <p:nvSpPr>
          <p:cNvPr id="18" name="Text Placeholder 17">
            <a:extLst>
              <a:ext uri="{FF2B5EF4-FFF2-40B4-BE49-F238E27FC236}">
                <a16:creationId xmlns:a16="http://schemas.microsoft.com/office/drawing/2014/main" id="{B59898E6-C4BF-425A-B1B0-587A4AF4CC36}"/>
              </a:ext>
            </a:extLst>
          </p:cNvPr>
          <p:cNvSpPr>
            <a:spLocks noGrp="1"/>
          </p:cNvSpPr>
          <p:nvPr>
            <p:ph type="body" sz="quarter" idx="10"/>
          </p:nvPr>
        </p:nvSpPr>
        <p:spPr>
          <a:xfrm>
            <a:off x="812801" y="2418134"/>
            <a:ext cx="7309719" cy="1280581"/>
          </a:xfrm>
          <a:prstGeom prst="rect">
            <a:avLst/>
          </a:prstGeom>
        </p:spPr>
        <p:txBody>
          <a:bodyPr lIns="0"/>
          <a:lstStyle>
            <a:lvl1pPr marL="0" indent="0">
              <a:buNone/>
              <a:defRPr>
                <a:solidFill>
                  <a:schemeClr val="accent3"/>
                </a:solidFill>
              </a:defRPr>
            </a:lvl1pPr>
            <a:lvl2pPr marL="364058" indent="0">
              <a:buNone/>
              <a:defRPr>
                <a:solidFill>
                  <a:schemeClr val="bg1"/>
                </a:solidFill>
              </a:defRPr>
            </a:lvl2pPr>
            <a:lvl3pPr marL="715415" indent="0">
              <a:buNone/>
              <a:defRPr>
                <a:solidFill>
                  <a:schemeClr val="bg1"/>
                </a:solidFill>
              </a:defRPr>
            </a:lvl3pPr>
            <a:lvl4pPr marL="1246686" indent="0">
              <a:buFont typeface="Arial" panose="020B0604020202020204" pitchFamily="34" charset="0"/>
              <a:buNone/>
              <a:defRPr>
                <a:solidFill>
                  <a:schemeClr val="bg1"/>
                </a:solidFill>
              </a:defRPr>
            </a:lvl4pPr>
            <a:lvl5pPr marL="1602277" indent="0">
              <a:buNone/>
              <a:defRPr>
                <a:solidFill>
                  <a:schemeClr val="bg1"/>
                </a:solidFill>
              </a:defRPr>
            </a:lvl5pPr>
          </a:lstStyle>
          <a:p>
            <a:pPr lvl="0"/>
            <a:r>
              <a:rPr lang="fr-FR"/>
              <a:t>Cliquez pour modifier les styles du texte du masque</a:t>
            </a:r>
          </a:p>
        </p:txBody>
      </p:sp>
      <p:cxnSp>
        <p:nvCxnSpPr>
          <p:cNvPr id="26" name="Straight Connector 25">
            <a:extLst>
              <a:ext uri="{FF2B5EF4-FFF2-40B4-BE49-F238E27FC236}">
                <a16:creationId xmlns:a16="http://schemas.microsoft.com/office/drawing/2014/main" id="{164968ED-3915-4F7A-ADCF-93689F7E400B}"/>
              </a:ext>
            </a:extLst>
          </p:cNvPr>
          <p:cNvCxnSpPr>
            <a:cxnSpLocks/>
          </p:cNvCxnSpPr>
          <p:nvPr/>
        </p:nvCxnSpPr>
        <p:spPr>
          <a:xfrm flipH="1">
            <a:off x="812800" y="5630333"/>
            <a:ext cx="10566400" cy="0"/>
          </a:xfrm>
          <a:prstGeom prst="line">
            <a:avLst/>
          </a:prstGeom>
          <a:ln w="6350">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1" name="Image 1">
            <a:extLst>
              <a:ext uri="{FF2B5EF4-FFF2-40B4-BE49-F238E27FC236}">
                <a16:creationId xmlns:a16="http://schemas.microsoft.com/office/drawing/2014/main" id="{692D73D4-FF3C-4ACA-A9D5-B4D6E52F2DD9}"/>
              </a:ext>
            </a:extLst>
          </p:cNvPr>
          <p:cNvPicPr>
            <a:picLocks noChangeAspect="1"/>
          </p:cNvPicPr>
          <p:nvPr/>
        </p:nvPicPr>
        <p:blipFill>
          <a:blip r:embed="rId2"/>
          <a:srcRect/>
          <a:stretch/>
        </p:blipFill>
        <p:spPr bwMode="auto">
          <a:xfrm>
            <a:off x="9821584" y="5965189"/>
            <a:ext cx="1532216" cy="4293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0801644"/>
      </p:ext>
    </p:extLst>
  </p:cSld>
  <p:clrMapOvr>
    <a:masterClrMapping/>
  </p:clrMapOvr>
  <p:transition spd="slow">
    <p:cover/>
  </p:transition>
  <p:hf hdr="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Photo">
    <p:bg>
      <p:bgPr>
        <a:solidFill>
          <a:schemeClr val="bg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EA3956C-876C-4BB4-BB4A-F4B9AE0E1D39}"/>
              </a:ext>
            </a:extLst>
          </p:cNvPr>
          <p:cNvSpPr>
            <a:spLocks noGrp="1"/>
          </p:cNvSpPr>
          <p:nvPr>
            <p:ph type="pic" sz="quarter" idx="11"/>
          </p:nvPr>
        </p:nvSpPr>
        <p:spPr>
          <a:xfrm>
            <a:off x="372534" y="357719"/>
            <a:ext cx="11465748" cy="5272616"/>
          </a:xfrm>
          <a:prstGeom prst="rect">
            <a:avLst/>
          </a:prstGeom>
          <a:solidFill>
            <a:schemeClr val="bg1"/>
          </a:solidFill>
        </p:spPr>
        <p:txBody>
          <a:bodyPr/>
          <a:lstStyle/>
          <a:p>
            <a:r>
              <a:rPr lang="fr-FR"/>
              <a:t>Cliquez sur l'icône pour ajouter une image</a:t>
            </a:r>
          </a:p>
        </p:txBody>
      </p:sp>
      <p:sp>
        <p:nvSpPr>
          <p:cNvPr id="15" name="Title 14">
            <a:extLst>
              <a:ext uri="{FF2B5EF4-FFF2-40B4-BE49-F238E27FC236}">
                <a16:creationId xmlns:a16="http://schemas.microsoft.com/office/drawing/2014/main" id="{38ECEC9E-9C39-4E5C-B866-940C3D6D2F3D}"/>
              </a:ext>
            </a:extLst>
          </p:cNvPr>
          <p:cNvSpPr>
            <a:spLocks noGrp="1"/>
          </p:cNvSpPr>
          <p:nvPr>
            <p:ph type="title" hasCustomPrompt="1"/>
          </p:nvPr>
        </p:nvSpPr>
        <p:spPr>
          <a:xfrm>
            <a:off x="372534" y="3429000"/>
            <a:ext cx="1916188" cy="683415"/>
          </a:xfrm>
          <a:prstGeom prst="rect">
            <a:avLst/>
          </a:prstGeom>
          <a:solidFill>
            <a:schemeClr val="accent1"/>
          </a:solidFill>
        </p:spPr>
        <p:txBody>
          <a:bodyPr lIns="72000" tIns="108000" rIns="72000" bIns="0" anchor="ctr"/>
          <a:lstStyle>
            <a:lvl1pPr>
              <a:lnSpc>
                <a:spcPct val="100000"/>
              </a:lnSpc>
              <a:defRPr lang="fr-FR" sz="5333" cap="all" baseline="0" dirty="0">
                <a:solidFill>
                  <a:schemeClr val="bg1"/>
                </a:solidFill>
              </a:defRPr>
            </a:lvl1pPr>
          </a:lstStyle>
          <a:p>
            <a:pPr lvl="0">
              <a:lnSpc>
                <a:spcPts val="5333"/>
              </a:lnSpc>
            </a:pPr>
            <a:r>
              <a:rPr lang="en-US"/>
              <a:t>titre</a:t>
            </a:r>
            <a:endParaRPr lang="fr-FR"/>
          </a:p>
        </p:txBody>
      </p:sp>
      <p:sp>
        <p:nvSpPr>
          <p:cNvPr id="18" name="Text Placeholder 17">
            <a:extLst>
              <a:ext uri="{FF2B5EF4-FFF2-40B4-BE49-F238E27FC236}">
                <a16:creationId xmlns:a16="http://schemas.microsoft.com/office/drawing/2014/main" id="{B59898E6-C4BF-425A-B1B0-587A4AF4CC36}"/>
              </a:ext>
            </a:extLst>
          </p:cNvPr>
          <p:cNvSpPr>
            <a:spLocks noGrp="1"/>
          </p:cNvSpPr>
          <p:nvPr>
            <p:ph type="body" sz="quarter" idx="10"/>
          </p:nvPr>
        </p:nvSpPr>
        <p:spPr>
          <a:xfrm>
            <a:off x="372533" y="4256712"/>
            <a:ext cx="4973864" cy="660488"/>
          </a:xfrm>
          <a:prstGeom prst="rect">
            <a:avLst/>
          </a:prstGeom>
          <a:solidFill>
            <a:schemeClr val="accent3"/>
          </a:solidFill>
        </p:spPr>
        <p:txBody>
          <a:bodyPr lIns="72000" tIns="72000" rIns="72000" bIns="0" anchor="ctr"/>
          <a:lstStyle>
            <a:lvl1pPr marL="0" indent="0">
              <a:lnSpc>
                <a:spcPct val="100000"/>
              </a:lnSpc>
              <a:buNone/>
              <a:defRPr>
                <a:solidFill>
                  <a:schemeClr val="bg1"/>
                </a:solidFill>
              </a:defRPr>
            </a:lvl1pPr>
            <a:lvl2pPr marL="364058" indent="0">
              <a:buNone/>
              <a:defRPr>
                <a:solidFill>
                  <a:schemeClr val="bg1"/>
                </a:solidFill>
              </a:defRPr>
            </a:lvl2pPr>
            <a:lvl3pPr marL="715415" indent="0">
              <a:buNone/>
              <a:defRPr>
                <a:solidFill>
                  <a:schemeClr val="bg1"/>
                </a:solidFill>
              </a:defRPr>
            </a:lvl3pPr>
            <a:lvl4pPr marL="1246686" indent="0">
              <a:buFont typeface="Arial" panose="020B0604020202020204" pitchFamily="34" charset="0"/>
              <a:buNone/>
              <a:defRPr>
                <a:solidFill>
                  <a:schemeClr val="bg1"/>
                </a:solidFill>
              </a:defRPr>
            </a:lvl4pPr>
            <a:lvl5pPr marL="1602277" indent="0">
              <a:buNone/>
              <a:defRPr>
                <a:solidFill>
                  <a:schemeClr val="bg1"/>
                </a:solidFill>
              </a:defRPr>
            </a:lvl5pPr>
          </a:lstStyle>
          <a:p>
            <a:pPr lvl="0"/>
            <a:r>
              <a:rPr lang="fr-FR"/>
              <a:t>Cliquez pour modifier les styles du texte du masque</a:t>
            </a:r>
          </a:p>
        </p:txBody>
      </p:sp>
    </p:spTree>
    <p:extLst>
      <p:ext uri="{BB962C8B-B14F-4D97-AF65-F5344CB8AC3E}">
        <p14:creationId xmlns:p14="http://schemas.microsoft.com/office/powerpoint/2010/main" val="427043497"/>
      </p:ext>
    </p:extLst>
  </p:cSld>
  <p:clrMapOvr>
    <a:masterClrMapping/>
  </p:clrMapOvr>
  <p:transition spd="slow">
    <p:cover/>
  </p:transition>
  <p:hf hdr="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re + sous-titre">
    <p:bg>
      <p:bgPr>
        <a:solidFill>
          <a:schemeClr val="bg1"/>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576000" y="96000"/>
            <a:ext cx="11040000" cy="816000"/>
          </a:xfrm>
          <a:prstGeom prst="rect">
            <a:avLst/>
          </a:prstGeom>
        </p:spPr>
        <p:txBody>
          <a:bodyPr lIns="0" tIns="0" rIns="0" bIns="72000" anchor="b" anchorCtr="0"/>
          <a:lstStyle>
            <a:lvl1pPr algn="l">
              <a:defRPr sz="3200" cap="none" baseline="0">
                <a:solidFill>
                  <a:schemeClr val="accent1"/>
                </a:solidFill>
                <a:latin typeface="+mn-lt"/>
              </a:defRPr>
            </a:lvl1pPr>
          </a:lstStyle>
          <a:p>
            <a:r>
              <a:rPr lang="fr-FR"/>
              <a:t>Modifiez le style du titre</a:t>
            </a:r>
          </a:p>
        </p:txBody>
      </p:sp>
      <p:sp>
        <p:nvSpPr>
          <p:cNvPr id="3" name="Espace réservé du texte 2"/>
          <p:cNvSpPr>
            <a:spLocks noGrp="1"/>
          </p:cNvSpPr>
          <p:nvPr>
            <p:ph type="body" idx="1" hasCustomPrompt="1"/>
          </p:nvPr>
        </p:nvSpPr>
        <p:spPr>
          <a:xfrm>
            <a:off x="576000" y="910684"/>
            <a:ext cx="11040000" cy="672000"/>
          </a:xfrm>
          <a:prstGeom prst="rect">
            <a:avLst/>
          </a:prstGeom>
        </p:spPr>
        <p:txBody>
          <a:bodyPr lIns="0" tIns="0" rIns="0" bIns="0" anchor="t" anchorCtr="0"/>
          <a:lstStyle>
            <a:lvl1pPr marL="0" indent="0" algn="l">
              <a:buNone/>
              <a:defRPr sz="2667" b="0" cap="none" baseline="0">
                <a:solidFill>
                  <a:schemeClr val="tx2"/>
                </a:solidFill>
                <a:latin typeface="+mn-lt"/>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fr-FR"/>
              <a:t>Modifiez les styles du texte du masque</a:t>
            </a:r>
          </a:p>
        </p:txBody>
      </p:sp>
      <p:sp>
        <p:nvSpPr>
          <p:cNvPr id="5" name="Footer Placeholder 4">
            <a:extLst>
              <a:ext uri="{FF2B5EF4-FFF2-40B4-BE49-F238E27FC236}">
                <a16:creationId xmlns:a16="http://schemas.microsoft.com/office/drawing/2014/main" id="{654D99D8-D22A-4E8C-B13C-6A76A01FB292}"/>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37625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re">
    <p:bg>
      <p:bgPr>
        <a:solidFill>
          <a:schemeClr val="bg1"/>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576000" y="95999"/>
            <a:ext cx="11040000" cy="1151775"/>
          </a:xfrm>
          <a:prstGeom prst="rect">
            <a:avLst/>
          </a:prstGeom>
        </p:spPr>
        <p:txBody>
          <a:bodyPr lIns="0" tIns="0" rIns="0" bIns="72000" anchor="b" anchorCtr="0"/>
          <a:lstStyle>
            <a:lvl1pPr algn="l">
              <a:defRPr sz="3200" cap="none" baseline="0">
                <a:solidFill>
                  <a:schemeClr val="accent1"/>
                </a:solidFill>
                <a:latin typeface="+mn-lt"/>
              </a:defRPr>
            </a:lvl1pPr>
          </a:lstStyle>
          <a:p>
            <a:r>
              <a:rPr lang="fr-FR"/>
              <a:t>Modifiez le style du titre</a:t>
            </a:r>
          </a:p>
        </p:txBody>
      </p:sp>
      <p:sp>
        <p:nvSpPr>
          <p:cNvPr id="5" name="Footer Placeholder 4">
            <a:extLst>
              <a:ext uri="{FF2B5EF4-FFF2-40B4-BE49-F238E27FC236}">
                <a16:creationId xmlns:a16="http://schemas.microsoft.com/office/drawing/2014/main" id="{654D99D8-D22A-4E8C-B13C-6A76A01FB292}"/>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2263958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exte">
    <p:bg>
      <p:bgPr>
        <a:solidFill>
          <a:schemeClr val="bg1"/>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576000" y="96000"/>
            <a:ext cx="11040000" cy="816000"/>
          </a:xfrm>
          <a:prstGeom prst="rect">
            <a:avLst/>
          </a:prstGeom>
        </p:spPr>
        <p:txBody>
          <a:bodyPr lIns="0" tIns="0" rIns="0" bIns="72000" anchor="b" anchorCtr="0"/>
          <a:lstStyle>
            <a:lvl1pPr algn="l">
              <a:defRPr sz="3200" cap="none" baseline="0">
                <a:solidFill>
                  <a:schemeClr val="accent1"/>
                </a:solidFill>
                <a:latin typeface="+mn-lt"/>
              </a:defRPr>
            </a:lvl1pPr>
          </a:lstStyle>
          <a:p>
            <a:r>
              <a:rPr lang="fr-FR"/>
              <a:t>Modifiez le style du titre</a:t>
            </a:r>
          </a:p>
        </p:txBody>
      </p:sp>
      <p:sp>
        <p:nvSpPr>
          <p:cNvPr id="3" name="Espace réservé du texte 2"/>
          <p:cNvSpPr>
            <a:spLocks noGrp="1"/>
          </p:cNvSpPr>
          <p:nvPr>
            <p:ph type="body" idx="1" hasCustomPrompt="1"/>
          </p:nvPr>
        </p:nvSpPr>
        <p:spPr>
          <a:xfrm>
            <a:off x="576000" y="910684"/>
            <a:ext cx="11040000" cy="672000"/>
          </a:xfrm>
          <a:prstGeom prst="rect">
            <a:avLst/>
          </a:prstGeom>
        </p:spPr>
        <p:txBody>
          <a:bodyPr lIns="0" tIns="0" rIns="0" bIns="0" anchor="t" anchorCtr="0"/>
          <a:lstStyle>
            <a:lvl1pPr marL="0" indent="0" algn="l">
              <a:buNone/>
              <a:defRPr sz="2667" b="0" cap="none" baseline="0">
                <a:solidFill>
                  <a:schemeClr val="tx2"/>
                </a:solidFill>
                <a:latin typeface="+mn-lt"/>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fr-FR"/>
              <a:t>Modifiez les styles du texte du masque</a:t>
            </a:r>
          </a:p>
        </p:txBody>
      </p:sp>
      <p:sp>
        <p:nvSpPr>
          <p:cNvPr id="4" name="Espace réservé du contenu 3"/>
          <p:cNvSpPr>
            <a:spLocks noGrp="1"/>
          </p:cNvSpPr>
          <p:nvPr>
            <p:ph sz="half" idx="2" hasCustomPrompt="1"/>
          </p:nvPr>
        </p:nvSpPr>
        <p:spPr>
          <a:xfrm>
            <a:off x="576000" y="1776000"/>
            <a:ext cx="10944000" cy="4320000"/>
          </a:xfrm>
          <a:prstGeom prst="rect">
            <a:avLst/>
          </a:prstGeom>
        </p:spPr>
        <p:txBody>
          <a:bodyPr lIns="0"/>
          <a:lstStyle>
            <a:lvl1pPr marL="0" indent="0">
              <a:buClr>
                <a:schemeClr val="bg1"/>
              </a:buClr>
              <a:buSzPct val="100000"/>
              <a:buFont typeface="Arial" panose="020B0604020202020204" pitchFamily="34" charset="0"/>
              <a:buChar char="•"/>
              <a:defRPr sz="2133" cap="all" baseline="0">
                <a:solidFill>
                  <a:srgbClr val="004489"/>
                </a:solidFill>
              </a:defRPr>
            </a:lvl1pPr>
            <a:lvl2pPr marL="596885" indent="-355591">
              <a:buClr>
                <a:schemeClr val="tx2"/>
              </a:buClr>
              <a:buSzPct val="90000"/>
              <a:buFont typeface="Wingdings" panose="05000000000000000000" pitchFamily="2" charset="2"/>
              <a:buChar char="à"/>
              <a:defRPr sz="2133"/>
            </a:lvl2pPr>
            <a:lvl3pPr marL="838179" indent="-241294">
              <a:buClr>
                <a:schemeClr val="accent3"/>
              </a:buClr>
              <a:buSzPct val="80000"/>
              <a:buFont typeface="Arial" panose="020B0604020202020204" pitchFamily="34" charset="0"/>
              <a:buChar char="•"/>
              <a:defRPr sz="2133">
                <a:solidFill>
                  <a:schemeClr val="tx1">
                    <a:lumMod val="75000"/>
                    <a:lumOff val="25000"/>
                  </a:schemeClr>
                </a:solidFill>
              </a:defRPr>
            </a:lvl3pPr>
            <a:lvl4pPr>
              <a:defRPr sz="2133"/>
            </a:lvl4pPr>
            <a:lvl5pPr>
              <a:defRPr sz="2133"/>
            </a:lvl5pPr>
            <a:lvl6pPr>
              <a:defRPr sz="2133"/>
            </a:lvl6pPr>
            <a:lvl7pPr>
              <a:defRPr sz="2133"/>
            </a:lvl7pPr>
            <a:lvl8pPr>
              <a:defRPr sz="2133"/>
            </a:lvl8pPr>
            <a:lvl9pPr>
              <a:defRPr sz="2133"/>
            </a:lvl9pPr>
          </a:lstStyle>
          <a:p>
            <a:pPr lvl="0"/>
            <a:r>
              <a:rPr lang="fr-FR"/>
              <a:t>Modifiez les styles du texte du masque</a:t>
            </a:r>
          </a:p>
          <a:p>
            <a:pPr lvl="1"/>
            <a:r>
              <a:rPr lang="fr-FR"/>
              <a:t>Deuxième niveau</a:t>
            </a:r>
          </a:p>
          <a:p>
            <a:pPr lvl="2"/>
            <a:r>
              <a:rPr lang="fr-FR"/>
              <a:t>Troisième niveau</a:t>
            </a:r>
          </a:p>
        </p:txBody>
      </p:sp>
      <p:sp>
        <p:nvSpPr>
          <p:cNvPr id="5" name="Footer Placeholder 4">
            <a:extLst>
              <a:ext uri="{FF2B5EF4-FFF2-40B4-BE49-F238E27FC236}">
                <a16:creationId xmlns:a16="http://schemas.microsoft.com/office/drawing/2014/main" id="{654D99D8-D22A-4E8C-B13C-6A76A01FB292}"/>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1097697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Photo-Gauche-02">
    <p:bg>
      <p:bgPr>
        <a:solidFill>
          <a:schemeClr val="bg1"/>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000751" y="96000"/>
            <a:ext cx="5824048" cy="816000"/>
          </a:xfrm>
          <a:prstGeom prst="rect">
            <a:avLst/>
          </a:prstGeom>
        </p:spPr>
        <p:txBody>
          <a:bodyPr lIns="0" tIns="0" rIns="0" bIns="72000" anchor="b" anchorCtr="0"/>
          <a:lstStyle>
            <a:lvl1pPr algn="l">
              <a:defRPr sz="3200" cap="none" baseline="0">
                <a:solidFill>
                  <a:schemeClr val="accent1"/>
                </a:solidFill>
                <a:latin typeface="+mn-lt"/>
              </a:defRPr>
            </a:lvl1pPr>
          </a:lstStyle>
          <a:p>
            <a:r>
              <a:rPr lang="fr-FR"/>
              <a:t>Modifiez le style du titre</a:t>
            </a:r>
          </a:p>
        </p:txBody>
      </p:sp>
      <p:sp>
        <p:nvSpPr>
          <p:cNvPr id="3" name="Espace réservé du texte 2"/>
          <p:cNvSpPr>
            <a:spLocks noGrp="1"/>
          </p:cNvSpPr>
          <p:nvPr>
            <p:ph type="body" idx="1" hasCustomPrompt="1"/>
          </p:nvPr>
        </p:nvSpPr>
        <p:spPr>
          <a:xfrm>
            <a:off x="6000751" y="910684"/>
            <a:ext cx="5824048" cy="672000"/>
          </a:xfrm>
          <a:prstGeom prst="rect">
            <a:avLst/>
          </a:prstGeom>
        </p:spPr>
        <p:txBody>
          <a:bodyPr lIns="0" tIns="0" rIns="0" bIns="0" anchor="t" anchorCtr="0"/>
          <a:lstStyle>
            <a:lvl1pPr marL="0" indent="0" algn="l">
              <a:buNone/>
              <a:defRPr sz="2667" b="0" cap="none" baseline="0">
                <a:solidFill>
                  <a:schemeClr val="tx2"/>
                </a:solidFill>
                <a:latin typeface="+mn-lt"/>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fr-FR"/>
              <a:t>Modifiez les styles du texte du masque</a:t>
            </a:r>
          </a:p>
        </p:txBody>
      </p:sp>
      <p:sp>
        <p:nvSpPr>
          <p:cNvPr id="4" name="Espace réservé du contenu 3"/>
          <p:cNvSpPr>
            <a:spLocks noGrp="1"/>
          </p:cNvSpPr>
          <p:nvPr>
            <p:ph sz="half" idx="2" hasCustomPrompt="1"/>
          </p:nvPr>
        </p:nvSpPr>
        <p:spPr>
          <a:xfrm>
            <a:off x="6000751" y="1776000"/>
            <a:ext cx="5824048" cy="4320000"/>
          </a:xfrm>
          <a:prstGeom prst="rect">
            <a:avLst/>
          </a:prstGeom>
        </p:spPr>
        <p:txBody>
          <a:bodyPr lIns="0"/>
          <a:lstStyle>
            <a:lvl1pPr marL="0" indent="0">
              <a:buClr>
                <a:schemeClr val="bg1"/>
              </a:buClr>
              <a:buSzPct val="100000"/>
              <a:buFont typeface="Arial" panose="020B0604020202020204" pitchFamily="34" charset="0"/>
              <a:buChar char="•"/>
              <a:defRPr sz="2133" cap="all" baseline="0">
                <a:solidFill>
                  <a:srgbClr val="004489"/>
                </a:solidFill>
              </a:defRPr>
            </a:lvl1pPr>
            <a:lvl2pPr marL="596885" indent="-355591">
              <a:buClr>
                <a:schemeClr val="tx2"/>
              </a:buClr>
              <a:buSzPct val="90000"/>
              <a:buFont typeface="Wingdings" panose="05000000000000000000" pitchFamily="2" charset="2"/>
              <a:buChar char="à"/>
              <a:defRPr sz="2133"/>
            </a:lvl2pPr>
            <a:lvl3pPr marL="838179" indent="-241294">
              <a:buClr>
                <a:schemeClr val="accent3"/>
              </a:buClr>
              <a:buSzPct val="80000"/>
              <a:buFont typeface="Arial" panose="020B0604020202020204" pitchFamily="34" charset="0"/>
              <a:buChar char="•"/>
              <a:defRPr sz="2133">
                <a:solidFill>
                  <a:schemeClr val="tx1">
                    <a:lumMod val="75000"/>
                    <a:lumOff val="25000"/>
                  </a:schemeClr>
                </a:solidFill>
              </a:defRPr>
            </a:lvl3pPr>
            <a:lvl4pPr>
              <a:defRPr sz="2133"/>
            </a:lvl4pPr>
            <a:lvl5pPr>
              <a:defRPr sz="2133"/>
            </a:lvl5pPr>
            <a:lvl6pPr>
              <a:defRPr sz="2133"/>
            </a:lvl6pPr>
            <a:lvl7pPr>
              <a:defRPr sz="2133"/>
            </a:lvl7pPr>
            <a:lvl8pPr>
              <a:defRPr sz="2133"/>
            </a:lvl8pPr>
            <a:lvl9pPr>
              <a:defRPr sz="2133"/>
            </a:lvl9pPr>
          </a:lstStyle>
          <a:p>
            <a:pPr lvl="0"/>
            <a:r>
              <a:rPr lang="fr-FR"/>
              <a:t>Modifiez les styles du texte du masque</a:t>
            </a:r>
          </a:p>
          <a:p>
            <a:pPr lvl="1"/>
            <a:r>
              <a:rPr lang="fr-FR"/>
              <a:t>Deuxième niveau</a:t>
            </a:r>
          </a:p>
          <a:p>
            <a:pPr lvl="2"/>
            <a:r>
              <a:rPr lang="fr-FR"/>
              <a:t>Troisième niveau</a:t>
            </a:r>
          </a:p>
        </p:txBody>
      </p:sp>
      <p:sp>
        <p:nvSpPr>
          <p:cNvPr id="5" name="Footer Placeholder 4">
            <a:extLst>
              <a:ext uri="{FF2B5EF4-FFF2-40B4-BE49-F238E27FC236}">
                <a16:creationId xmlns:a16="http://schemas.microsoft.com/office/drawing/2014/main" id="{654D99D8-D22A-4E8C-B13C-6A76A01FB292}"/>
              </a:ext>
            </a:extLst>
          </p:cNvPr>
          <p:cNvSpPr>
            <a:spLocks noGrp="1"/>
          </p:cNvSpPr>
          <p:nvPr>
            <p:ph type="ftr" sz="quarter" idx="10"/>
          </p:nvPr>
        </p:nvSpPr>
        <p:spPr/>
        <p:txBody>
          <a:bodyPr/>
          <a:lstStyle/>
          <a:p>
            <a:endParaRPr lang="fr-FR"/>
          </a:p>
        </p:txBody>
      </p:sp>
      <p:sp>
        <p:nvSpPr>
          <p:cNvPr id="6" name="Picture Placeholder 2">
            <a:extLst>
              <a:ext uri="{FF2B5EF4-FFF2-40B4-BE49-F238E27FC236}">
                <a16:creationId xmlns:a16="http://schemas.microsoft.com/office/drawing/2014/main" id="{B3C2E4E1-B867-459C-B455-8BD2DA27C1CA}"/>
              </a:ext>
            </a:extLst>
          </p:cNvPr>
          <p:cNvSpPr>
            <a:spLocks noGrp="1"/>
          </p:cNvSpPr>
          <p:nvPr>
            <p:ph type="pic" sz="quarter" idx="11"/>
          </p:nvPr>
        </p:nvSpPr>
        <p:spPr>
          <a:xfrm>
            <a:off x="269278" y="292099"/>
            <a:ext cx="5490172" cy="5803900"/>
          </a:xfrm>
          <a:prstGeom prst="rect">
            <a:avLst/>
          </a:prstGeom>
        </p:spPr>
        <p:txBody>
          <a:bodyPr/>
          <a:lstStyle>
            <a:lvl1pPr marL="0" indent="0">
              <a:buNone/>
              <a:defRPr sz="2133"/>
            </a:lvl1pPr>
          </a:lstStyle>
          <a:p>
            <a:r>
              <a:rPr lang="fr-FR"/>
              <a:t>Cliquez sur l'icône pour ajouter une image</a:t>
            </a:r>
            <a:endParaRPr lang="en-US"/>
          </a:p>
        </p:txBody>
      </p:sp>
    </p:spTree>
    <p:extLst>
      <p:ext uri="{BB962C8B-B14F-4D97-AF65-F5344CB8AC3E}">
        <p14:creationId xmlns:p14="http://schemas.microsoft.com/office/powerpoint/2010/main" val="4291207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Graphique">
    <p:bg>
      <p:bgPr>
        <a:solidFill>
          <a:schemeClr val="bg1"/>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576000" y="96000"/>
            <a:ext cx="11040000" cy="816000"/>
          </a:xfrm>
          <a:prstGeom prst="rect">
            <a:avLst/>
          </a:prstGeom>
        </p:spPr>
        <p:txBody>
          <a:bodyPr lIns="0" tIns="0" rIns="0" bIns="72000" anchor="b" anchorCtr="0"/>
          <a:lstStyle>
            <a:lvl1pPr algn="l">
              <a:defRPr sz="3200" cap="none" baseline="0">
                <a:solidFill>
                  <a:schemeClr val="accent1"/>
                </a:solidFill>
                <a:latin typeface="+mn-lt"/>
              </a:defRPr>
            </a:lvl1pPr>
          </a:lstStyle>
          <a:p>
            <a:r>
              <a:rPr lang="fr-FR"/>
              <a:t>Modifiez le style du titre</a:t>
            </a:r>
          </a:p>
        </p:txBody>
      </p:sp>
      <p:sp>
        <p:nvSpPr>
          <p:cNvPr id="3" name="Espace réservé du texte 2"/>
          <p:cNvSpPr>
            <a:spLocks noGrp="1"/>
          </p:cNvSpPr>
          <p:nvPr>
            <p:ph type="body" idx="1" hasCustomPrompt="1"/>
          </p:nvPr>
        </p:nvSpPr>
        <p:spPr>
          <a:xfrm>
            <a:off x="576000" y="910684"/>
            <a:ext cx="11040000" cy="672000"/>
          </a:xfrm>
          <a:prstGeom prst="rect">
            <a:avLst/>
          </a:prstGeom>
        </p:spPr>
        <p:txBody>
          <a:bodyPr lIns="0" tIns="0" rIns="0" bIns="0" anchor="t" anchorCtr="0"/>
          <a:lstStyle>
            <a:lvl1pPr marL="0" indent="0" algn="l">
              <a:buNone/>
              <a:defRPr sz="2667" b="0" cap="none" baseline="0">
                <a:solidFill>
                  <a:schemeClr val="tx2"/>
                </a:solidFill>
                <a:latin typeface="+mn-lt"/>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fr-FR"/>
              <a:t>Modifiez les styles du texte du masque</a:t>
            </a:r>
          </a:p>
        </p:txBody>
      </p:sp>
      <p:sp>
        <p:nvSpPr>
          <p:cNvPr id="5" name="Footer Placeholder 4">
            <a:extLst>
              <a:ext uri="{FF2B5EF4-FFF2-40B4-BE49-F238E27FC236}">
                <a16:creationId xmlns:a16="http://schemas.microsoft.com/office/drawing/2014/main" id="{654D99D8-D22A-4E8C-B13C-6A76A01FB292}"/>
              </a:ext>
            </a:extLst>
          </p:cNvPr>
          <p:cNvSpPr>
            <a:spLocks noGrp="1"/>
          </p:cNvSpPr>
          <p:nvPr>
            <p:ph type="ftr" sz="quarter" idx="10"/>
          </p:nvPr>
        </p:nvSpPr>
        <p:spPr/>
        <p:txBody>
          <a:bodyPr/>
          <a:lstStyle/>
          <a:p>
            <a:endParaRPr lang="fr-FR"/>
          </a:p>
        </p:txBody>
      </p:sp>
      <p:sp>
        <p:nvSpPr>
          <p:cNvPr id="7" name="Chart Placeholder 6">
            <a:extLst>
              <a:ext uri="{FF2B5EF4-FFF2-40B4-BE49-F238E27FC236}">
                <a16:creationId xmlns:a16="http://schemas.microsoft.com/office/drawing/2014/main" id="{5E0F56B7-ACBD-47BC-8F76-CA9D719503DB}"/>
              </a:ext>
            </a:extLst>
          </p:cNvPr>
          <p:cNvSpPr>
            <a:spLocks noGrp="1"/>
          </p:cNvSpPr>
          <p:nvPr>
            <p:ph type="chart" sz="quarter" idx="11"/>
          </p:nvPr>
        </p:nvSpPr>
        <p:spPr>
          <a:xfrm>
            <a:off x="575734" y="1816100"/>
            <a:ext cx="11040533" cy="4131733"/>
          </a:xfrm>
          <a:prstGeom prst="rect">
            <a:avLst/>
          </a:prstGeom>
        </p:spPr>
        <p:txBody>
          <a:bodyPr/>
          <a:lstStyle>
            <a:lvl1pPr marL="0" indent="0" algn="ctr">
              <a:buNone/>
              <a:defRPr sz="2133"/>
            </a:lvl1pPr>
          </a:lstStyle>
          <a:p>
            <a:r>
              <a:rPr lang="fr-FR"/>
              <a:t>Cliquez sur l'icône pour ajouter un graphique</a:t>
            </a:r>
          </a:p>
        </p:txBody>
      </p:sp>
    </p:spTree>
    <p:extLst>
      <p:ext uri="{BB962C8B-B14F-4D97-AF65-F5344CB8AC3E}">
        <p14:creationId xmlns:p14="http://schemas.microsoft.com/office/powerpoint/2010/main" val="1884644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ableau">
    <p:bg>
      <p:bgPr>
        <a:solidFill>
          <a:schemeClr val="bg1"/>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576000" y="96000"/>
            <a:ext cx="11040000" cy="816000"/>
          </a:xfrm>
          <a:prstGeom prst="rect">
            <a:avLst/>
          </a:prstGeom>
        </p:spPr>
        <p:txBody>
          <a:bodyPr lIns="0" tIns="0" rIns="0" bIns="72000" anchor="b" anchorCtr="0"/>
          <a:lstStyle>
            <a:lvl1pPr algn="l">
              <a:defRPr sz="3200" cap="none" baseline="0">
                <a:solidFill>
                  <a:schemeClr val="accent1"/>
                </a:solidFill>
                <a:latin typeface="+mn-lt"/>
              </a:defRPr>
            </a:lvl1pPr>
          </a:lstStyle>
          <a:p>
            <a:r>
              <a:rPr lang="fr-FR"/>
              <a:t>Modifiez le style du titre</a:t>
            </a:r>
          </a:p>
        </p:txBody>
      </p:sp>
      <p:sp>
        <p:nvSpPr>
          <p:cNvPr id="3" name="Espace réservé du texte 2"/>
          <p:cNvSpPr>
            <a:spLocks noGrp="1"/>
          </p:cNvSpPr>
          <p:nvPr>
            <p:ph type="body" idx="1" hasCustomPrompt="1"/>
          </p:nvPr>
        </p:nvSpPr>
        <p:spPr>
          <a:xfrm>
            <a:off x="576000" y="910684"/>
            <a:ext cx="11040000" cy="672000"/>
          </a:xfrm>
          <a:prstGeom prst="rect">
            <a:avLst/>
          </a:prstGeom>
        </p:spPr>
        <p:txBody>
          <a:bodyPr lIns="0" tIns="0" rIns="0" bIns="0" anchor="t" anchorCtr="0"/>
          <a:lstStyle>
            <a:lvl1pPr marL="0" indent="0" algn="l">
              <a:buNone/>
              <a:defRPr sz="2667" b="0" cap="none" baseline="0">
                <a:solidFill>
                  <a:schemeClr val="tx2"/>
                </a:solidFill>
                <a:latin typeface="+mn-lt"/>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fr-FR"/>
              <a:t>Modifiez les styles du texte du masque</a:t>
            </a:r>
          </a:p>
        </p:txBody>
      </p:sp>
      <p:sp>
        <p:nvSpPr>
          <p:cNvPr id="5" name="Footer Placeholder 4">
            <a:extLst>
              <a:ext uri="{FF2B5EF4-FFF2-40B4-BE49-F238E27FC236}">
                <a16:creationId xmlns:a16="http://schemas.microsoft.com/office/drawing/2014/main" id="{654D99D8-D22A-4E8C-B13C-6A76A01FB292}"/>
              </a:ext>
            </a:extLst>
          </p:cNvPr>
          <p:cNvSpPr>
            <a:spLocks noGrp="1"/>
          </p:cNvSpPr>
          <p:nvPr>
            <p:ph type="ftr" sz="quarter" idx="10"/>
          </p:nvPr>
        </p:nvSpPr>
        <p:spPr/>
        <p:txBody>
          <a:bodyPr/>
          <a:lstStyle/>
          <a:p>
            <a:endParaRPr lang="fr-FR"/>
          </a:p>
        </p:txBody>
      </p:sp>
      <p:sp>
        <p:nvSpPr>
          <p:cNvPr id="6" name="Table Placeholder 5">
            <a:extLst>
              <a:ext uri="{FF2B5EF4-FFF2-40B4-BE49-F238E27FC236}">
                <a16:creationId xmlns:a16="http://schemas.microsoft.com/office/drawing/2014/main" id="{C1C163FE-B52C-4007-B8B5-B4751CEEF14D}"/>
              </a:ext>
            </a:extLst>
          </p:cNvPr>
          <p:cNvSpPr>
            <a:spLocks noGrp="1"/>
          </p:cNvSpPr>
          <p:nvPr>
            <p:ph type="tbl" sz="quarter" idx="11"/>
          </p:nvPr>
        </p:nvSpPr>
        <p:spPr>
          <a:xfrm>
            <a:off x="575734" y="1727201"/>
            <a:ext cx="11040533" cy="4220633"/>
          </a:xfrm>
          <a:prstGeom prst="rect">
            <a:avLst/>
          </a:prstGeom>
        </p:spPr>
        <p:txBody>
          <a:bodyPr/>
          <a:lstStyle>
            <a:lvl1pPr marL="0" indent="0" algn="ctr">
              <a:buNone/>
              <a:defRPr sz="2133"/>
            </a:lvl1pPr>
          </a:lstStyle>
          <a:p>
            <a:r>
              <a:rPr lang="fr-FR"/>
              <a:t>Cliquez sur l'icône pour ajouter un tableau</a:t>
            </a:r>
          </a:p>
        </p:txBody>
      </p:sp>
    </p:spTree>
    <p:extLst>
      <p:ext uri="{BB962C8B-B14F-4D97-AF65-F5344CB8AC3E}">
        <p14:creationId xmlns:p14="http://schemas.microsoft.com/office/powerpoint/2010/main" val="257704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Vide">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654D99D8-D22A-4E8C-B13C-6A76A01FB292}"/>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3314605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Chapitre-Chiffr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4C3C40D-5BE5-4560-8981-9835F235A6A9}"/>
              </a:ext>
            </a:extLst>
          </p:cNvPr>
          <p:cNvSpPr/>
          <p:nvPr/>
        </p:nvSpPr>
        <p:spPr>
          <a:xfrm>
            <a:off x="1040199" y="1142671"/>
            <a:ext cx="2075765" cy="2075765"/>
          </a:xfrm>
          <a:prstGeom prst="rect">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fr-FR" sz="2400"/>
          </a:p>
        </p:txBody>
      </p:sp>
      <p:sp>
        <p:nvSpPr>
          <p:cNvPr id="15" name="Title 14">
            <a:extLst>
              <a:ext uri="{FF2B5EF4-FFF2-40B4-BE49-F238E27FC236}">
                <a16:creationId xmlns:a16="http://schemas.microsoft.com/office/drawing/2014/main" id="{38ECEC9E-9C39-4E5C-B866-940C3D6D2F3D}"/>
              </a:ext>
            </a:extLst>
          </p:cNvPr>
          <p:cNvSpPr>
            <a:spLocks noGrp="1"/>
          </p:cNvSpPr>
          <p:nvPr>
            <p:ph type="title"/>
          </p:nvPr>
        </p:nvSpPr>
        <p:spPr>
          <a:xfrm>
            <a:off x="3347439" y="1142672"/>
            <a:ext cx="7309719" cy="1563067"/>
          </a:xfrm>
          <a:prstGeom prst="rect">
            <a:avLst/>
          </a:prstGeom>
        </p:spPr>
        <p:txBody>
          <a:bodyPr lIns="0" anchor="b"/>
          <a:lstStyle>
            <a:lvl1pPr>
              <a:lnSpc>
                <a:spcPts val="5867"/>
              </a:lnSpc>
              <a:defRPr lang="fr-FR" sz="5867" cap="all" baseline="0" dirty="0">
                <a:solidFill>
                  <a:schemeClr val="accent1"/>
                </a:solidFill>
              </a:defRPr>
            </a:lvl1pPr>
          </a:lstStyle>
          <a:p>
            <a:pPr lvl="0">
              <a:lnSpc>
                <a:spcPts val="5333"/>
              </a:lnSpc>
            </a:pPr>
            <a:r>
              <a:rPr lang="fr-FR"/>
              <a:t>Modifiez le style du titre</a:t>
            </a:r>
          </a:p>
        </p:txBody>
      </p:sp>
      <p:sp>
        <p:nvSpPr>
          <p:cNvPr id="18" name="Text Placeholder 17">
            <a:extLst>
              <a:ext uri="{FF2B5EF4-FFF2-40B4-BE49-F238E27FC236}">
                <a16:creationId xmlns:a16="http://schemas.microsoft.com/office/drawing/2014/main" id="{B59898E6-C4BF-425A-B1B0-587A4AF4CC36}"/>
              </a:ext>
            </a:extLst>
          </p:cNvPr>
          <p:cNvSpPr>
            <a:spLocks noGrp="1"/>
          </p:cNvSpPr>
          <p:nvPr>
            <p:ph type="body" sz="quarter" idx="10"/>
          </p:nvPr>
        </p:nvSpPr>
        <p:spPr>
          <a:xfrm>
            <a:off x="3347439" y="2705739"/>
            <a:ext cx="7309719" cy="1280581"/>
          </a:xfrm>
          <a:prstGeom prst="rect">
            <a:avLst/>
          </a:prstGeom>
        </p:spPr>
        <p:txBody>
          <a:bodyPr lIns="0"/>
          <a:lstStyle>
            <a:lvl1pPr marL="0" indent="0">
              <a:buNone/>
              <a:defRPr>
                <a:solidFill>
                  <a:schemeClr val="accent3"/>
                </a:solidFill>
              </a:defRPr>
            </a:lvl1pPr>
            <a:lvl2pPr marL="364058" indent="0">
              <a:buNone/>
              <a:defRPr>
                <a:solidFill>
                  <a:schemeClr val="bg1"/>
                </a:solidFill>
              </a:defRPr>
            </a:lvl2pPr>
            <a:lvl3pPr marL="715415" indent="0">
              <a:buNone/>
              <a:defRPr>
                <a:solidFill>
                  <a:schemeClr val="bg1"/>
                </a:solidFill>
              </a:defRPr>
            </a:lvl3pPr>
            <a:lvl4pPr marL="1246686" indent="0">
              <a:buFont typeface="Arial" panose="020B0604020202020204" pitchFamily="34" charset="0"/>
              <a:buNone/>
              <a:defRPr>
                <a:solidFill>
                  <a:schemeClr val="bg1"/>
                </a:solidFill>
              </a:defRPr>
            </a:lvl4pPr>
            <a:lvl5pPr marL="1602277" indent="0">
              <a:buNone/>
              <a:defRPr>
                <a:solidFill>
                  <a:schemeClr val="bg1"/>
                </a:solidFill>
              </a:defRPr>
            </a:lvl5pPr>
          </a:lstStyle>
          <a:p>
            <a:pPr lvl="0"/>
            <a:r>
              <a:rPr lang="fr-FR"/>
              <a:t>Cliquez pour modifier les styles du texte du masque</a:t>
            </a:r>
          </a:p>
        </p:txBody>
      </p:sp>
      <p:sp>
        <p:nvSpPr>
          <p:cNvPr id="25" name="Rectangle 24">
            <a:extLst>
              <a:ext uri="{FF2B5EF4-FFF2-40B4-BE49-F238E27FC236}">
                <a16:creationId xmlns:a16="http://schemas.microsoft.com/office/drawing/2014/main" id="{3C5A4816-4C3C-41FE-8E71-C4A9B9B05E7E}"/>
              </a:ext>
            </a:extLst>
          </p:cNvPr>
          <p:cNvSpPr/>
          <p:nvPr/>
        </p:nvSpPr>
        <p:spPr>
          <a:xfrm flipH="1">
            <a:off x="1373619" y="1476091"/>
            <a:ext cx="1408925" cy="1408925"/>
          </a:xfrm>
          <a:prstGeom prst="rect">
            <a:avLst/>
          </a:prstGeom>
          <a:gradFill flip="none" rotWithShape="1">
            <a:gsLst>
              <a:gs pos="0">
                <a:schemeClr val="bg1"/>
              </a:gs>
              <a:gs pos="100000">
                <a:schemeClr val="bg1">
                  <a:lumMod val="95000"/>
                </a:schemeClr>
              </a:gs>
            </a:gsLst>
            <a:lin ang="10800000" scaled="1"/>
            <a:tileRect/>
          </a:gradFill>
          <a:ln w="53975">
            <a:gradFill flip="none" rotWithShape="1">
              <a:gsLst>
                <a:gs pos="0">
                  <a:schemeClr val="bg1"/>
                </a:gs>
                <a:gs pos="100000">
                  <a:schemeClr val="bg1">
                    <a:lumMod val="95000"/>
                  </a:schemeClr>
                </a:gs>
              </a:gsLst>
              <a:lin ang="0" scaled="1"/>
              <a:tileRect/>
            </a:gradFill>
          </a:ln>
          <a:effectLst>
            <a:outerShdw blurRad="190500" dist="165100" dir="4200000" algn="t" rotWithShape="0">
              <a:prstClr val="black">
                <a:alpha val="4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70">
              <a:lnSpc>
                <a:spcPts val="2400"/>
              </a:lnSpc>
            </a:pPr>
            <a:endParaRPr lang="en-US" sz="1400">
              <a:solidFill>
                <a:prstClr val="white"/>
              </a:solidFill>
              <a:latin typeface="+mj-lt"/>
            </a:endParaRPr>
          </a:p>
        </p:txBody>
      </p:sp>
      <p:sp>
        <p:nvSpPr>
          <p:cNvPr id="3" name="Text Placeholder 2">
            <a:extLst>
              <a:ext uri="{FF2B5EF4-FFF2-40B4-BE49-F238E27FC236}">
                <a16:creationId xmlns:a16="http://schemas.microsoft.com/office/drawing/2014/main" id="{0EE3739F-C927-4934-9BC6-BA07C80DF0E2}"/>
              </a:ext>
            </a:extLst>
          </p:cNvPr>
          <p:cNvSpPr>
            <a:spLocks noGrp="1"/>
          </p:cNvSpPr>
          <p:nvPr>
            <p:ph type="body" sz="quarter" idx="11" hasCustomPrompt="1"/>
          </p:nvPr>
        </p:nvSpPr>
        <p:spPr>
          <a:xfrm>
            <a:off x="1355133" y="1650250"/>
            <a:ext cx="1445900" cy="1025921"/>
          </a:xfrm>
          <a:prstGeom prst="rect">
            <a:avLst/>
          </a:prstGeom>
          <a:noFill/>
        </p:spPr>
        <p:txBody>
          <a:bodyPr wrap="square" rtlCol="0" anchor="ctr">
            <a:spAutoFit/>
          </a:bodyPr>
          <a:lstStyle>
            <a:lvl1pPr marL="0" indent="0" algn="ctr">
              <a:buNone/>
              <a:defRPr lang="en-US" sz="5867" dirty="0" smtClean="0">
                <a:solidFill>
                  <a:schemeClr val="accent1"/>
                </a:solidFill>
                <a:latin typeface="Vinci Sans Medium" panose="02000000000000000000" pitchFamily="2" charset="0"/>
                <a:cs typeface="+mn-cs"/>
              </a:defRPr>
            </a:lvl1pPr>
            <a:lvl2pPr>
              <a:defRPr lang="en-US" dirty="0" smtClean="0">
                <a:latin typeface="Arial" charset="0"/>
                <a:cs typeface="+mn-cs"/>
              </a:defRPr>
            </a:lvl2pPr>
            <a:lvl3pPr>
              <a:defRPr lang="en-US" dirty="0" smtClean="0">
                <a:latin typeface="Arial" charset="0"/>
                <a:cs typeface="+mn-cs"/>
              </a:defRPr>
            </a:lvl3pPr>
            <a:lvl4pPr>
              <a:defRPr lang="en-US" dirty="0" smtClean="0">
                <a:latin typeface="Arial" charset="0"/>
                <a:cs typeface="+mn-cs"/>
              </a:defRPr>
            </a:lvl4pPr>
            <a:lvl5pPr>
              <a:defRPr lang="fr-FR" dirty="0">
                <a:latin typeface="Arial" charset="0"/>
                <a:cs typeface="+mn-cs"/>
              </a:defRPr>
            </a:lvl5pPr>
          </a:lstStyle>
          <a:p>
            <a:pPr lvl="0" algn="ctr">
              <a:spcBef>
                <a:spcPct val="0"/>
              </a:spcBef>
              <a:spcAft>
                <a:spcPct val="0"/>
              </a:spcAft>
            </a:pPr>
            <a:r>
              <a:rPr lang="en-US"/>
              <a:t>##</a:t>
            </a:r>
          </a:p>
        </p:txBody>
      </p:sp>
      <p:cxnSp>
        <p:nvCxnSpPr>
          <p:cNvPr id="26" name="Straight Connector 25">
            <a:extLst>
              <a:ext uri="{FF2B5EF4-FFF2-40B4-BE49-F238E27FC236}">
                <a16:creationId xmlns:a16="http://schemas.microsoft.com/office/drawing/2014/main" id="{164968ED-3915-4F7A-ADCF-93689F7E400B}"/>
              </a:ext>
            </a:extLst>
          </p:cNvPr>
          <p:cNvCxnSpPr>
            <a:cxnSpLocks/>
          </p:cNvCxnSpPr>
          <p:nvPr/>
        </p:nvCxnSpPr>
        <p:spPr>
          <a:xfrm flipH="1">
            <a:off x="812800" y="5630333"/>
            <a:ext cx="10566400" cy="0"/>
          </a:xfrm>
          <a:prstGeom prst="line">
            <a:avLst/>
          </a:prstGeom>
          <a:ln w="6350">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
            <a:extLst>
              <a:ext uri="{FF2B5EF4-FFF2-40B4-BE49-F238E27FC236}">
                <a16:creationId xmlns:a16="http://schemas.microsoft.com/office/drawing/2014/main" id="{AA4403A4-985B-4037-B10A-9725A8F82F06}"/>
              </a:ext>
            </a:extLst>
          </p:cNvPr>
          <p:cNvPicPr>
            <a:picLocks noChangeAspect="1"/>
          </p:cNvPicPr>
          <p:nvPr/>
        </p:nvPicPr>
        <p:blipFill>
          <a:blip r:embed="rId2"/>
          <a:srcRect/>
          <a:stretch/>
        </p:blipFill>
        <p:spPr bwMode="auto">
          <a:xfrm>
            <a:off x="9821584" y="5965189"/>
            <a:ext cx="1532216" cy="4293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80690304"/>
      </p:ext>
    </p:extLst>
  </p:cSld>
  <p:clrMapOvr>
    <a:masterClrMapping/>
  </p:clrMapOvr>
  <p:transition spd="slow">
    <p:cove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lide phon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19EAFF6-97BB-42B7-A8C1-46B65DEB396C}"/>
              </a:ext>
            </a:extLst>
          </p:cNvPr>
          <p:cNvPicPr>
            <a:picLocks noChangeAspect="1"/>
          </p:cNvPicPr>
          <p:nvPr/>
        </p:nvPicPr>
        <p:blipFill>
          <a:blip r:embed="rId2"/>
          <a:stretch>
            <a:fillRect/>
          </a:stretch>
        </p:blipFill>
        <p:spPr>
          <a:xfrm>
            <a:off x="3313754" y="204417"/>
            <a:ext cx="8075897" cy="6858000"/>
          </a:xfrm>
          <a:prstGeom prst="rect">
            <a:avLst/>
          </a:prstGeom>
        </p:spPr>
      </p:pic>
      <p:sp>
        <p:nvSpPr>
          <p:cNvPr id="214" name="Image"/>
          <p:cNvSpPr>
            <a:spLocks noGrp="1"/>
          </p:cNvSpPr>
          <p:nvPr>
            <p:ph type="pic" sz="quarter" idx="23"/>
          </p:nvPr>
        </p:nvSpPr>
        <p:spPr>
          <a:xfrm>
            <a:off x="5969601" y="900040"/>
            <a:ext cx="2776515" cy="4852832"/>
          </a:xfrm>
          <a:prstGeom prst="rect">
            <a:avLst/>
          </a:prstGeom>
          <a:solidFill>
            <a:srgbClr val="EFF4F9"/>
          </a:solidFill>
        </p:spPr>
        <p:txBody>
          <a:bodyPr lIns="91439" tIns="45719" rIns="91439" bIns="45719">
            <a:noAutofit/>
          </a:bodyPr>
          <a:lstStyle>
            <a:lvl1pPr marL="0" indent="0" algn="ctr">
              <a:buFont typeface="Arial" panose="020B0604020202020204" pitchFamily="34" charset="0"/>
              <a:buNone/>
              <a:defRPr sz="1867"/>
            </a:lvl1pPr>
          </a:lstStyle>
          <a:p>
            <a:r>
              <a:rPr lang="fr-FR"/>
              <a:t>Cliquez sur l'icône pour ajouter une image</a:t>
            </a:r>
            <a:endParaRPr/>
          </a:p>
        </p:txBody>
      </p:sp>
      <p:sp>
        <p:nvSpPr>
          <p:cNvPr id="7" name="Titre 1">
            <a:extLst>
              <a:ext uri="{FF2B5EF4-FFF2-40B4-BE49-F238E27FC236}">
                <a16:creationId xmlns:a16="http://schemas.microsoft.com/office/drawing/2014/main" id="{FE7D5F2E-AED0-4803-8BB8-05C99793E014}"/>
              </a:ext>
            </a:extLst>
          </p:cNvPr>
          <p:cNvSpPr>
            <a:spLocks noGrp="1"/>
          </p:cNvSpPr>
          <p:nvPr>
            <p:ph type="title" hasCustomPrompt="1"/>
          </p:nvPr>
        </p:nvSpPr>
        <p:spPr>
          <a:xfrm>
            <a:off x="449602" y="2064500"/>
            <a:ext cx="4090649" cy="816000"/>
          </a:xfrm>
          <a:prstGeom prst="rect">
            <a:avLst/>
          </a:prstGeom>
        </p:spPr>
        <p:txBody>
          <a:bodyPr lIns="0" tIns="0" rIns="0" bIns="72000" anchor="b" anchorCtr="0"/>
          <a:lstStyle>
            <a:lvl1pPr algn="l">
              <a:defRPr sz="3200" cap="none" baseline="0">
                <a:solidFill>
                  <a:schemeClr val="accent1"/>
                </a:solidFill>
                <a:latin typeface="+mn-lt"/>
              </a:defRPr>
            </a:lvl1pPr>
          </a:lstStyle>
          <a:p>
            <a:r>
              <a:rPr lang="fr-FR"/>
              <a:t>Modifiez le style du titre</a:t>
            </a:r>
          </a:p>
        </p:txBody>
      </p:sp>
      <p:sp>
        <p:nvSpPr>
          <p:cNvPr id="8" name="Espace réservé du texte 2">
            <a:extLst>
              <a:ext uri="{FF2B5EF4-FFF2-40B4-BE49-F238E27FC236}">
                <a16:creationId xmlns:a16="http://schemas.microsoft.com/office/drawing/2014/main" id="{4AB15D1B-E066-4EE5-8439-CE2DFB4CBFC3}"/>
              </a:ext>
            </a:extLst>
          </p:cNvPr>
          <p:cNvSpPr>
            <a:spLocks noGrp="1"/>
          </p:cNvSpPr>
          <p:nvPr>
            <p:ph type="body" idx="1" hasCustomPrompt="1"/>
          </p:nvPr>
        </p:nvSpPr>
        <p:spPr>
          <a:xfrm>
            <a:off x="449602" y="2879184"/>
            <a:ext cx="4090649" cy="672000"/>
          </a:xfrm>
          <a:prstGeom prst="rect">
            <a:avLst/>
          </a:prstGeom>
        </p:spPr>
        <p:txBody>
          <a:bodyPr lIns="0" tIns="0" rIns="0" bIns="0" anchor="t" anchorCtr="0"/>
          <a:lstStyle>
            <a:lvl1pPr marL="0" indent="0" algn="l">
              <a:lnSpc>
                <a:spcPts val="2667"/>
              </a:lnSpc>
              <a:buNone/>
              <a:defRPr sz="2667" b="0" cap="none" baseline="0">
                <a:solidFill>
                  <a:schemeClr val="tx2"/>
                </a:solidFill>
                <a:latin typeface="+mn-lt"/>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fr-FR"/>
              <a:t>Modifiez les styles du texte du masque</a:t>
            </a:r>
          </a:p>
        </p:txBody>
      </p:sp>
    </p:spTree>
    <p:extLst>
      <p:ext uri="{BB962C8B-B14F-4D97-AF65-F5344CB8AC3E}">
        <p14:creationId xmlns:p14="http://schemas.microsoft.com/office/powerpoint/2010/main" val="2603145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lide Ordi">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88DA13-791A-43FD-A6B9-C4A6D6F56657}"/>
              </a:ext>
            </a:extLst>
          </p:cNvPr>
          <p:cNvPicPr>
            <a:picLocks noChangeAspect="1"/>
          </p:cNvPicPr>
          <p:nvPr/>
        </p:nvPicPr>
        <p:blipFill>
          <a:blip r:embed="rId2"/>
          <a:srcRect t="8351" b="8351"/>
          <a:stretch/>
        </p:blipFill>
        <p:spPr>
          <a:xfrm>
            <a:off x="3511552" y="462389"/>
            <a:ext cx="8337283" cy="5597328"/>
          </a:xfrm>
          <a:prstGeom prst="rect">
            <a:avLst/>
          </a:prstGeom>
        </p:spPr>
      </p:pic>
      <p:sp>
        <p:nvSpPr>
          <p:cNvPr id="214" name="Image"/>
          <p:cNvSpPr>
            <a:spLocks noGrp="1"/>
          </p:cNvSpPr>
          <p:nvPr>
            <p:ph type="pic" sz="quarter" idx="23"/>
          </p:nvPr>
        </p:nvSpPr>
        <p:spPr>
          <a:xfrm>
            <a:off x="4487460" y="1057895"/>
            <a:ext cx="6542667" cy="4161804"/>
          </a:xfrm>
          <a:prstGeom prst="roundRect">
            <a:avLst>
              <a:gd name="adj" fmla="val 1670"/>
            </a:avLst>
          </a:prstGeom>
          <a:solidFill>
            <a:srgbClr val="EFF4F9"/>
          </a:solidFill>
        </p:spPr>
        <p:txBody>
          <a:bodyPr lIns="91439" tIns="45719" rIns="91439" bIns="45719">
            <a:noAutofit/>
          </a:bodyPr>
          <a:lstStyle>
            <a:lvl1pPr marL="0" indent="0" algn="ctr">
              <a:buFont typeface="Arial" panose="020B0604020202020204" pitchFamily="34" charset="0"/>
              <a:buNone/>
              <a:defRPr sz="1867"/>
            </a:lvl1pPr>
          </a:lstStyle>
          <a:p>
            <a:r>
              <a:rPr lang="fr-FR"/>
              <a:t>Cliquez sur l'icône pour ajouter une image</a:t>
            </a:r>
            <a:endParaRPr/>
          </a:p>
        </p:txBody>
      </p:sp>
      <p:sp>
        <p:nvSpPr>
          <p:cNvPr id="6" name="Titre 1">
            <a:extLst>
              <a:ext uri="{FF2B5EF4-FFF2-40B4-BE49-F238E27FC236}">
                <a16:creationId xmlns:a16="http://schemas.microsoft.com/office/drawing/2014/main" id="{2426998B-719C-4468-A384-7BCB21C0CF60}"/>
              </a:ext>
            </a:extLst>
          </p:cNvPr>
          <p:cNvSpPr>
            <a:spLocks noGrp="1"/>
          </p:cNvSpPr>
          <p:nvPr>
            <p:ph type="title" hasCustomPrompt="1"/>
          </p:nvPr>
        </p:nvSpPr>
        <p:spPr>
          <a:xfrm>
            <a:off x="449602" y="2057401"/>
            <a:ext cx="3315948" cy="823100"/>
          </a:xfrm>
          <a:prstGeom prst="rect">
            <a:avLst/>
          </a:prstGeom>
        </p:spPr>
        <p:txBody>
          <a:bodyPr lIns="0" tIns="0" rIns="0" bIns="72000" anchor="b" anchorCtr="0"/>
          <a:lstStyle>
            <a:lvl1pPr algn="l">
              <a:lnSpc>
                <a:spcPts val="3200"/>
              </a:lnSpc>
              <a:defRPr sz="3200" cap="none" baseline="0">
                <a:solidFill>
                  <a:schemeClr val="accent1"/>
                </a:solidFill>
                <a:latin typeface="+mn-lt"/>
              </a:defRPr>
            </a:lvl1pPr>
          </a:lstStyle>
          <a:p>
            <a:r>
              <a:rPr lang="fr-FR"/>
              <a:t>Modifiez le style du titre</a:t>
            </a:r>
          </a:p>
        </p:txBody>
      </p:sp>
      <p:sp>
        <p:nvSpPr>
          <p:cNvPr id="7" name="Espace réservé du texte 2">
            <a:extLst>
              <a:ext uri="{FF2B5EF4-FFF2-40B4-BE49-F238E27FC236}">
                <a16:creationId xmlns:a16="http://schemas.microsoft.com/office/drawing/2014/main" id="{ADD27CB5-DC52-4C14-B9E1-8A6FBBFB78F3}"/>
              </a:ext>
            </a:extLst>
          </p:cNvPr>
          <p:cNvSpPr>
            <a:spLocks noGrp="1"/>
          </p:cNvSpPr>
          <p:nvPr>
            <p:ph type="body" idx="1" hasCustomPrompt="1"/>
          </p:nvPr>
        </p:nvSpPr>
        <p:spPr>
          <a:xfrm>
            <a:off x="449602" y="2925053"/>
            <a:ext cx="3315948" cy="672000"/>
          </a:xfrm>
          <a:prstGeom prst="rect">
            <a:avLst/>
          </a:prstGeom>
        </p:spPr>
        <p:txBody>
          <a:bodyPr lIns="0" tIns="0" rIns="0" bIns="0" anchor="t" anchorCtr="0"/>
          <a:lstStyle>
            <a:lvl1pPr marL="0" indent="0" algn="l">
              <a:lnSpc>
                <a:spcPts val="2667"/>
              </a:lnSpc>
              <a:buNone/>
              <a:defRPr sz="2667" b="0" cap="none" baseline="0">
                <a:solidFill>
                  <a:schemeClr val="tx2"/>
                </a:solidFill>
                <a:latin typeface="+mn-lt"/>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fr-FR"/>
              <a:t>Modifiez les styles du texte du masque</a:t>
            </a:r>
          </a:p>
        </p:txBody>
      </p:sp>
    </p:spTree>
    <p:extLst>
      <p:ext uri="{BB962C8B-B14F-4D97-AF65-F5344CB8AC3E}">
        <p14:creationId xmlns:p14="http://schemas.microsoft.com/office/powerpoint/2010/main" val="470570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Slide Fin">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3C32CC7-F487-4198-A919-E9E9B06CABA4}"/>
              </a:ext>
            </a:extLst>
          </p:cNvPr>
          <p:cNvSpPr/>
          <p:nvPr/>
        </p:nvSpPr>
        <p:spPr>
          <a:xfrm>
            <a:off x="439958" y="365370"/>
            <a:ext cx="11312085" cy="6127261"/>
          </a:xfrm>
          <a:prstGeom prst="rect">
            <a:avLst/>
          </a:prstGeom>
          <a:solidFill>
            <a:schemeClr val="bg1"/>
          </a:solidFill>
          <a:ln w="9525">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fr-FR" sz="2400"/>
          </a:p>
        </p:txBody>
      </p:sp>
      <p:pic>
        <p:nvPicPr>
          <p:cNvPr id="4" name="Image 1">
            <a:extLst>
              <a:ext uri="{FF2B5EF4-FFF2-40B4-BE49-F238E27FC236}">
                <a16:creationId xmlns:a16="http://schemas.microsoft.com/office/drawing/2014/main" id="{B4BBAC1D-1664-4E34-B203-C7914B721880}"/>
              </a:ext>
            </a:extLst>
          </p:cNvPr>
          <p:cNvPicPr>
            <a:picLocks noChangeAspect="1"/>
          </p:cNvPicPr>
          <p:nvPr/>
        </p:nvPicPr>
        <p:blipFill>
          <a:blip r:embed="rId2"/>
          <a:srcRect/>
          <a:stretch/>
        </p:blipFill>
        <p:spPr bwMode="auto">
          <a:xfrm>
            <a:off x="3976744" y="2534892"/>
            <a:ext cx="4238512" cy="11876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31623811"/>
      </p:ext>
    </p:extLst>
  </p:cSld>
  <p:clrMapOvr>
    <a:masterClrMapping/>
  </p:clrMapOvr>
  <p:transition spd="slow">
    <p:cover/>
  </p:transition>
  <p:hf hdr="0"/>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1_Home-Photo">
    <p:bg>
      <p:bgPr>
        <a:solidFill>
          <a:schemeClr val="bg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4CB0A9DD-FAAF-E44B-AA16-16DFAB4390CA}"/>
              </a:ext>
            </a:extLst>
          </p:cNvPr>
          <p:cNvSpPr/>
          <p:nvPr userDrawn="1"/>
        </p:nvSpPr>
        <p:spPr>
          <a:xfrm>
            <a:off x="0" y="0"/>
            <a:ext cx="12192000" cy="6858000"/>
          </a:xfrm>
          <a:prstGeom prst="rect">
            <a:avLst/>
          </a:prstGeom>
          <a:solidFill>
            <a:schemeClr val="accent1">
              <a:alpha val="4000"/>
            </a:schemeClr>
          </a:solidFill>
          <a:ln w="63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fr-FR" sz="2400"/>
          </a:p>
        </p:txBody>
      </p:sp>
      <p:pic>
        <p:nvPicPr>
          <p:cNvPr id="8" name="Graphique 7">
            <a:extLst>
              <a:ext uri="{FF2B5EF4-FFF2-40B4-BE49-F238E27FC236}">
                <a16:creationId xmlns:a16="http://schemas.microsoft.com/office/drawing/2014/main" id="{C4F9F4A3-601C-A142-A82F-C6450917EA9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47168" b="-1"/>
          <a:stretch/>
        </p:blipFill>
        <p:spPr>
          <a:xfrm rot="5400000">
            <a:off x="3340923" y="749131"/>
            <a:ext cx="4855501" cy="5376909"/>
          </a:xfrm>
          <a:prstGeom prst="rect">
            <a:avLst/>
          </a:prstGeom>
        </p:spPr>
      </p:pic>
      <p:pic>
        <p:nvPicPr>
          <p:cNvPr id="16" name="Image 1">
            <a:extLst>
              <a:ext uri="{FF2B5EF4-FFF2-40B4-BE49-F238E27FC236}">
                <a16:creationId xmlns:a16="http://schemas.microsoft.com/office/drawing/2014/main" id="{02C5263E-5625-4EE1-9E30-5F7674C8836B}"/>
              </a:ext>
            </a:extLst>
          </p:cNvPr>
          <p:cNvPicPr>
            <a:picLocks noChangeAspect="1"/>
          </p:cNvPicPr>
          <p:nvPr userDrawn="1"/>
        </p:nvPicPr>
        <p:blipFill>
          <a:blip r:embed="rId4"/>
          <a:srcRect/>
          <a:stretch/>
        </p:blipFill>
        <p:spPr bwMode="auto">
          <a:xfrm>
            <a:off x="9840014" y="343238"/>
            <a:ext cx="1991713" cy="5580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CDF30C31-114C-43D4-BBBB-4428B619F28F}"/>
              </a:ext>
            </a:extLst>
          </p:cNvPr>
          <p:cNvSpPr/>
          <p:nvPr userDrawn="1"/>
        </p:nvSpPr>
        <p:spPr>
          <a:xfrm>
            <a:off x="8328339" y="2571829"/>
            <a:ext cx="3863661" cy="1699200"/>
          </a:xfrm>
          <a:prstGeom prst="rect">
            <a:avLst/>
          </a:prstGeom>
          <a:solidFill>
            <a:srgbClr val="004287"/>
          </a:solidFill>
          <a:ln w="63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fr-FR" sz="2400"/>
          </a:p>
        </p:txBody>
      </p:sp>
    </p:spTree>
    <p:extLst>
      <p:ext uri="{BB962C8B-B14F-4D97-AF65-F5344CB8AC3E}">
        <p14:creationId xmlns:p14="http://schemas.microsoft.com/office/powerpoint/2010/main" val="23039492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re seul">
    <p:bg>
      <p:bgPr>
        <a:solidFill>
          <a:schemeClr val="bg1"/>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576000" y="96000"/>
            <a:ext cx="11040000" cy="816000"/>
          </a:xfrm>
          <a:prstGeom prst="rect">
            <a:avLst/>
          </a:prstGeom>
        </p:spPr>
        <p:txBody>
          <a:bodyPr lIns="0" tIns="0" rIns="0" bIns="72000" anchor="b" anchorCtr="0"/>
          <a:lstStyle>
            <a:lvl1pPr algn="l">
              <a:defRPr sz="3200" cap="none" baseline="0">
                <a:solidFill>
                  <a:schemeClr val="accent1"/>
                </a:solidFill>
                <a:latin typeface="+mn-lt"/>
              </a:defRPr>
            </a:lvl1pPr>
          </a:lstStyle>
          <a:p>
            <a:r>
              <a:rPr lang="fr-FR"/>
              <a:t>Modifiez le style du titre</a:t>
            </a:r>
          </a:p>
        </p:txBody>
      </p:sp>
      <p:sp>
        <p:nvSpPr>
          <p:cNvPr id="3" name="Espace réservé du texte 2"/>
          <p:cNvSpPr>
            <a:spLocks noGrp="1"/>
          </p:cNvSpPr>
          <p:nvPr>
            <p:ph type="body" idx="1" hasCustomPrompt="1"/>
          </p:nvPr>
        </p:nvSpPr>
        <p:spPr>
          <a:xfrm>
            <a:off x="576000" y="910684"/>
            <a:ext cx="11040000" cy="672000"/>
          </a:xfrm>
          <a:prstGeom prst="rect">
            <a:avLst/>
          </a:prstGeom>
        </p:spPr>
        <p:txBody>
          <a:bodyPr lIns="0" tIns="0" rIns="0" bIns="0" anchor="t" anchorCtr="0"/>
          <a:lstStyle>
            <a:lvl1pPr marL="0" indent="0" algn="l">
              <a:buNone/>
              <a:defRPr sz="2400" b="0" cap="none" baseline="0">
                <a:solidFill>
                  <a:schemeClr val="tx2"/>
                </a:solidFill>
                <a:latin typeface="+mn-lt"/>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fr-FR"/>
              <a:t>Modifiez les styles du texte du masque</a:t>
            </a:r>
          </a:p>
        </p:txBody>
      </p:sp>
    </p:spTree>
    <p:extLst>
      <p:ext uri="{BB962C8B-B14F-4D97-AF65-F5344CB8AC3E}">
        <p14:creationId xmlns:p14="http://schemas.microsoft.com/office/powerpoint/2010/main" val="270961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1_Chapitre-Chiffre">
    <p:bg>
      <p:bgPr>
        <a:solidFill>
          <a:schemeClr val="bg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22280F33-3158-A64F-8A7B-90D8C01277F1}"/>
              </a:ext>
            </a:extLst>
          </p:cNvPr>
          <p:cNvSpPr/>
          <p:nvPr userDrawn="1"/>
        </p:nvSpPr>
        <p:spPr>
          <a:xfrm>
            <a:off x="0" y="0"/>
            <a:ext cx="12192000" cy="5630333"/>
          </a:xfrm>
          <a:prstGeom prst="rect">
            <a:avLst/>
          </a:prstGeom>
          <a:solidFill>
            <a:schemeClr val="accent1">
              <a:alpha val="4000"/>
            </a:schemeClr>
          </a:solidFill>
          <a:ln w="63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fr-FR" sz="2400"/>
          </a:p>
        </p:txBody>
      </p:sp>
      <p:pic>
        <p:nvPicPr>
          <p:cNvPr id="19" name="Graphique 18">
            <a:extLst>
              <a:ext uri="{FF2B5EF4-FFF2-40B4-BE49-F238E27FC236}">
                <a16:creationId xmlns:a16="http://schemas.microsoft.com/office/drawing/2014/main" id="{39A68E43-E0C0-104F-89B3-A943756E39B3}"/>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b="70828"/>
          <a:stretch/>
        </p:blipFill>
        <p:spPr>
          <a:xfrm rot="10800000">
            <a:off x="-1019547" y="-2"/>
            <a:ext cx="4669411" cy="2855057"/>
          </a:xfrm>
          <a:prstGeom prst="rect">
            <a:avLst/>
          </a:prstGeom>
        </p:spPr>
      </p:pic>
      <p:sp>
        <p:nvSpPr>
          <p:cNvPr id="15" name="Title 14">
            <a:extLst>
              <a:ext uri="{FF2B5EF4-FFF2-40B4-BE49-F238E27FC236}">
                <a16:creationId xmlns:a16="http://schemas.microsoft.com/office/drawing/2014/main" id="{38ECEC9E-9C39-4E5C-B866-940C3D6D2F3D}"/>
              </a:ext>
            </a:extLst>
          </p:cNvPr>
          <p:cNvSpPr>
            <a:spLocks noGrp="1"/>
          </p:cNvSpPr>
          <p:nvPr>
            <p:ph type="title"/>
          </p:nvPr>
        </p:nvSpPr>
        <p:spPr>
          <a:xfrm>
            <a:off x="2851881" y="2231780"/>
            <a:ext cx="7309719" cy="1563067"/>
          </a:xfrm>
          <a:prstGeom prst="rect">
            <a:avLst/>
          </a:prstGeom>
        </p:spPr>
        <p:txBody>
          <a:bodyPr lIns="0" anchor="b"/>
          <a:lstStyle>
            <a:lvl1pPr>
              <a:lnSpc>
                <a:spcPts val="5867"/>
              </a:lnSpc>
              <a:defRPr lang="fr-FR" sz="5867" cap="all" baseline="0" dirty="0">
                <a:solidFill>
                  <a:schemeClr val="accent1"/>
                </a:solidFill>
              </a:defRPr>
            </a:lvl1pPr>
          </a:lstStyle>
          <a:p>
            <a:pPr lvl="0">
              <a:lnSpc>
                <a:spcPts val="5333"/>
              </a:lnSpc>
            </a:pPr>
            <a:r>
              <a:rPr lang="en-US"/>
              <a:t>Click to edit Master title style</a:t>
            </a:r>
            <a:endParaRPr lang="fr-FR"/>
          </a:p>
        </p:txBody>
      </p:sp>
      <p:sp>
        <p:nvSpPr>
          <p:cNvPr id="18" name="Text Placeholder 17">
            <a:extLst>
              <a:ext uri="{FF2B5EF4-FFF2-40B4-BE49-F238E27FC236}">
                <a16:creationId xmlns:a16="http://schemas.microsoft.com/office/drawing/2014/main" id="{B59898E6-C4BF-425A-B1B0-587A4AF4CC36}"/>
              </a:ext>
            </a:extLst>
          </p:cNvPr>
          <p:cNvSpPr>
            <a:spLocks noGrp="1"/>
          </p:cNvSpPr>
          <p:nvPr>
            <p:ph type="body" sz="quarter" idx="10"/>
          </p:nvPr>
        </p:nvSpPr>
        <p:spPr>
          <a:xfrm>
            <a:off x="2851881" y="3794847"/>
            <a:ext cx="7309719" cy="1280581"/>
          </a:xfrm>
          <a:prstGeom prst="rect">
            <a:avLst/>
          </a:prstGeom>
        </p:spPr>
        <p:txBody>
          <a:bodyPr lIns="0"/>
          <a:lstStyle>
            <a:lvl1pPr marL="0" indent="0">
              <a:buNone/>
              <a:defRPr>
                <a:solidFill>
                  <a:schemeClr val="accent3"/>
                </a:solidFill>
              </a:defRPr>
            </a:lvl1pPr>
            <a:lvl2pPr marL="364058" indent="0">
              <a:buNone/>
              <a:defRPr>
                <a:solidFill>
                  <a:schemeClr val="bg1"/>
                </a:solidFill>
              </a:defRPr>
            </a:lvl2pPr>
            <a:lvl3pPr marL="715415" indent="0">
              <a:buNone/>
              <a:defRPr>
                <a:solidFill>
                  <a:schemeClr val="bg1"/>
                </a:solidFill>
              </a:defRPr>
            </a:lvl3pPr>
            <a:lvl4pPr marL="1246686" indent="0">
              <a:buFont typeface="Arial" panose="020B0604020202020204" pitchFamily="34" charset="0"/>
              <a:buNone/>
              <a:defRPr>
                <a:solidFill>
                  <a:schemeClr val="bg1"/>
                </a:solidFill>
              </a:defRPr>
            </a:lvl4pPr>
            <a:lvl5pPr marL="1602277" indent="0">
              <a:buNone/>
              <a:defRPr>
                <a:solidFill>
                  <a:schemeClr val="bg1"/>
                </a:solidFill>
              </a:defRPr>
            </a:lvl5pPr>
          </a:lstStyle>
          <a:p>
            <a:pPr lvl="0"/>
            <a:r>
              <a:rPr lang="en-US"/>
              <a:t>Click to edit Master text styles</a:t>
            </a:r>
          </a:p>
        </p:txBody>
      </p:sp>
      <p:sp>
        <p:nvSpPr>
          <p:cNvPr id="3" name="Text Placeholder 2">
            <a:extLst>
              <a:ext uri="{FF2B5EF4-FFF2-40B4-BE49-F238E27FC236}">
                <a16:creationId xmlns:a16="http://schemas.microsoft.com/office/drawing/2014/main" id="{0EE3739F-C927-4934-9BC6-BA07C80DF0E2}"/>
              </a:ext>
            </a:extLst>
          </p:cNvPr>
          <p:cNvSpPr>
            <a:spLocks noGrp="1"/>
          </p:cNvSpPr>
          <p:nvPr>
            <p:ph type="body" sz="quarter" idx="11" hasCustomPrompt="1"/>
          </p:nvPr>
        </p:nvSpPr>
        <p:spPr>
          <a:xfrm>
            <a:off x="767999" y="2442445"/>
            <a:ext cx="1445900" cy="1025921"/>
          </a:xfrm>
          <a:prstGeom prst="rect">
            <a:avLst/>
          </a:prstGeom>
          <a:noFill/>
        </p:spPr>
        <p:txBody>
          <a:bodyPr wrap="square" rtlCol="0" anchor="ctr">
            <a:spAutoFit/>
          </a:bodyPr>
          <a:lstStyle>
            <a:lvl1pPr marL="0" indent="0" algn="ctr">
              <a:buNone/>
              <a:defRPr lang="en-US" sz="5867" dirty="0" smtClean="0">
                <a:solidFill>
                  <a:schemeClr val="accent1"/>
                </a:solidFill>
                <a:latin typeface="Vinci Sans Medium" panose="02000000000000000000" pitchFamily="2" charset="0"/>
                <a:cs typeface="+mn-cs"/>
              </a:defRPr>
            </a:lvl1pPr>
            <a:lvl2pPr>
              <a:defRPr lang="en-US" dirty="0" smtClean="0">
                <a:latin typeface="Arial" charset="0"/>
                <a:cs typeface="+mn-cs"/>
              </a:defRPr>
            </a:lvl2pPr>
            <a:lvl3pPr>
              <a:defRPr lang="en-US" dirty="0" smtClean="0">
                <a:latin typeface="Arial" charset="0"/>
                <a:cs typeface="+mn-cs"/>
              </a:defRPr>
            </a:lvl3pPr>
            <a:lvl4pPr>
              <a:defRPr lang="en-US" dirty="0" smtClean="0">
                <a:latin typeface="Arial" charset="0"/>
                <a:cs typeface="+mn-cs"/>
              </a:defRPr>
            </a:lvl4pPr>
            <a:lvl5pPr>
              <a:defRPr lang="fr-FR" dirty="0">
                <a:latin typeface="Arial" charset="0"/>
                <a:cs typeface="+mn-cs"/>
              </a:defRPr>
            </a:lvl5pPr>
          </a:lstStyle>
          <a:p>
            <a:pPr lvl="0" algn="ctr">
              <a:spcBef>
                <a:spcPct val="0"/>
              </a:spcBef>
              <a:spcAft>
                <a:spcPct val="0"/>
              </a:spcAft>
            </a:pPr>
            <a:r>
              <a:rPr lang="en-US"/>
              <a:t>##</a:t>
            </a:r>
          </a:p>
        </p:txBody>
      </p:sp>
      <p:sp>
        <p:nvSpPr>
          <p:cNvPr id="10" name="Graphique 27">
            <a:extLst>
              <a:ext uri="{FF2B5EF4-FFF2-40B4-BE49-F238E27FC236}">
                <a16:creationId xmlns:a16="http://schemas.microsoft.com/office/drawing/2014/main" id="{769A5CB5-A792-0046-8603-D1A0626BB97C}"/>
              </a:ext>
            </a:extLst>
          </p:cNvPr>
          <p:cNvSpPr/>
          <p:nvPr userDrawn="1"/>
        </p:nvSpPr>
        <p:spPr>
          <a:xfrm>
            <a:off x="653476" y="2115961"/>
            <a:ext cx="1674944" cy="1678887"/>
          </a:xfrm>
          <a:custGeom>
            <a:avLst/>
            <a:gdLst>
              <a:gd name="connsiteX0" fmla="*/ 558964 w 1108528"/>
              <a:gd name="connsiteY0" fmla="*/ 1113474 h 1111137"/>
              <a:gd name="connsiteX1" fmla="*/ 7068 w 1108528"/>
              <a:gd name="connsiteY1" fmla="*/ 560280 h 1111137"/>
              <a:gd name="connsiteX2" fmla="*/ 558964 w 1108528"/>
              <a:gd name="connsiteY2" fmla="*/ 7085 h 1111137"/>
              <a:gd name="connsiteX3" fmla="*/ 1110860 w 1108528"/>
              <a:gd name="connsiteY3" fmla="*/ 560280 h 1111137"/>
              <a:gd name="connsiteX4" fmla="*/ 1110860 w 1108528"/>
              <a:gd name="connsiteY4" fmla="*/ 560375 h 1111137"/>
              <a:gd name="connsiteX5" fmla="*/ 558964 w 1108528"/>
              <a:gd name="connsiteY5" fmla="*/ 1113474 h 1111137"/>
              <a:gd name="connsiteX6" fmla="*/ 558964 w 1108528"/>
              <a:gd name="connsiteY6" fmla="*/ 34531 h 1111137"/>
              <a:gd name="connsiteX7" fmla="*/ 33787 w 1108528"/>
              <a:gd name="connsiteY7" fmla="*/ 560754 h 1111137"/>
              <a:gd name="connsiteX8" fmla="*/ 558774 w 1108528"/>
              <a:gd name="connsiteY8" fmla="*/ 1087168 h 1111137"/>
              <a:gd name="connsiteX9" fmla="*/ 1083952 w 1108528"/>
              <a:gd name="connsiteY9" fmla="*/ 560944 h 1111137"/>
              <a:gd name="connsiteX10" fmla="*/ 1083952 w 1108528"/>
              <a:gd name="connsiteY10" fmla="*/ 560849 h 1111137"/>
              <a:gd name="connsiteX11" fmla="*/ 558964 w 1108528"/>
              <a:gd name="connsiteY11" fmla="*/ 34531 h 1111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8528" h="1111137">
                <a:moveTo>
                  <a:pt x="558964" y="1113474"/>
                </a:moveTo>
                <a:cubicBezTo>
                  <a:pt x="254160" y="1113474"/>
                  <a:pt x="7068" y="865801"/>
                  <a:pt x="7068" y="560280"/>
                </a:cubicBezTo>
                <a:cubicBezTo>
                  <a:pt x="7068" y="254759"/>
                  <a:pt x="254160" y="7085"/>
                  <a:pt x="558964" y="7085"/>
                </a:cubicBezTo>
                <a:cubicBezTo>
                  <a:pt x="863768" y="7085"/>
                  <a:pt x="1110860" y="254759"/>
                  <a:pt x="1110860" y="560280"/>
                </a:cubicBezTo>
                <a:cubicBezTo>
                  <a:pt x="1110860" y="560311"/>
                  <a:pt x="1110860" y="560343"/>
                  <a:pt x="1110860" y="560375"/>
                </a:cubicBezTo>
                <a:cubicBezTo>
                  <a:pt x="1110546" y="865750"/>
                  <a:pt x="863622" y="1113213"/>
                  <a:pt x="558964" y="1113474"/>
                </a:cubicBezTo>
                <a:close/>
                <a:moveTo>
                  <a:pt x="558964" y="34531"/>
                </a:moveTo>
                <a:cubicBezTo>
                  <a:pt x="268969" y="34479"/>
                  <a:pt x="33839" y="270077"/>
                  <a:pt x="33787" y="560754"/>
                </a:cubicBezTo>
                <a:cubicBezTo>
                  <a:pt x="33734" y="851432"/>
                  <a:pt x="268779" y="1087115"/>
                  <a:pt x="558774" y="1087168"/>
                </a:cubicBezTo>
                <a:cubicBezTo>
                  <a:pt x="848770" y="1087220"/>
                  <a:pt x="1083899" y="851622"/>
                  <a:pt x="1083952" y="560944"/>
                </a:cubicBezTo>
                <a:cubicBezTo>
                  <a:pt x="1083952" y="560913"/>
                  <a:pt x="1083952" y="560881"/>
                  <a:pt x="1083952" y="560849"/>
                </a:cubicBezTo>
                <a:cubicBezTo>
                  <a:pt x="1083639" y="270339"/>
                  <a:pt x="848792" y="34897"/>
                  <a:pt x="558964" y="34531"/>
                </a:cubicBezTo>
                <a:close/>
              </a:path>
            </a:pathLst>
          </a:custGeom>
          <a:solidFill>
            <a:schemeClr val="accent3"/>
          </a:solidFill>
          <a:ln w="9475" cap="flat">
            <a:noFill/>
            <a:prstDash val="solid"/>
            <a:miter/>
          </a:ln>
        </p:spPr>
        <p:txBody>
          <a:bodyPr rtlCol="0" anchor="ctr"/>
          <a:lstStyle/>
          <a:p>
            <a:endParaRPr lang="fr-FR" sz="2400"/>
          </a:p>
        </p:txBody>
      </p:sp>
      <p:pic>
        <p:nvPicPr>
          <p:cNvPr id="25" name="Image 1">
            <a:extLst>
              <a:ext uri="{FF2B5EF4-FFF2-40B4-BE49-F238E27FC236}">
                <a16:creationId xmlns:a16="http://schemas.microsoft.com/office/drawing/2014/main" id="{0075BA18-B859-904C-A198-B634A7985BCF}"/>
              </a:ext>
            </a:extLst>
          </p:cNvPr>
          <p:cNvPicPr>
            <a:picLocks noChangeAspect="1"/>
          </p:cNvPicPr>
          <p:nvPr userDrawn="1"/>
        </p:nvPicPr>
        <p:blipFill>
          <a:blip r:embed="rId4"/>
          <a:srcRect/>
          <a:stretch/>
        </p:blipFill>
        <p:spPr bwMode="auto">
          <a:xfrm>
            <a:off x="9821584" y="5965189"/>
            <a:ext cx="1532216" cy="4293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30" name="Straight Connector 25">
            <a:extLst>
              <a:ext uri="{FF2B5EF4-FFF2-40B4-BE49-F238E27FC236}">
                <a16:creationId xmlns:a16="http://schemas.microsoft.com/office/drawing/2014/main" id="{10436371-C62E-2D41-88A9-7FBE4E736364}"/>
              </a:ext>
            </a:extLst>
          </p:cNvPr>
          <p:cNvCxnSpPr>
            <a:cxnSpLocks/>
          </p:cNvCxnSpPr>
          <p:nvPr userDrawn="1"/>
        </p:nvCxnSpPr>
        <p:spPr>
          <a:xfrm flipH="1">
            <a:off x="812800" y="5630333"/>
            <a:ext cx="10566400" cy="0"/>
          </a:xfrm>
          <a:prstGeom prst="line">
            <a:avLst/>
          </a:prstGeom>
          <a:ln w="6350">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31" name="Image 30">
            <a:extLst>
              <a:ext uri="{FF2B5EF4-FFF2-40B4-BE49-F238E27FC236}">
                <a16:creationId xmlns:a16="http://schemas.microsoft.com/office/drawing/2014/main" id="{FD2F6F16-917D-0447-BD04-399A79C99BF1}"/>
              </a:ext>
            </a:extLst>
          </p:cNvPr>
          <p:cNvPicPr>
            <a:picLocks noChangeAspect="1"/>
          </p:cNvPicPr>
          <p:nvPr userDrawn="1"/>
        </p:nvPicPr>
        <p:blipFill>
          <a:blip r:embed="rId5"/>
          <a:stretch>
            <a:fillRect/>
          </a:stretch>
        </p:blipFill>
        <p:spPr>
          <a:xfrm>
            <a:off x="9275262" y="297232"/>
            <a:ext cx="2624861" cy="1416141"/>
          </a:xfrm>
          <a:prstGeom prst="rect">
            <a:avLst/>
          </a:prstGeom>
        </p:spPr>
      </p:pic>
    </p:spTree>
    <p:extLst>
      <p:ext uri="{BB962C8B-B14F-4D97-AF65-F5344CB8AC3E}">
        <p14:creationId xmlns:p14="http://schemas.microsoft.com/office/powerpoint/2010/main" val="4016940425"/>
      </p:ext>
    </p:extLst>
  </p:cSld>
  <p:clrMapOvr>
    <a:masterClrMapping/>
  </p:clrMapOvr>
  <p:transition spd="slow">
    <p:cove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Chapitre-2">
    <p:bg>
      <p:bgPr>
        <a:solidFill>
          <a:schemeClr val="bg1"/>
        </a:solidFill>
        <a:effectLst/>
      </p:bgPr>
    </p:bg>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38ECEC9E-9C39-4E5C-B866-940C3D6D2F3D}"/>
              </a:ext>
            </a:extLst>
          </p:cNvPr>
          <p:cNvSpPr>
            <a:spLocks noGrp="1"/>
          </p:cNvSpPr>
          <p:nvPr>
            <p:ph type="title"/>
          </p:nvPr>
        </p:nvSpPr>
        <p:spPr>
          <a:xfrm>
            <a:off x="812801" y="855067"/>
            <a:ext cx="7309719" cy="1563067"/>
          </a:xfrm>
          <a:prstGeom prst="rect">
            <a:avLst/>
          </a:prstGeom>
        </p:spPr>
        <p:txBody>
          <a:bodyPr lIns="0" anchor="b"/>
          <a:lstStyle>
            <a:lvl1pPr>
              <a:lnSpc>
                <a:spcPts val="5867"/>
              </a:lnSpc>
              <a:defRPr lang="fr-FR" sz="5867" cap="all" baseline="0" dirty="0">
                <a:solidFill>
                  <a:schemeClr val="accent1"/>
                </a:solidFill>
              </a:defRPr>
            </a:lvl1pPr>
          </a:lstStyle>
          <a:p>
            <a:pPr lvl="0">
              <a:lnSpc>
                <a:spcPts val="5333"/>
              </a:lnSpc>
            </a:pPr>
            <a:r>
              <a:rPr lang="fr-FR"/>
              <a:t>Modifiez le style du titre</a:t>
            </a:r>
          </a:p>
        </p:txBody>
      </p:sp>
      <p:sp>
        <p:nvSpPr>
          <p:cNvPr id="18" name="Text Placeholder 17">
            <a:extLst>
              <a:ext uri="{FF2B5EF4-FFF2-40B4-BE49-F238E27FC236}">
                <a16:creationId xmlns:a16="http://schemas.microsoft.com/office/drawing/2014/main" id="{B59898E6-C4BF-425A-B1B0-587A4AF4CC36}"/>
              </a:ext>
            </a:extLst>
          </p:cNvPr>
          <p:cNvSpPr>
            <a:spLocks noGrp="1"/>
          </p:cNvSpPr>
          <p:nvPr>
            <p:ph type="body" sz="quarter" idx="10"/>
          </p:nvPr>
        </p:nvSpPr>
        <p:spPr>
          <a:xfrm>
            <a:off x="812801" y="2418134"/>
            <a:ext cx="7309719" cy="1280581"/>
          </a:xfrm>
          <a:prstGeom prst="rect">
            <a:avLst/>
          </a:prstGeom>
        </p:spPr>
        <p:txBody>
          <a:bodyPr lIns="0"/>
          <a:lstStyle>
            <a:lvl1pPr marL="0" indent="0">
              <a:buNone/>
              <a:defRPr>
                <a:solidFill>
                  <a:schemeClr val="accent3"/>
                </a:solidFill>
              </a:defRPr>
            </a:lvl1pPr>
            <a:lvl2pPr marL="364058" indent="0">
              <a:buNone/>
              <a:defRPr>
                <a:solidFill>
                  <a:schemeClr val="bg1"/>
                </a:solidFill>
              </a:defRPr>
            </a:lvl2pPr>
            <a:lvl3pPr marL="715415" indent="0">
              <a:buNone/>
              <a:defRPr>
                <a:solidFill>
                  <a:schemeClr val="bg1"/>
                </a:solidFill>
              </a:defRPr>
            </a:lvl3pPr>
            <a:lvl4pPr marL="1246686" indent="0">
              <a:buFont typeface="Arial" panose="020B0604020202020204" pitchFamily="34" charset="0"/>
              <a:buNone/>
              <a:defRPr>
                <a:solidFill>
                  <a:schemeClr val="bg1"/>
                </a:solidFill>
              </a:defRPr>
            </a:lvl4pPr>
            <a:lvl5pPr marL="1602277" indent="0">
              <a:buNone/>
              <a:defRPr>
                <a:solidFill>
                  <a:schemeClr val="bg1"/>
                </a:solidFill>
              </a:defRPr>
            </a:lvl5pPr>
          </a:lstStyle>
          <a:p>
            <a:pPr lvl="0"/>
            <a:r>
              <a:rPr lang="fr-FR"/>
              <a:t>Cliquez pour modifier les styles du texte du masque</a:t>
            </a:r>
          </a:p>
        </p:txBody>
      </p:sp>
      <p:cxnSp>
        <p:nvCxnSpPr>
          <p:cNvPr id="26" name="Straight Connector 25">
            <a:extLst>
              <a:ext uri="{FF2B5EF4-FFF2-40B4-BE49-F238E27FC236}">
                <a16:creationId xmlns:a16="http://schemas.microsoft.com/office/drawing/2014/main" id="{164968ED-3915-4F7A-ADCF-93689F7E400B}"/>
              </a:ext>
            </a:extLst>
          </p:cNvPr>
          <p:cNvCxnSpPr>
            <a:cxnSpLocks/>
          </p:cNvCxnSpPr>
          <p:nvPr/>
        </p:nvCxnSpPr>
        <p:spPr>
          <a:xfrm flipH="1">
            <a:off x="812800" y="5630333"/>
            <a:ext cx="10566400" cy="0"/>
          </a:xfrm>
          <a:prstGeom prst="line">
            <a:avLst/>
          </a:prstGeom>
          <a:ln w="6350">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1" name="Image 1">
            <a:extLst>
              <a:ext uri="{FF2B5EF4-FFF2-40B4-BE49-F238E27FC236}">
                <a16:creationId xmlns:a16="http://schemas.microsoft.com/office/drawing/2014/main" id="{692D73D4-FF3C-4ACA-A9D5-B4D6E52F2DD9}"/>
              </a:ext>
            </a:extLst>
          </p:cNvPr>
          <p:cNvPicPr>
            <a:picLocks noChangeAspect="1"/>
          </p:cNvPicPr>
          <p:nvPr/>
        </p:nvPicPr>
        <p:blipFill>
          <a:blip r:embed="rId2"/>
          <a:srcRect/>
          <a:stretch/>
        </p:blipFill>
        <p:spPr bwMode="auto">
          <a:xfrm>
            <a:off x="9821584" y="5965189"/>
            <a:ext cx="1532216" cy="4293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12060948"/>
      </p:ext>
    </p:extLst>
  </p:cSld>
  <p:clrMapOvr>
    <a:masterClrMapping/>
  </p:clrMapOvr>
  <p:transition spd="slow">
    <p:cove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Photo">
    <p:bg>
      <p:bgPr>
        <a:solidFill>
          <a:schemeClr val="bg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EA3956C-876C-4BB4-BB4A-F4B9AE0E1D39}"/>
              </a:ext>
            </a:extLst>
          </p:cNvPr>
          <p:cNvSpPr>
            <a:spLocks noGrp="1"/>
          </p:cNvSpPr>
          <p:nvPr>
            <p:ph type="pic" sz="quarter" idx="11"/>
          </p:nvPr>
        </p:nvSpPr>
        <p:spPr>
          <a:xfrm>
            <a:off x="372534" y="357719"/>
            <a:ext cx="11465748" cy="5272616"/>
          </a:xfrm>
          <a:prstGeom prst="rect">
            <a:avLst/>
          </a:prstGeom>
          <a:solidFill>
            <a:schemeClr val="bg1"/>
          </a:solidFill>
        </p:spPr>
        <p:txBody>
          <a:bodyPr/>
          <a:lstStyle/>
          <a:p>
            <a:r>
              <a:rPr lang="fr-FR"/>
              <a:t>Cliquez sur l'icône pour ajouter une image</a:t>
            </a:r>
          </a:p>
        </p:txBody>
      </p:sp>
      <p:sp>
        <p:nvSpPr>
          <p:cNvPr id="15" name="Title 14">
            <a:extLst>
              <a:ext uri="{FF2B5EF4-FFF2-40B4-BE49-F238E27FC236}">
                <a16:creationId xmlns:a16="http://schemas.microsoft.com/office/drawing/2014/main" id="{38ECEC9E-9C39-4E5C-B866-940C3D6D2F3D}"/>
              </a:ext>
            </a:extLst>
          </p:cNvPr>
          <p:cNvSpPr>
            <a:spLocks noGrp="1"/>
          </p:cNvSpPr>
          <p:nvPr>
            <p:ph type="title" hasCustomPrompt="1"/>
          </p:nvPr>
        </p:nvSpPr>
        <p:spPr>
          <a:xfrm>
            <a:off x="372534" y="3429000"/>
            <a:ext cx="1916188" cy="683415"/>
          </a:xfrm>
          <a:prstGeom prst="rect">
            <a:avLst/>
          </a:prstGeom>
          <a:solidFill>
            <a:schemeClr val="accent1"/>
          </a:solidFill>
        </p:spPr>
        <p:txBody>
          <a:bodyPr lIns="72000" tIns="108000" rIns="72000" bIns="0" anchor="ctr"/>
          <a:lstStyle>
            <a:lvl1pPr>
              <a:lnSpc>
                <a:spcPct val="100000"/>
              </a:lnSpc>
              <a:defRPr lang="fr-FR" sz="5333" cap="all" baseline="0" dirty="0">
                <a:solidFill>
                  <a:schemeClr val="bg1"/>
                </a:solidFill>
              </a:defRPr>
            </a:lvl1pPr>
          </a:lstStyle>
          <a:p>
            <a:pPr lvl="0">
              <a:lnSpc>
                <a:spcPts val="5333"/>
              </a:lnSpc>
            </a:pPr>
            <a:r>
              <a:rPr lang="en-US"/>
              <a:t>titre</a:t>
            </a:r>
            <a:endParaRPr lang="fr-FR"/>
          </a:p>
        </p:txBody>
      </p:sp>
      <p:sp>
        <p:nvSpPr>
          <p:cNvPr id="18" name="Text Placeholder 17">
            <a:extLst>
              <a:ext uri="{FF2B5EF4-FFF2-40B4-BE49-F238E27FC236}">
                <a16:creationId xmlns:a16="http://schemas.microsoft.com/office/drawing/2014/main" id="{B59898E6-C4BF-425A-B1B0-587A4AF4CC36}"/>
              </a:ext>
            </a:extLst>
          </p:cNvPr>
          <p:cNvSpPr>
            <a:spLocks noGrp="1"/>
          </p:cNvSpPr>
          <p:nvPr>
            <p:ph type="body" sz="quarter" idx="10"/>
          </p:nvPr>
        </p:nvSpPr>
        <p:spPr>
          <a:xfrm>
            <a:off x="372533" y="4256712"/>
            <a:ext cx="4973864" cy="660488"/>
          </a:xfrm>
          <a:prstGeom prst="rect">
            <a:avLst/>
          </a:prstGeom>
          <a:solidFill>
            <a:schemeClr val="accent3"/>
          </a:solidFill>
        </p:spPr>
        <p:txBody>
          <a:bodyPr lIns="72000" tIns="72000" rIns="72000" bIns="0" anchor="ctr"/>
          <a:lstStyle>
            <a:lvl1pPr marL="0" indent="0">
              <a:lnSpc>
                <a:spcPct val="100000"/>
              </a:lnSpc>
              <a:buNone/>
              <a:defRPr>
                <a:solidFill>
                  <a:schemeClr val="bg1"/>
                </a:solidFill>
              </a:defRPr>
            </a:lvl1pPr>
            <a:lvl2pPr marL="364058" indent="0">
              <a:buNone/>
              <a:defRPr>
                <a:solidFill>
                  <a:schemeClr val="bg1"/>
                </a:solidFill>
              </a:defRPr>
            </a:lvl2pPr>
            <a:lvl3pPr marL="715415" indent="0">
              <a:buNone/>
              <a:defRPr>
                <a:solidFill>
                  <a:schemeClr val="bg1"/>
                </a:solidFill>
              </a:defRPr>
            </a:lvl3pPr>
            <a:lvl4pPr marL="1246686" indent="0">
              <a:buFont typeface="Arial" panose="020B0604020202020204" pitchFamily="34" charset="0"/>
              <a:buNone/>
              <a:defRPr>
                <a:solidFill>
                  <a:schemeClr val="bg1"/>
                </a:solidFill>
              </a:defRPr>
            </a:lvl4pPr>
            <a:lvl5pPr marL="1602277" indent="0">
              <a:buNone/>
              <a:defRPr>
                <a:solidFill>
                  <a:schemeClr val="bg1"/>
                </a:solidFill>
              </a:defRPr>
            </a:lvl5pPr>
          </a:lstStyle>
          <a:p>
            <a:pPr lvl="0"/>
            <a:r>
              <a:rPr lang="fr-FR"/>
              <a:t>Cliquez pour modifier les styles du texte du masque</a:t>
            </a:r>
          </a:p>
        </p:txBody>
      </p:sp>
    </p:spTree>
    <p:extLst>
      <p:ext uri="{BB962C8B-B14F-4D97-AF65-F5344CB8AC3E}">
        <p14:creationId xmlns:p14="http://schemas.microsoft.com/office/powerpoint/2010/main" val="3111443877"/>
      </p:ext>
    </p:extLst>
  </p:cSld>
  <p:clrMapOvr>
    <a:masterClrMapping/>
  </p:clrMapOvr>
  <p:transition spd="slow">
    <p:cove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 sous-titre">
    <p:bg>
      <p:bgPr>
        <a:solidFill>
          <a:schemeClr val="bg1"/>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576000" y="96000"/>
            <a:ext cx="11040000" cy="816000"/>
          </a:xfrm>
          <a:prstGeom prst="rect">
            <a:avLst/>
          </a:prstGeom>
        </p:spPr>
        <p:txBody>
          <a:bodyPr lIns="0" tIns="0" rIns="0" bIns="72000" anchor="b" anchorCtr="0"/>
          <a:lstStyle>
            <a:lvl1pPr algn="l">
              <a:defRPr sz="3200" cap="none" baseline="0">
                <a:solidFill>
                  <a:schemeClr val="accent1"/>
                </a:solidFill>
                <a:latin typeface="+mn-lt"/>
              </a:defRPr>
            </a:lvl1pPr>
          </a:lstStyle>
          <a:p>
            <a:r>
              <a:rPr lang="fr-FR"/>
              <a:t>Modifiez le style du titre</a:t>
            </a:r>
          </a:p>
        </p:txBody>
      </p:sp>
      <p:sp>
        <p:nvSpPr>
          <p:cNvPr id="3" name="Espace réservé du texte 2"/>
          <p:cNvSpPr>
            <a:spLocks noGrp="1"/>
          </p:cNvSpPr>
          <p:nvPr>
            <p:ph type="body" idx="1" hasCustomPrompt="1"/>
          </p:nvPr>
        </p:nvSpPr>
        <p:spPr>
          <a:xfrm>
            <a:off x="576000" y="910684"/>
            <a:ext cx="11040000" cy="672000"/>
          </a:xfrm>
          <a:prstGeom prst="rect">
            <a:avLst/>
          </a:prstGeom>
        </p:spPr>
        <p:txBody>
          <a:bodyPr lIns="0" tIns="0" rIns="0" bIns="0" anchor="t" anchorCtr="0"/>
          <a:lstStyle>
            <a:lvl1pPr marL="0" indent="0" algn="l">
              <a:buNone/>
              <a:defRPr sz="2667" b="0" cap="none" baseline="0">
                <a:solidFill>
                  <a:schemeClr val="tx2"/>
                </a:solidFill>
                <a:latin typeface="+mn-lt"/>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fr-FR"/>
              <a:t>Modifiez les styles du texte du masque</a:t>
            </a:r>
          </a:p>
        </p:txBody>
      </p:sp>
      <p:sp>
        <p:nvSpPr>
          <p:cNvPr id="5" name="Footer Placeholder 4">
            <a:extLst>
              <a:ext uri="{FF2B5EF4-FFF2-40B4-BE49-F238E27FC236}">
                <a16:creationId xmlns:a16="http://schemas.microsoft.com/office/drawing/2014/main" id="{654D99D8-D22A-4E8C-B13C-6A76A01FB292}"/>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322371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re">
    <p:bg>
      <p:bgPr>
        <a:solidFill>
          <a:schemeClr val="bg1"/>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576000" y="95999"/>
            <a:ext cx="11040000" cy="1151775"/>
          </a:xfrm>
          <a:prstGeom prst="rect">
            <a:avLst/>
          </a:prstGeom>
        </p:spPr>
        <p:txBody>
          <a:bodyPr lIns="0" tIns="0" rIns="0" bIns="72000" anchor="b" anchorCtr="0"/>
          <a:lstStyle>
            <a:lvl1pPr algn="l">
              <a:defRPr sz="3200" cap="none" baseline="0">
                <a:solidFill>
                  <a:schemeClr val="accent1"/>
                </a:solidFill>
                <a:latin typeface="+mn-lt"/>
              </a:defRPr>
            </a:lvl1pPr>
          </a:lstStyle>
          <a:p>
            <a:r>
              <a:rPr lang="fr-FR"/>
              <a:t>Modifiez le style du titre</a:t>
            </a:r>
          </a:p>
        </p:txBody>
      </p:sp>
      <p:sp>
        <p:nvSpPr>
          <p:cNvPr id="5" name="Footer Placeholder 4">
            <a:extLst>
              <a:ext uri="{FF2B5EF4-FFF2-40B4-BE49-F238E27FC236}">
                <a16:creationId xmlns:a16="http://schemas.microsoft.com/office/drawing/2014/main" id="{654D99D8-D22A-4E8C-B13C-6A76A01FB292}"/>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3277622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exte">
    <p:bg>
      <p:bgPr>
        <a:solidFill>
          <a:schemeClr val="bg1"/>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576000" y="96000"/>
            <a:ext cx="11040000" cy="816000"/>
          </a:xfrm>
          <a:prstGeom prst="rect">
            <a:avLst/>
          </a:prstGeom>
        </p:spPr>
        <p:txBody>
          <a:bodyPr lIns="0" tIns="0" rIns="0" bIns="72000" anchor="b" anchorCtr="0"/>
          <a:lstStyle>
            <a:lvl1pPr algn="l">
              <a:defRPr sz="3200" cap="none" baseline="0">
                <a:solidFill>
                  <a:schemeClr val="accent1"/>
                </a:solidFill>
                <a:latin typeface="+mn-lt"/>
              </a:defRPr>
            </a:lvl1pPr>
          </a:lstStyle>
          <a:p>
            <a:r>
              <a:rPr lang="fr-FR"/>
              <a:t>Modifiez le style du titre</a:t>
            </a:r>
          </a:p>
        </p:txBody>
      </p:sp>
      <p:sp>
        <p:nvSpPr>
          <p:cNvPr id="3" name="Espace réservé du texte 2"/>
          <p:cNvSpPr>
            <a:spLocks noGrp="1"/>
          </p:cNvSpPr>
          <p:nvPr>
            <p:ph type="body" idx="1" hasCustomPrompt="1"/>
          </p:nvPr>
        </p:nvSpPr>
        <p:spPr>
          <a:xfrm>
            <a:off x="576000" y="910684"/>
            <a:ext cx="11040000" cy="672000"/>
          </a:xfrm>
          <a:prstGeom prst="rect">
            <a:avLst/>
          </a:prstGeom>
        </p:spPr>
        <p:txBody>
          <a:bodyPr lIns="0" tIns="0" rIns="0" bIns="0" anchor="t" anchorCtr="0"/>
          <a:lstStyle>
            <a:lvl1pPr marL="0" indent="0" algn="l">
              <a:buNone/>
              <a:defRPr sz="2667" b="0" cap="none" baseline="0">
                <a:solidFill>
                  <a:schemeClr val="tx2"/>
                </a:solidFill>
                <a:latin typeface="+mn-lt"/>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fr-FR"/>
              <a:t>Modifiez les styles du texte du masque</a:t>
            </a:r>
          </a:p>
        </p:txBody>
      </p:sp>
      <p:sp>
        <p:nvSpPr>
          <p:cNvPr id="4" name="Espace réservé du contenu 3"/>
          <p:cNvSpPr>
            <a:spLocks noGrp="1"/>
          </p:cNvSpPr>
          <p:nvPr>
            <p:ph sz="half" idx="2" hasCustomPrompt="1"/>
          </p:nvPr>
        </p:nvSpPr>
        <p:spPr>
          <a:xfrm>
            <a:off x="576000" y="1776000"/>
            <a:ext cx="10944000" cy="4320000"/>
          </a:xfrm>
          <a:prstGeom prst="rect">
            <a:avLst/>
          </a:prstGeom>
        </p:spPr>
        <p:txBody>
          <a:bodyPr lIns="0"/>
          <a:lstStyle>
            <a:lvl1pPr marL="0" indent="0">
              <a:buClr>
                <a:schemeClr val="bg1"/>
              </a:buClr>
              <a:buSzPct val="100000"/>
              <a:buFont typeface="Arial" panose="020B0604020202020204" pitchFamily="34" charset="0"/>
              <a:buChar char="•"/>
              <a:defRPr sz="2133" cap="all" baseline="0">
                <a:solidFill>
                  <a:srgbClr val="004489"/>
                </a:solidFill>
              </a:defRPr>
            </a:lvl1pPr>
            <a:lvl2pPr marL="596885" indent="-355591">
              <a:buClr>
                <a:schemeClr val="tx2"/>
              </a:buClr>
              <a:buSzPct val="90000"/>
              <a:buFont typeface="Wingdings" panose="05000000000000000000" pitchFamily="2" charset="2"/>
              <a:buChar char="à"/>
              <a:defRPr sz="2133"/>
            </a:lvl2pPr>
            <a:lvl3pPr marL="838179" indent="-241294">
              <a:buClr>
                <a:schemeClr val="accent3"/>
              </a:buClr>
              <a:buSzPct val="80000"/>
              <a:buFont typeface="Arial" panose="020B0604020202020204" pitchFamily="34" charset="0"/>
              <a:buChar char="•"/>
              <a:defRPr sz="2133">
                <a:solidFill>
                  <a:schemeClr val="tx1">
                    <a:lumMod val="75000"/>
                    <a:lumOff val="25000"/>
                  </a:schemeClr>
                </a:solidFill>
              </a:defRPr>
            </a:lvl3pPr>
            <a:lvl4pPr>
              <a:defRPr sz="2133"/>
            </a:lvl4pPr>
            <a:lvl5pPr>
              <a:defRPr sz="2133"/>
            </a:lvl5pPr>
            <a:lvl6pPr>
              <a:defRPr sz="2133"/>
            </a:lvl6pPr>
            <a:lvl7pPr>
              <a:defRPr sz="2133"/>
            </a:lvl7pPr>
            <a:lvl8pPr>
              <a:defRPr sz="2133"/>
            </a:lvl8pPr>
            <a:lvl9pPr>
              <a:defRPr sz="2133"/>
            </a:lvl9pPr>
          </a:lstStyle>
          <a:p>
            <a:pPr lvl="0"/>
            <a:r>
              <a:rPr lang="fr-FR"/>
              <a:t>Modifiez les styles du texte du masque</a:t>
            </a:r>
          </a:p>
          <a:p>
            <a:pPr lvl="1"/>
            <a:r>
              <a:rPr lang="fr-FR"/>
              <a:t>Deuxième niveau</a:t>
            </a:r>
          </a:p>
          <a:p>
            <a:pPr lvl="2"/>
            <a:r>
              <a:rPr lang="fr-FR"/>
              <a:t>Troisième niveau</a:t>
            </a:r>
          </a:p>
        </p:txBody>
      </p:sp>
      <p:sp>
        <p:nvSpPr>
          <p:cNvPr id="5" name="Footer Placeholder 4">
            <a:extLst>
              <a:ext uri="{FF2B5EF4-FFF2-40B4-BE49-F238E27FC236}">
                <a16:creationId xmlns:a16="http://schemas.microsoft.com/office/drawing/2014/main" id="{654D99D8-D22A-4E8C-B13C-6A76A01FB292}"/>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3854774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Photo-Gauche-02">
    <p:bg>
      <p:bgPr>
        <a:solidFill>
          <a:schemeClr val="bg1"/>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000751" y="96000"/>
            <a:ext cx="5824048" cy="816000"/>
          </a:xfrm>
          <a:prstGeom prst="rect">
            <a:avLst/>
          </a:prstGeom>
        </p:spPr>
        <p:txBody>
          <a:bodyPr lIns="0" tIns="0" rIns="0" bIns="72000" anchor="b" anchorCtr="0"/>
          <a:lstStyle>
            <a:lvl1pPr algn="l">
              <a:defRPr sz="3200" cap="none" baseline="0">
                <a:solidFill>
                  <a:schemeClr val="accent1"/>
                </a:solidFill>
                <a:latin typeface="+mn-lt"/>
              </a:defRPr>
            </a:lvl1pPr>
          </a:lstStyle>
          <a:p>
            <a:r>
              <a:rPr lang="fr-FR"/>
              <a:t>Modifiez le style du titre</a:t>
            </a:r>
          </a:p>
        </p:txBody>
      </p:sp>
      <p:sp>
        <p:nvSpPr>
          <p:cNvPr id="3" name="Espace réservé du texte 2"/>
          <p:cNvSpPr>
            <a:spLocks noGrp="1"/>
          </p:cNvSpPr>
          <p:nvPr>
            <p:ph type="body" idx="1" hasCustomPrompt="1"/>
          </p:nvPr>
        </p:nvSpPr>
        <p:spPr>
          <a:xfrm>
            <a:off x="6000751" y="910684"/>
            <a:ext cx="5824048" cy="672000"/>
          </a:xfrm>
          <a:prstGeom prst="rect">
            <a:avLst/>
          </a:prstGeom>
        </p:spPr>
        <p:txBody>
          <a:bodyPr lIns="0" tIns="0" rIns="0" bIns="0" anchor="t" anchorCtr="0"/>
          <a:lstStyle>
            <a:lvl1pPr marL="0" indent="0" algn="l">
              <a:buNone/>
              <a:defRPr sz="2667" b="0" cap="none" baseline="0">
                <a:solidFill>
                  <a:schemeClr val="tx2"/>
                </a:solidFill>
                <a:latin typeface="+mn-lt"/>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fr-FR"/>
              <a:t>Modifiez les styles du texte du masque</a:t>
            </a:r>
          </a:p>
        </p:txBody>
      </p:sp>
      <p:sp>
        <p:nvSpPr>
          <p:cNvPr id="4" name="Espace réservé du contenu 3"/>
          <p:cNvSpPr>
            <a:spLocks noGrp="1"/>
          </p:cNvSpPr>
          <p:nvPr>
            <p:ph sz="half" idx="2" hasCustomPrompt="1"/>
          </p:nvPr>
        </p:nvSpPr>
        <p:spPr>
          <a:xfrm>
            <a:off x="6000751" y="1776000"/>
            <a:ext cx="5824048" cy="4320000"/>
          </a:xfrm>
          <a:prstGeom prst="rect">
            <a:avLst/>
          </a:prstGeom>
        </p:spPr>
        <p:txBody>
          <a:bodyPr lIns="0"/>
          <a:lstStyle>
            <a:lvl1pPr marL="0" indent="0">
              <a:buClr>
                <a:schemeClr val="bg1"/>
              </a:buClr>
              <a:buSzPct val="100000"/>
              <a:buFont typeface="Arial" panose="020B0604020202020204" pitchFamily="34" charset="0"/>
              <a:buChar char="•"/>
              <a:defRPr sz="2133" cap="all" baseline="0">
                <a:solidFill>
                  <a:srgbClr val="004489"/>
                </a:solidFill>
              </a:defRPr>
            </a:lvl1pPr>
            <a:lvl2pPr marL="596885" indent="-355591">
              <a:buClr>
                <a:schemeClr val="tx2"/>
              </a:buClr>
              <a:buSzPct val="90000"/>
              <a:buFont typeface="Wingdings" panose="05000000000000000000" pitchFamily="2" charset="2"/>
              <a:buChar char="à"/>
              <a:defRPr sz="2133"/>
            </a:lvl2pPr>
            <a:lvl3pPr marL="838179" indent="-241294">
              <a:buClr>
                <a:schemeClr val="accent3"/>
              </a:buClr>
              <a:buSzPct val="80000"/>
              <a:buFont typeface="Arial" panose="020B0604020202020204" pitchFamily="34" charset="0"/>
              <a:buChar char="•"/>
              <a:defRPr sz="2133">
                <a:solidFill>
                  <a:schemeClr val="tx1">
                    <a:lumMod val="75000"/>
                    <a:lumOff val="25000"/>
                  </a:schemeClr>
                </a:solidFill>
              </a:defRPr>
            </a:lvl3pPr>
            <a:lvl4pPr>
              <a:defRPr sz="2133"/>
            </a:lvl4pPr>
            <a:lvl5pPr>
              <a:defRPr sz="2133"/>
            </a:lvl5pPr>
            <a:lvl6pPr>
              <a:defRPr sz="2133"/>
            </a:lvl6pPr>
            <a:lvl7pPr>
              <a:defRPr sz="2133"/>
            </a:lvl7pPr>
            <a:lvl8pPr>
              <a:defRPr sz="2133"/>
            </a:lvl8pPr>
            <a:lvl9pPr>
              <a:defRPr sz="2133"/>
            </a:lvl9pPr>
          </a:lstStyle>
          <a:p>
            <a:pPr lvl="0"/>
            <a:r>
              <a:rPr lang="fr-FR"/>
              <a:t>Modifiez les styles du texte du masque</a:t>
            </a:r>
          </a:p>
          <a:p>
            <a:pPr lvl="1"/>
            <a:r>
              <a:rPr lang="fr-FR"/>
              <a:t>Deuxième niveau</a:t>
            </a:r>
          </a:p>
          <a:p>
            <a:pPr lvl="2"/>
            <a:r>
              <a:rPr lang="fr-FR"/>
              <a:t>Troisième niveau</a:t>
            </a:r>
          </a:p>
        </p:txBody>
      </p:sp>
      <p:sp>
        <p:nvSpPr>
          <p:cNvPr id="5" name="Footer Placeholder 4">
            <a:extLst>
              <a:ext uri="{FF2B5EF4-FFF2-40B4-BE49-F238E27FC236}">
                <a16:creationId xmlns:a16="http://schemas.microsoft.com/office/drawing/2014/main" id="{654D99D8-D22A-4E8C-B13C-6A76A01FB292}"/>
              </a:ext>
            </a:extLst>
          </p:cNvPr>
          <p:cNvSpPr>
            <a:spLocks noGrp="1"/>
          </p:cNvSpPr>
          <p:nvPr>
            <p:ph type="ftr" sz="quarter" idx="10"/>
          </p:nvPr>
        </p:nvSpPr>
        <p:spPr/>
        <p:txBody>
          <a:bodyPr/>
          <a:lstStyle/>
          <a:p>
            <a:endParaRPr lang="fr-FR"/>
          </a:p>
        </p:txBody>
      </p:sp>
      <p:sp>
        <p:nvSpPr>
          <p:cNvPr id="6" name="Picture Placeholder 2">
            <a:extLst>
              <a:ext uri="{FF2B5EF4-FFF2-40B4-BE49-F238E27FC236}">
                <a16:creationId xmlns:a16="http://schemas.microsoft.com/office/drawing/2014/main" id="{B3C2E4E1-B867-459C-B455-8BD2DA27C1CA}"/>
              </a:ext>
            </a:extLst>
          </p:cNvPr>
          <p:cNvSpPr>
            <a:spLocks noGrp="1"/>
          </p:cNvSpPr>
          <p:nvPr>
            <p:ph type="pic" sz="quarter" idx="11"/>
          </p:nvPr>
        </p:nvSpPr>
        <p:spPr>
          <a:xfrm>
            <a:off x="269278" y="292099"/>
            <a:ext cx="5490172" cy="5803900"/>
          </a:xfrm>
          <a:prstGeom prst="rect">
            <a:avLst/>
          </a:prstGeom>
        </p:spPr>
        <p:txBody>
          <a:bodyPr/>
          <a:lstStyle>
            <a:lvl1pPr marL="0" indent="0">
              <a:buNone/>
              <a:defRPr sz="2133"/>
            </a:lvl1pPr>
          </a:lstStyle>
          <a:p>
            <a:r>
              <a:rPr lang="fr-FR"/>
              <a:t>Cliquez sur l'icône pour ajouter une image</a:t>
            </a:r>
            <a:endParaRPr lang="en-US"/>
          </a:p>
        </p:txBody>
      </p:sp>
    </p:spTree>
    <p:extLst>
      <p:ext uri="{BB962C8B-B14F-4D97-AF65-F5344CB8AC3E}">
        <p14:creationId xmlns:p14="http://schemas.microsoft.com/office/powerpoint/2010/main" val="2879106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image" Target="../media/image2.jpeg"/><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image" Target="../media/image1.png"/><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theme" Target="../theme/theme2.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5" name="Image 1">
            <a:extLst>
              <a:ext uri="{FF2B5EF4-FFF2-40B4-BE49-F238E27FC236}">
                <a16:creationId xmlns:a16="http://schemas.microsoft.com/office/drawing/2014/main" id="{9E50EC48-16D9-43FF-9A5A-26196E28345A}"/>
              </a:ext>
            </a:extLst>
          </p:cNvPr>
          <p:cNvPicPr>
            <a:picLocks noChangeAspect="1"/>
          </p:cNvPicPr>
          <p:nvPr/>
        </p:nvPicPr>
        <p:blipFill>
          <a:blip r:embed="rId19"/>
          <a:srcRect/>
          <a:stretch/>
        </p:blipFill>
        <p:spPr bwMode="auto">
          <a:xfrm>
            <a:off x="10514147" y="6350645"/>
            <a:ext cx="1271453" cy="35627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Rectangle 2"/>
          <p:cNvSpPr/>
          <p:nvPr/>
        </p:nvSpPr>
        <p:spPr>
          <a:xfrm>
            <a:off x="287867" y="6368607"/>
            <a:ext cx="425759" cy="338555"/>
          </a:xfrm>
          <a:prstGeom prst="rect">
            <a:avLst/>
          </a:prstGeom>
        </p:spPr>
        <p:txBody>
          <a:bodyPr wrap="none" anchor="ctr">
            <a:no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fld id="{93FAF84C-E297-4E0C-AE14-002837B59C58}" type="slidenum">
              <a:rPr kumimoji="0" lang="fr-FR" sz="1400" b="0" i="0" u="none" strike="noStrike" kern="1200" cap="none" spc="0" normalizeH="0" baseline="0" noProof="0" smtClean="0">
                <a:ln>
                  <a:noFill/>
                </a:ln>
                <a:solidFill>
                  <a:schemeClr val="bg2"/>
                </a:solidFill>
                <a:effectLst/>
                <a:uLnTx/>
                <a:uFillTx/>
                <a:latin typeface="+mn-lt"/>
                <a:ea typeface="+mn-ea"/>
                <a:cs typeface="Arial" pitchFamily="34" charset="0"/>
              </a:rPr>
              <a:pPr marL="0" marR="0" lvl="0" indent="0" algn="l" defTabSz="609585" rtl="0" eaLnBrk="1" fontAlgn="base" latinLnBrk="0" hangingPunct="1">
                <a:lnSpc>
                  <a:spcPct val="100000"/>
                </a:lnSpc>
                <a:spcBef>
                  <a:spcPct val="0"/>
                </a:spcBef>
                <a:spcAft>
                  <a:spcPct val="0"/>
                </a:spcAft>
                <a:buClrTx/>
                <a:buSzTx/>
                <a:buFontTx/>
                <a:buNone/>
                <a:tabLst/>
                <a:defRPr/>
              </a:pPr>
              <a:t>‹N°›</a:t>
            </a:fld>
            <a:endParaRPr kumimoji="0" lang="fr-FR" sz="1400" b="0" i="0" u="none" strike="noStrike" kern="1200" cap="none" spc="0" normalizeH="0" baseline="0" noProof="0">
              <a:ln>
                <a:noFill/>
              </a:ln>
              <a:solidFill>
                <a:schemeClr val="bg2"/>
              </a:solidFill>
              <a:effectLst/>
              <a:uLnTx/>
              <a:uFillTx/>
              <a:latin typeface="+mn-lt"/>
              <a:ea typeface="+mn-ea"/>
              <a:cs typeface="Arial" pitchFamily="34" charset="0"/>
            </a:endParaRPr>
          </a:p>
        </p:txBody>
      </p:sp>
      <p:cxnSp>
        <p:nvCxnSpPr>
          <p:cNvPr id="33" name="Straight Connector 32">
            <a:extLst>
              <a:ext uri="{FF2B5EF4-FFF2-40B4-BE49-F238E27FC236}">
                <a16:creationId xmlns:a16="http://schemas.microsoft.com/office/drawing/2014/main" id="{02A8F420-1577-4654-9AE7-CBCCD8752399}"/>
              </a:ext>
            </a:extLst>
          </p:cNvPr>
          <p:cNvCxnSpPr>
            <a:cxnSpLocks/>
          </p:cNvCxnSpPr>
          <p:nvPr/>
        </p:nvCxnSpPr>
        <p:spPr>
          <a:xfrm>
            <a:off x="713625" y="6346036"/>
            <a:ext cx="0" cy="383696"/>
          </a:xfrm>
          <a:prstGeom prst="line">
            <a:avLst/>
          </a:prstGeom>
          <a:ln w="12700" cap="rnd">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4" name="Footer Placeholder 33">
            <a:extLst>
              <a:ext uri="{FF2B5EF4-FFF2-40B4-BE49-F238E27FC236}">
                <a16:creationId xmlns:a16="http://schemas.microsoft.com/office/drawing/2014/main" id="{FB1E7179-3E4A-41F7-9FF5-E856466FE96E}"/>
              </a:ext>
            </a:extLst>
          </p:cNvPr>
          <p:cNvSpPr>
            <a:spLocks noGrp="1"/>
          </p:cNvSpPr>
          <p:nvPr>
            <p:ph type="ftr" sz="quarter" idx="3"/>
          </p:nvPr>
        </p:nvSpPr>
        <p:spPr>
          <a:xfrm>
            <a:off x="2037814" y="6354794"/>
            <a:ext cx="1643493" cy="366183"/>
          </a:xfrm>
          <a:prstGeom prst="rect">
            <a:avLst/>
          </a:prstGeom>
        </p:spPr>
        <p:txBody>
          <a:bodyPr wrap="none" anchor="ctr">
            <a:noAutofit/>
          </a:bodyPr>
          <a:lstStyle>
            <a:lvl1pPr algn="l">
              <a:defRPr kumimoji="0" lang="fr-FR" sz="1400" b="0" i="0" u="none" strike="noStrike" cap="none" spc="0" normalizeH="0" baseline="0" dirty="0">
                <a:ln>
                  <a:noFill/>
                </a:ln>
                <a:solidFill>
                  <a:schemeClr val="bg2"/>
                </a:solidFill>
                <a:effectLst/>
                <a:uLnTx/>
                <a:uFillTx/>
                <a:latin typeface="+mj-lt"/>
                <a:cs typeface="Arial" pitchFamily="34" charset="0"/>
              </a:defRPr>
            </a:lvl1pPr>
          </a:lstStyle>
          <a:p>
            <a:endParaRPr lang="fr-FR"/>
          </a:p>
        </p:txBody>
      </p:sp>
      <p:cxnSp>
        <p:nvCxnSpPr>
          <p:cNvPr id="9" name="Straight Connector 8">
            <a:extLst>
              <a:ext uri="{FF2B5EF4-FFF2-40B4-BE49-F238E27FC236}">
                <a16:creationId xmlns:a16="http://schemas.microsoft.com/office/drawing/2014/main" id="{013DB38F-4FA6-4FA7-8DF4-6D35E348C857}"/>
              </a:ext>
            </a:extLst>
          </p:cNvPr>
          <p:cNvCxnSpPr>
            <a:cxnSpLocks/>
          </p:cNvCxnSpPr>
          <p:nvPr/>
        </p:nvCxnSpPr>
        <p:spPr>
          <a:xfrm flipH="1">
            <a:off x="406400" y="6223000"/>
            <a:ext cx="11379200" cy="0"/>
          </a:xfrm>
          <a:prstGeom prst="line">
            <a:avLst/>
          </a:prstGeom>
          <a:ln w="6350">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2" name="Date Placeholder 1">
            <a:extLst>
              <a:ext uri="{FF2B5EF4-FFF2-40B4-BE49-F238E27FC236}">
                <a16:creationId xmlns:a16="http://schemas.microsoft.com/office/drawing/2014/main" id="{A7111050-22B8-486F-A248-1DA73B231792}"/>
              </a:ext>
            </a:extLst>
          </p:cNvPr>
          <p:cNvSpPr>
            <a:spLocks noGrp="1"/>
          </p:cNvSpPr>
          <p:nvPr>
            <p:ph type="dt" sz="half" idx="2"/>
          </p:nvPr>
        </p:nvSpPr>
        <p:spPr>
          <a:xfrm>
            <a:off x="804069" y="6354794"/>
            <a:ext cx="1115556" cy="366183"/>
          </a:xfrm>
          <a:prstGeom prst="rect">
            <a:avLst/>
          </a:prstGeom>
        </p:spPr>
        <p:txBody>
          <a:bodyPr wrap="none" anchor="ctr">
            <a:noAutofit/>
          </a:bodyPr>
          <a:lstStyle>
            <a:lvl1pPr>
              <a:defRPr kumimoji="0" lang="en-US" sz="1400" b="0" i="0" u="none" strike="noStrike" cap="none" spc="0" normalizeH="0" baseline="0" smtClean="0">
                <a:ln>
                  <a:noFill/>
                </a:ln>
                <a:solidFill>
                  <a:schemeClr val="bg2"/>
                </a:solidFill>
                <a:effectLst/>
                <a:uLnTx/>
                <a:uFillTx/>
                <a:latin typeface="+mj-lt"/>
                <a:cs typeface="Arial" pitchFamily="34" charset="0"/>
              </a:defRPr>
            </a:lvl1pPr>
          </a:lstStyle>
          <a:p>
            <a:fld id="{EB6F44F5-CF60-4B5F-9088-DB9D5BD65A1E}" type="datetimeFigureOut">
              <a:rPr lang="en-US" smtClean="0"/>
              <a:pPr/>
              <a:t>1/31/2025</a:t>
            </a:fld>
            <a:endParaRPr lang="en-US"/>
          </a:p>
        </p:txBody>
      </p:sp>
    </p:spTree>
    <p:extLst>
      <p:ext uri="{BB962C8B-B14F-4D97-AF65-F5344CB8AC3E}">
        <p14:creationId xmlns:p14="http://schemas.microsoft.com/office/powerpoint/2010/main" val="336541964"/>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779" r:id="rId16"/>
    <p:sldLayoutId id="2147483780" r:id="rId17"/>
  </p:sldLayoutIdLst>
  <p:hf hdr="0"/>
  <p:txStyles>
    <p:titleStyle>
      <a:lvl1pPr algn="l" defTabSz="609585" rtl="0" eaLnBrk="1" fontAlgn="auto" hangingPunct="1">
        <a:spcBef>
          <a:spcPts val="0"/>
        </a:spcBef>
        <a:spcAft>
          <a:spcPts val="0"/>
        </a:spcAft>
        <a:defRPr lang="fr-FR" sz="2933" kern="1200" dirty="0" smtClean="0">
          <a:solidFill>
            <a:schemeClr val="tx1">
              <a:lumMod val="75000"/>
              <a:lumOff val="25000"/>
            </a:schemeClr>
          </a:solidFill>
          <a:latin typeface="+mn-lt"/>
          <a:ea typeface="+mn-ea"/>
          <a:cs typeface="Arial" pitchFamily="34" charset="0"/>
        </a:defRPr>
      </a:lvl1pPr>
      <a:lvl2pPr algn="l" defTabSz="609585" rtl="0" eaLnBrk="1" fontAlgn="base" hangingPunct="1">
        <a:spcBef>
          <a:spcPct val="0"/>
        </a:spcBef>
        <a:spcAft>
          <a:spcPct val="0"/>
        </a:spcAft>
        <a:defRPr sz="1867">
          <a:solidFill>
            <a:schemeClr val="bg1"/>
          </a:solidFill>
          <a:latin typeface="Arial" charset="0"/>
          <a:cs typeface="Arial" charset="0"/>
        </a:defRPr>
      </a:lvl2pPr>
      <a:lvl3pPr algn="l" defTabSz="609585" rtl="0" eaLnBrk="1" fontAlgn="base" hangingPunct="1">
        <a:spcBef>
          <a:spcPct val="0"/>
        </a:spcBef>
        <a:spcAft>
          <a:spcPct val="0"/>
        </a:spcAft>
        <a:defRPr sz="1867">
          <a:solidFill>
            <a:schemeClr val="bg1"/>
          </a:solidFill>
          <a:latin typeface="Arial" charset="0"/>
          <a:cs typeface="Arial" charset="0"/>
        </a:defRPr>
      </a:lvl3pPr>
      <a:lvl4pPr algn="l" defTabSz="609585" rtl="0" eaLnBrk="1" fontAlgn="base" hangingPunct="1">
        <a:spcBef>
          <a:spcPct val="0"/>
        </a:spcBef>
        <a:spcAft>
          <a:spcPct val="0"/>
        </a:spcAft>
        <a:defRPr sz="1867">
          <a:solidFill>
            <a:schemeClr val="bg1"/>
          </a:solidFill>
          <a:latin typeface="Arial" charset="0"/>
          <a:cs typeface="Arial" charset="0"/>
        </a:defRPr>
      </a:lvl4pPr>
      <a:lvl5pPr algn="l" defTabSz="609585" rtl="0" eaLnBrk="1" fontAlgn="base" hangingPunct="1">
        <a:spcBef>
          <a:spcPct val="0"/>
        </a:spcBef>
        <a:spcAft>
          <a:spcPct val="0"/>
        </a:spcAft>
        <a:defRPr sz="1867">
          <a:solidFill>
            <a:schemeClr val="bg1"/>
          </a:solidFill>
          <a:latin typeface="Arial" charset="0"/>
          <a:cs typeface="Arial" charset="0"/>
        </a:defRPr>
      </a:lvl5pPr>
      <a:lvl6pPr marL="609585" algn="l" defTabSz="609585" rtl="0" eaLnBrk="1" fontAlgn="base" hangingPunct="1">
        <a:spcBef>
          <a:spcPct val="0"/>
        </a:spcBef>
        <a:spcAft>
          <a:spcPct val="0"/>
        </a:spcAft>
        <a:defRPr sz="1867">
          <a:solidFill>
            <a:schemeClr val="bg1"/>
          </a:solidFill>
          <a:latin typeface="Arial" charset="0"/>
          <a:cs typeface="Arial" charset="0"/>
        </a:defRPr>
      </a:lvl6pPr>
      <a:lvl7pPr marL="1219170" algn="l" defTabSz="609585" rtl="0" eaLnBrk="1" fontAlgn="base" hangingPunct="1">
        <a:spcBef>
          <a:spcPct val="0"/>
        </a:spcBef>
        <a:spcAft>
          <a:spcPct val="0"/>
        </a:spcAft>
        <a:defRPr sz="1867">
          <a:solidFill>
            <a:schemeClr val="bg1"/>
          </a:solidFill>
          <a:latin typeface="Arial" charset="0"/>
          <a:cs typeface="Arial" charset="0"/>
        </a:defRPr>
      </a:lvl7pPr>
      <a:lvl8pPr marL="1828754" algn="l" defTabSz="609585" rtl="0" eaLnBrk="1" fontAlgn="base" hangingPunct="1">
        <a:spcBef>
          <a:spcPct val="0"/>
        </a:spcBef>
        <a:spcAft>
          <a:spcPct val="0"/>
        </a:spcAft>
        <a:defRPr sz="1867">
          <a:solidFill>
            <a:schemeClr val="bg1"/>
          </a:solidFill>
          <a:latin typeface="Arial" charset="0"/>
          <a:cs typeface="Arial" charset="0"/>
        </a:defRPr>
      </a:lvl8pPr>
      <a:lvl9pPr marL="2438339" algn="l" defTabSz="609585" rtl="0" eaLnBrk="1" fontAlgn="base" hangingPunct="1">
        <a:spcBef>
          <a:spcPct val="0"/>
        </a:spcBef>
        <a:spcAft>
          <a:spcPct val="0"/>
        </a:spcAft>
        <a:defRPr sz="1867">
          <a:solidFill>
            <a:schemeClr val="bg1"/>
          </a:solidFill>
          <a:latin typeface="Arial" charset="0"/>
          <a:cs typeface="Arial" charset="0"/>
        </a:defRPr>
      </a:lvl9pPr>
    </p:titleStyle>
    <p:bodyStyle>
      <a:lvl1pPr marL="364058" indent="-364058" algn="l" defTabSz="609585" rtl="0" eaLnBrk="1" fontAlgn="base" hangingPunct="1">
        <a:spcBef>
          <a:spcPct val="20000"/>
        </a:spcBef>
        <a:spcAft>
          <a:spcPts val="800"/>
        </a:spcAft>
        <a:buClr>
          <a:srgbClr val="004489"/>
        </a:buClr>
        <a:buSzPct val="70000"/>
        <a:buFont typeface="Wingdings" pitchFamily="2" charset="2"/>
        <a:buChar char="n"/>
        <a:defRPr sz="2933" kern="1200">
          <a:solidFill>
            <a:srgbClr val="004489"/>
          </a:solidFill>
          <a:latin typeface="+mn-lt"/>
          <a:ea typeface="+mn-ea"/>
          <a:cs typeface="Arial" pitchFamily="34" charset="0"/>
        </a:defRPr>
      </a:lvl1pPr>
      <a:lvl2pPr marL="715415" indent="-351358" algn="l" defTabSz="609585" rtl="0" eaLnBrk="1" fontAlgn="base" hangingPunct="1">
        <a:spcBef>
          <a:spcPct val="20000"/>
        </a:spcBef>
        <a:spcAft>
          <a:spcPts val="800"/>
        </a:spcAft>
        <a:buClr>
          <a:srgbClr val="004489"/>
        </a:buClr>
        <a:buSzPct val="65000"/>
        <a:buFont typeface="Wingdings 3" pitchFamily="18" charset="2"/>
        <a:buChar char="u"/>
        <a:defRPr sz="2667" kern="1200">
          <a:solidFill>
            <a:schemeClr val="tx1"/>
          </a:solidFill>
          <a:latin typeface="+mn-lt"/>
          <a:ea typeface="+mn-ea"/>
          <a:cs typeface="Arial" pitchFamily="34" charset="0"/>
        </a:defRPr>
      </a:lvl2pPr>
      <a:lvl3pPr marL="1079473" indent="-364058" algn="l" defTabSz="609585" rtl="0" eaLnBrk="1" fontAlgn="base" hangingPunct="1">
        <a:spcBef>
          <a:spcPct val="20000"/>
        </a:spcBef>
        <a:spcAft>
          <a:spcPts val="800"/>
        </a:spcAft>
        <a:buClr>
          <a:srgbClr val="004489"/>
        </a:buClr>
        <a:buSzPct val="55000"/>
        <a:buFont typeface="Wingdings 2" pitchFamily="18" charset="2"/>
        <a:buChar char=""/>
        <a:tabLst/>
        <a:defRPr sz="2400" kern="1200">
          <a:solidFill>
            <a:schemeClr val="tx1"/>
          </a:solidFill>
          <a:latin typeface="+mn-lt"/>
          <a:ea typeface="+mn-ea"/>
          <a:cs typeface="Arial" charset="0"/>
        </a:defRPr>
      </a:lvl3pPr>
      <a:lvl4pPr marL="1551479" indent="-304792" algn="l" defTabSz="609585" rtl="0" eaLnBrk="1" fontAlgn="base" hangingPunct="1">
        <a:spcBef>
          <a:spcPct val="20000"/>
        </a:spcBef>
        <a:spcAft>
          <a:spcPts val="800"/>
        </a:spcAft>
        <a:buSzPct val="70000"/>
        <a:buBlip>
          <a:blip r:embed="rId20"/>
        </a:buBlip>
        <a:defRPr sz="2400" kern="1200">
          <a:solidFill>
            <a:schemeClr val="tx1"/>
          </a:solidFill>
          <a:latin typeface="+mn-lt"/>
          <a:ea typeface="+mn-ea"/>
          <a:cs typeface="Arial" charset="0"/>
        </a:defRPr>
      </a:lvl4pPr>
      <a:lvl5pPr marL="1907070" indent="-304792" algn="l" defTabSz="609585" rtl="0" eaLnBrk="1" fontAlgn="base" hangingPunct="1">
        <a:spcBef>
          <a:spcPct val="20000"/>
        </a:spcBef>
        <a:spcAft>
          <a:spcPts val="800"/>
        </a:spcAft>
        <a:buFont typeface="Arial" charset="0"/>
        <a:buChar char="»"/>
        <a:defRPr sz="2400" kern="1200">
          <a:solidFill>
            <a:schemeClr val="tx1"/>
          </a:solidFill>
          <a:latin typeface="+mn-lt"/>
          <a:ea typeface="+mn-ea"/>
          <a:cs typeface="Arial"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fr-FR"/>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5" name="Image 1">
            <a:extLst>
              <a:ext uri="{FF2B5EF4-FFF2-40B4-BE49-F238E27FC236}">
                <a16:creationId xmlns:a16="http://schemas.microsoft.com/office/drawing/2014/main" id="{9E50EC48-16D9-43FF-9A5A-26196E28345A}"/>
              </a:ext>
            </a:extLst>
          </p:cNvPr>
          <p:cNvPicPr>
            <a:picLocks noChangeAspect="1"/>
          </p:cNvPicPr>
          <p:nvPr/>
        </p:nvPicPr>
        <p:blipFill>
          <a:blip r:embed="rId20"/>
          <a:srcRect/>
          <a:stretch/>
        </p:blipFill>
        <p:spPr bwMode="auto">
          <a:xfrm>
            <a:off x="10514147" y="6350645"/>
            <a:ext cx="1271453" cy="35627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Rectangle 2"/>
          <p:cNvSpPr/>
          <p:nvPr/>
        </p:nvSpPr>
        <p:spPr>
          <a:xfrm>
            <a:off x="287867" y="6368607"/>
            <a:ext cx="425759" cy="338555"/>
          </a:xfrm>
          <a:prstGeom prst="rect">
            <a:avLst/>
          </a:prstGeom>
        </p:spPr>
        <p:txBody>
          <a:bodyPr wrap="none" anchor="ctr">
            <a:no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fld id="{93FAF84C-E297-4E0C-AE14-002837B59C58}" type="slidenum">
              <a:rPr kumimoji="0" lang="fr-FR" sz="1400" b="0" i="0" u="none" strike="noStrike" kern="1200" cap="none" spc="0" normalizeH="0" baseline="0" noProof="0" smtClean="0">
                <a:ln>
                  <a:noFill/>
                </a:ln>
                <a:solidFill>
                  <a:schemeClr val="bg2"/>
                </a:solidFill>
                <a:effectLst/>
                <a:uLnTx/>
                <a:uFillTx/>
                <a:latin typeface="+mn-lt"/>
                <a:ea typeface="+mn-ea"/>
                <a:cs typeface="Arial" pitchFamily="34" charset="0"/>
              </a:rPr>
              <a:pPr marL="0" marR="0" lvl="0" indent="0" algn="l" defTabSz="609585" rtl="0" eaLnBrk="1" fontAlgn="base" latinLnBrk="0" hangingPunct="1">
                <a:lnSpc>
                  <a:spcPct val="100000"/>
                </a:lnSpc>
                <a:spcBef>
                  <a:spcPct val="0"/>
                </a:spcBef>
                <a:spcAft>
                  <a:spcPct val="0"/>
                </a:spcAft>
                <a:buClrTx/>
                <a:buSzTx/>
                <a:buFontTx/>
                <a:buNone/>
                <a:tabLst/>
                <a:defRPr/>
              </a:pPr>
              <a:t>‹N°›</a:t>
            </a:fld>
            <a:endParaRPr kumimoji="0" lang="fr-FR" sz="1400" b="0" i="0" u="none" strike="noStrike" kern="1200" cap="none" spc="0" normalizeH="0" baseline="0" noProof="0">
              <a:ln>
                <a:noFill/>
              </a:ln>
              <a:solidFill>
                <a:schemeClr val="bg2"/>
              </a:solidFill>
              <a:effectLst/>
              <a:uLnTx/>
              <a:uFillTx/>
              <a:latin typeface="+mn-lt"/>
              <a:ea typeface="+mn-ea"/>
              <a:cs typeface="Arial" pitchFamily="34" charset="0"/>
            </a:endParaRPr>
          </a:p>
        </p:txBody>
      </p:sp>
      <p:cxnSp>
        <p:nvCxnSpPr>
          <p:cNvPr id="33" name="Straight Connector 32">
            <a:extLst>
              <a:ext uri="{FF2B5EF4-FFF2-40B4-BE49-F238E27FC236}">
                <a16:creationId xmlns:a16="http://schemas.microsoft.com/office/drawing/2014/main" id="{02A8F420-1577-4654-9AE7-CBCCD8752399}"/>
              </a:ext>
            </a:extLst>
          </p:cNvPr>
          <p:cNvCxnSpPr>
            <a:cxnSpLocks/>
          </p:cNvCxnSpPr>
          <p:nvPr/>
        </p:nvCxnSpPr>
        <p:spPr>
          <a:xfrm>
            <a:off x="713625" y="6346036"/>
            <a:ext cx="0" cy="383696"/>
          </a:xfrm>
          <a:prstGeom prst="line">
            <a:avLst/>
          </a:prstGeom>
          <a:ln w="12700" cap="rnd">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4" name="Footer Placeholder 33">
            <a:extLst>
              <a:ext uri="{FF2B5EF4-FFF2-40B4-BE49-F238E27FC236}">
                <a16:creationId xmlns:a16="http://schemas.microsoft.com/office/drawing/2014/main" id="{FB1E7179-3E4A-41F7-9FF5-E856466FE96E}"/>
              </a:ext>
            </a:extLst>
          </p:cNvPr>
          <p:cNvSpPr>
            <a:spLocks noGrp="1"/>
          </p:cNvSpPr>
          <p:nvPr>
            <p:ph type="ftr" sz="quarter" idx="3"/>
          </p:nvPr>
        </p:nvSpPr>
        <p:spPr>
          <a:xfrm>
            <a:off x="2037814" y="6354794"/>
            <a:ext cx="1643493" cy="366183"/>
          </a:xfrm>
          <a:prstGeom prst="rect">
            <a:avLst/>
          </a:prstGeom>
        </p:spPr>
        <p:txBody>
          <a:bodyPr wrap="none" anchor="ctr">
            <a:noAutofit/>
          </a:bodyPr>
          <a:lstStyle>
            <a:lvl1pPr algn="l">
              <a:defRPr kumimoji="0" lang="fr-FR" sz="1400" b="0" i="0" u="none" strike="noStrike" cap="none" spc="0" normalizeH="0" baseline="0" dirty="0">
                <a:ln>
                  <a:noFill/>
                </a:ln>
                <a:solidFill>
                  <a:schemeClr val="bg2"/>
                </a:solidFill>
                <a:effectLst/>
                <a:uLnTx/>
                <a:uFillTx/>
                <a:latin typeface="+mj-lt"/>
                <a:cs typeface="Arial" pitchFamily="34" charset="0"/>
              </a:defRPr>
            </a:lvl1pPr>
          </a:lstStyle>
          <a:p>
            <a:endParaRPr lang="fr-FR"/>
          </a:p>
        </p:txBody>
      </p:sp>
      <p:cxnSp>
        <p:nvCxnSpPr>
          <p:cNvPr id="9" name="Straight Connector 8">
            <a:extLst>
              <a:ext uri="{FF2B5EF4-FFF2-40B4-BE49-F238E27FC236}">
                <a16:creationId xmlns:a16="http://schemas.microsoft.com/office/drawing/2014/main" id="{013DB38F-4FA6-4FA7-8DF4-6D35E348C857}"/>
              </a:ext>
            </a:extLst>
          </p:cNvPr>
          <p:cNvCxnSpPr>
            <a:cxnSpLocks/>
          </p:cNvCxnSpPr>
          <p:nvPr/>
        </p:nvCxnSpPr>
        <p:spPr>
          <a:xfrm flipH="1">
            <a:off x="406400" y="6223000"/>
            <a:ext cx="11379200" cy="0"/>
          </a:xfrm>
          <a:prstGeom prst="line">
            <a:avLst/>
          </a:prstGeom>
          <a:ln w="6350">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2" name="Date Placeholder 1">
            <a:extLst>
              <a:ext uri="{FF2B5EF4-FFF2-40B4-BE49-F238E27FC236}">
                <a16:creationId xmlns:a16="http://schemas.microsoft.com/office/drawing/2014/main" id="{A7111050-22B8-486F-A248-1DA73B231792}"/>
              </a:ext>
            </a:extLst>
          </p:cNvPr>
          <p:cNvSpPr>
            <a:spLocks noGrp="1"/>
          </p:cNvSpPr>
          <p:nvPr>
            <p:ph type="dt" sz="half" idx="2"/>
          </p:nvPr>
        </p:nvSpPr>
        <p:spPr>
          <a:xfrm>
            <a:off x="804069" y="6354794"/>
            <a:ext cx="1115556" cy="366183"/>
          </a:xfrm>
          <a:prstGeom prst="rect">
            <a:avLst/>
          </a:prstGeom>
        </p:spPr>
        <p:txBody>
          <a:bodyPr wrap="none" anchor="ctr">
            <a:noAutofit/>
          </a:bodyPr>
          <a:lstStyle>
            <a:lvl1pPr>
              <a:defRPr kumimoji="0" lang="en-US" sz="1400" b="0" i="0" u="none" strike="noStrike" cap="none" spc="0" normalizeH="0" baseline="0" smtClean="0">
                <a:ln>
                  <a:noFill/>
                </a:ln>
                <a:solidFill>
                  <a:schemeClr val="bg2"/>
                </a:solidFill>
                <a:effectLst/>
                <a:uLnTx/>
                <a:uFillTx/>
                <a:latin typeface="+mj-lt"/>
                <a:cs typeface="Arial" pitchFamily="34" charset="0"/>
              </a:defRPr>
            </a:lvl1pPr>
          </a:lstStyle>
          <a:p>
            <a:fld id="{EB6F44F5-CF60-4B5F-9088-DB9D5BD65A1E}" type="datetimeFigureOut">
              <a:rPr lang="en-US" smtClean="0"/>
              <a:pPr/>
              <a:t>1/31/2025</a:t>
            </a:fld>
            <a:endParaRPr lang="en-US"/>
          </a:p>
        </p:txBody>
      </p:sp>
      <p:pic>
        <p:nvPicPr>
          <p:cNvPr id="4" name="Image 1">
            <a:extLst>
              <a:ext uri="{FF2B5EF4-FFF2-40B4-BE49-F238E27FC236}">
                <a16:creationId xmlns:a16="http://schemas.microsoft.com/office/drawing/2014/main" id="{23501E55-CB64-062A-1769-D1F159A49816}"/>
              </a:ext>
            </a:extLst>
          </p:cNvPr>
          <p:cNvPicPr>
            <a:picLocks noChangeAspect="1"/>
          </p:cNvPicPr>
          <p:nvPr userDrawn="1"/>
        </p:nvPicPr>
        <p:blipFill>
          <a:blip r:embed="rId20"/>
          <a:srcRect/>
          <a:stretch/>
        </p:blipFill>
        <p:spPr bwMode="auto">
          <a:xfrm>
            <a:off x="10514147" y="6350645"/>
            <a:ext cx="1271453" cy="35627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5" name="Straight Connector 32">
            <a:extLst>
              <a:ext uri="{FF2B5EF4-FFF2-40B4-BE49-F238E27FC236}">
                <a16:creationId xmlns:a16="http://schemas.microsoft.com/office/drawing/2014/main" id="{5F6AE8B9-3AD4-52A7-A62F-5E66254CB2F0}"/>
              </a:ext>
            </a:extLst>
          </p:cNvPr>
          <p:cNvCxnSpPr>
            <a:cxnSpLocks/>
          </p:cNvCxnSpPr>
          <p:nvPr userDrawn="1"/>
        </p:nvCxnSpPr>
        <p:spPr>
          <a:xfrm>
            <a:off x="713625" y="6346036"/>
            <a:ext cx="0" cy="383696"/>
          </a:xfrm>
          <a:prstGeom prst="line">
            <a:avLst/>
          </a:prstGeom>
          <a:ln w="12700" cap="rnd">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8">
            <a:extLst>
              <a:ext uri="{FF2B5EF4-FFF2-40B4-BE49-F238E27FC236}">
                <a16:creationId xmlns:a16="http://schemas.microsoft.com/office/drawing/2014/main" id="{3794C1E8-615C-FC9B-9CC6-358EF26AD8EB}"/>
              </a:ext>
            </a:extLst>
          </p:cNvPr>
          <p:cNvCxnSpPr>
            <a:cxnSpLocks/>
          </p:cNvCxnSpPr>
          <p:nvPr userDrawn="1"/>
        </p:nvCxnSpPr>
        <p:spPr>
          <a:xfrm flipH="1">
            <a:off x="0" y="6223000"/>
            <a:ext cx="11785600" cy="0"/>
          </a:xfrm>
          <a:prstGeom prst="line">
            <a:avLst/>
          </a:prstGeom>
          <a:ln w="6350">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3961795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Lst>
  <p:hf hdr="0"/>
  <p:txStyles>
    <p:titleStyle>
      <a:lvl1pPr algn="l" defTabSz="609585" rtl="0" eaLnBrk="1" fontAlgn="auto" hangingPunct="1">
        <a:spcBef>
          <a:spcPts val="0"/>
        </a:spcBef>
        <a:spcAft>
          <a:spcPts val="0"/>
        </a:spcAft>
        <a:defRPr lang="fr-FR" sz="2933" kern="1200" dirty="0" smtClean="0">
          <a:solidFill>
            <a:schemeClr val="tx1">
              <a:lumMod val="75000"/>
              <a:lumOff val="25000"/>
            </a:schemeClr>
          </a:solidFill>
          <a:latin typeface="+mn-lt"/>
          <a:ea typeface="+mn-ea"/>
          <a:cs typeface="Arial" pitchFamily="34" charset="0"/>
        </a:defRPr>
      </a:lvl1pPr>
      <a:lvl2pPr algn="l" defTabSz="609585" rtl="0" eaLnBrk="1" fontAlgn="base" hangingPunct="1">
        <a:spcBef>
          <a:spcPct val="0"/>
        </a:spcBef>
        <a:spcAft>
          <a:spcPct val="0"/>
        </a:spcAft>
        <a:defRPr sz="1867">
          <a:solidFill>
            <a:schemeClr val="bg1"/>
          </a:solidFill>
          <a:latin typeface="Arial" charset="0"/>
          <a:cs typeface="Arial" charset="0"/>
        </a:defRPr>
      </a:lvl2pPr>
      <a:lvl3pPr algn="l" defTabSz="609585" rtl="0" eaLnBrk="1" fontAlgn="base" hangingPunct="1">
        <a:spcBef>
          <a:spcPct val="0"/>
        </a:spcBef>
        <a:spcAft>
          <a:spcPct val="0"/>
        </a:spcAft>
        <a:defRPr sz="1867">
          <a:solidFill>
            <a:schemeClr val="bg1"/>
          </a:solidFill>
          <a:latin typeface="Arial" charset="0"/>
          <a:cs typeface="Arial" charset="0"/>
        </a:defRPr>
      </a:lvl3pPr>
      <a:lvl4pPr algn="l" defTabSz="609585" rtl="0" eaLnBrk="1" fontAlgn="base" hangingPunct="1">
        <a:spcBef>
          <a:spcPct val="0"/>
        </a:spcBef>
        <a:spcAft>
          <a:spcPct val="0"/>
        </a:spcAft>
        <a:defRPr sz="1867">
          <a:solidFill>
            <a:schemeClr val="bg1"/>
          </a:solidFill>
          <a:latin typeface="Arial" charset="0"/>
          <a:cs typeface="Arial" charset="0"/>
        </a:defRPr>
      </a:lvl4pPr>
      <a:lvl5pPr algn="l" defTabSz="609585" rtl="0" eaLnBrk="1" fontAlgn="base" hangingPunct="1">
        <a:spcBef>
          <a:spcPct val="0"/>
        </a:spcBef>
        <a:spcAft>
          <a:spcPct val="0"/>
        </a:spcAft>
        <a:defRPr sz="1867">
          <a:solidFill>
            <a:schemeClr val="bg1"/>
          </a:solidFill>
          <a:latin typeface="Arial" charset="0"/>
          <a:cs typeface="Arial" charset="0"/>
        </a:defRPr>
      </a:lvl5pPr>
      <a:lvl6pPr marL="609585" algn="l" defTabSz="609585" rtl="0" eaLnBrk="1" fontAlgn="base" hangingPunct="1">
        <a:spcBef>
          <a:spcPct val="0"/>
        </a:spcBef>
        <a:spcAft>
          <a:spcPct val="0"/>
        </a:spcAft>
        <a:defRPr sz="1867">
          <a:solidFill>
            <a:schemeClr val="bg1"/>
          </a:solidFill>
          <a:latin typeface="Arial" charset="0"/>
          <a:cs typeface="Arial" charset="0"/>
        </a:defRPr>
      </a:lvl6pPr>
      <a:lvl7pPr marL="1219170" algn="l" defTabSz="609585" rtl="0" eaLnBrk="1" fontAlgn="base" hangingPunct="1">
        <a:spcBef>
          <a:spcPct val="0"/>
        </a:spcBef>
        <a:spcAft>
          <a:spcPct val="0"/>
        </a:spcAft>
        <a:defRPr sz="1867">
          <a:solidFill>
            <a:schemeClr val="bg1"/>
          </a:solidFill>
          <a:latin typeface="Arial" charset="0"/>
          <a:cs typeface="Arial" charset="0"/>
        </a:defRPr>
      </a:lvl7pPr>
      <a:lvl8pPr marL="1828754" algn="l" defTabSz="609585" rtl="0" eaLnBrk="1" fontAlgn="base" hangingPunct="1">
        <a:spcBef>
          <a:spcPct val="0"/>
        </a:spcBef>
        <a:spcAft>
          <a:spcPct val="0"/>
        </a:spcAft>
        <a:defRPr sz="1867">
          <a:solidFill>
            <a:schemeClr val="bg1"/>
          </a:solidFill>
          <a:latin typeface="Arial" charset="0"/>
          <a:cs typeface="Arial" charset="0"/>
        </a:defRPr>
      </a:lvl8pPr>
      <a:lvl9pPr marL="2438339" algn="l" defTabSz="609585" rtl="0" eaLnBrk="1" fontAlgn="base" hangingPunct="1">
        <a:spcBef>
          <a:spcPct val="0"/>
        </a:spcBef>
        <a:spcAft>
          <a:spcPct val="0"/>
        </a:spcAft>
        <a:defRPr sz="1867">
          <a:solidFill>
            <a:schemeClr val="bg1"/>
          </a:solidFill>
          <a:latin typeface="Arial" charset="0"/>
          <a:cs typeface="Arial" charset="0"/>
        </a:defRPr>
      </a:lvl9pPr>
    </p:titleStyle>
    <p:bodyStyle>
      <a:lvl1pPr marL="364058" indent="-364058" algn="l" defTabSz="609585" rtl="0" eaLnBrk="1" fontAlgn="base" hangingPunct="1">
        <a:spcBef>
          <a:spcPct val="20000"/>
        </a:spcBef>
        <a:spcAft>
          <a:spcPts val="800"/>
        </a:spcAft>
        <a:buClr>
          <a:srgbClr val="004489"/>
        </a:buClr>
        <a:buSzPct val="70000"/>
        <a:buFont typeface="Wingdings" pitchFamily="2" charset="2"/>
        <a:buChar char="n"/>
        <a:defRPr sz="2933" kern="1200">
          <a:solidFill>
            <a:srgbClr val="004489"/>
          </a:solidFill>
          <a:latin typeface="+mn-lt"/>
          <a:ea typeface="+mn-ea"/>
          <a:cs typeface="Arial" pitchFamily="34" charset="0"/>
        </a:defRPr>
      </a:lvl1pPr>
      <a:lvl2pPr marL="715415" indent="-351358" algn="l" defTabSz="609585" rtl="0" eaLnBrk="1" fontAlgn="base" hangingPunct="1">
        <a:spcBef>
          <a:spcPct val="20000"/>
        </a:spcBef>
        <a:spcAft>
          <a:spcPts val="800"/>
        </a:spcAft>
        <a:buClr>
          <a:srgbClr val="004489"/>
        </a:buClr>
        <a:buSzPct val="65000"/>
        <a:buFont typeface="Wingdings 3" pitchFamily="18" charset="2"/>
        <a:buChar char="u"/>
        <a:defRPr sz="2667" kern="1200">
          <a:solidFill>
            <a:schemeClr val="tx1"/>
          </a:solidFill>
          <a:latin typeface="+mn-lt"/>
          <a:ea typeface="+mn-ea"/>
          <a:cs typeface="Arial" pitchFamily="34" charset="0"/>
        </a:defRPr>
      </a:lvl2pPr>
      <a:lvl3pPr marL="1079473" indent="-364058" algn="l" defTabSz="609585" rtl="0" eaLnBrk="1" fontAlgn="base" hangingPunct="1">
        <a:spcBef>
          <a:spcPct val="20000"/>
        </a:spcBef>
        <a:spcAft>
          <a:spcPts val="800"/>
        </a:spcAft>
        <a:buClr>
          <a:srgbClr val="004489"/>
        </a:buClr>
        <a:buSzPct val="55000"/>
        <a:buFont typeface="Wingdings 2" pitchFamily="18" charset="2"/>
        <a:buChar char=""/>
        <a:tabLst/>
        <a:defRPr sz="2400" kern="1200">
          <a:solidFill>
            <a:schemeClr val="tx1"/>
          </a:solidFill>
          <a:latin typeface="+mn-lt"/>
          <a:ea typeface="+mn-ea"/>
          <a:cs typeface="Arial" charset="0"/>
        </a:defRPr>
      </a:lvl3pPr>
      <a:lvl4pPr marL="1551479" indent="-304792" algn="l" defTabSz="609585" rtl="0" eaLnBrk="1" fontAlgn="base" hangingPunct="1">
        <a:spcBef>
          <a:spcPct val="20000"/>
        </a:spcBef>
        <a:spcAft>
          <a:spcPts val="800"/>
        </a:spcAft>
        <a:buSzPct val="70000"/>
        <a:buBlip>
          <a:blip r:embed="rId21"/>
        </a:buBlip>
        <a:defRPr sz="2400" kern="1200">
          <a:solidFill>
            <a:schemeClr val="tx1"/>
          </a:solidFill>
          <a:latin typeface="+mn-lt"/>
          <a:ea typeface="+mn-ea"/>
          <a:cs typeface="Arial" charset="0"/>
        </a:defRPr>
      </a:lvl4pPr>
      <a:lvl5pPr marL="1907070" indent="-304792" algn="l" defTabSz="609585" rtl="0" eaLnBrk="1" fontAlgn="base" hangingPunct="1">
        <a:spcBef>
          <a:spcPct val="20000"/>
        </a:spcBef>
        <a:spcAft>
          <a:spcPts val="800"/>
        </a:spcAft>
        <a:buFont typeface="Arial" charset="0"/>
        <a:buChar char="»"/>
        <a:defRPr sz="2400" kern="1200">
          <a:solidFill>
            <a:schemeClr val="tx1"/>
          </a:solidFill>
          <a:latin typeface="+mn-lt"/>
          <a:ea typeface="+mn-ea"/>
          <a:cs typeface="Arial"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fr-FR"/>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microsoft.com/office/2018/10/relationships/comments" Target="../comments/modernComment_7FFFF994_F6614EE.xml"/><Relationship Id="rId1" Type="http://schemas.openxmlformats.org/officeDocument/2006/relationships/slideLayout" Target="../slideLayouts/slideLayout8.xml"/><Relationship Id="rId5" Type="http://schemas.openxmlformats.org/officeDocument/2006/relationships/image" Target="../media/image14.png"/><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22.png"/><Relationship Id="rId2" Type="http://schemas.openxmlformats.org/officeDocument/2006/relationships/image" Target="../media/image15.png"/><Relationship Id="rId1" Type="http://schemas.openxmlformats.org/officeDocument/2006/relationships/slideLayout" Target="../slideLayouts/slideLayout8.xml"/><Relationship Id="rId6" Type="http://schemas.openxmlformats.org/officeDocument/2006/relationships/image" Target="../media/image21.png"/><Relationship Id="rId5" Type="http://schemas.openxmlformats.org/officeDocument/2006/relationships/image" Target="../media/image17.png"/><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20.png"/><Relationship Id="rId7"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15.png"/><Relationship Id="rId11" Type="http://schemas.openxmlformats.org/officeDocument/2006/relationships/image" Target="../media/image26.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4.png"/><Relationship Id="rId9" Type="http://schemas.openxmlformats.org/officeDocument/2006/relationships/image" Target="../media/image25.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8" Type="http://schemas.openxmlformats.org/officeDocument/2006/relationships/image" Target="../media/image32.jpeg"/><Relationship Id="rId13" Type="http://schemas.openxmlformats.org/officeDocument/2006/relationships/image" Target="../media/image37.jpeg"/><Relationship Id="rId18" Type="http://schemas.openxmlformats.org/officeDocument/2006/relationships/image" Target="../media/image42.jpeg"/><Relationship Id="rId3" Type="http://schemas.openxmlformats.org/officeDocument/2006/relationships/image" Target="../media/image27.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 Type="http://schemas.openxmlformats.org/officeDocument/2006/relationships/notesSlide" Target="../notesSlides/notesSlide10.xml"/><Relationship Id="rId16" Type="http://schemas.openxmlformats.org/officeDocument/2006/relationships/image" Target="../media/image40.png"/><Relationship Id="rId1" Type="http://schemas.openxmlformats.org/officeDocument/2006/relationships/slideLayout" Target="../slideLayouts/slideLayout10.xml"/><Relationship Id="rId6" Type="http://schemas.openxmlformats.org/officeDocument/2006/relationships/image" Target="../media/image30.jpeg"/><Relationship Id="rId11" Type="http://schemas.openxmlformats.org/officeDocument/2006/relationships/image" Target="../media/image35.jpeg"/><Relationship Id="rId5" Type="http://schemas.openxmlformats.org/officeDocument/2006/relationships/image" Target="../media/image29.jpeg"/><Relationship Id="rId15" Type="http://schemas.openxmlformats.org/officeDocument/2006/relationships/image" Target="../media/image39.png"/><Relationship Id="rId10" Type="http://schemas.openxmlformats.org/officeDocument/2006/relationships/image" Target="../media/image34.png"/><Relationship Id="rId4" Type="http://schemas.openxmlformats.org/officeDocument/2006/relationships/image" Target="../media/image28.jpeg"/><Relationship Id="rId9" Type="http://schemas.openxmlformats.org/officeDocument/2006/relationships/image" Target="../media/image33.jpeg"/><Relationship Id="rId14" Type="http://schemas.openxmlformats.org/officeDocument/2006/relationships/image" Target="../media/image38.png"/></Relationships>
</file>

<file path=ppt/slides/_rels/slide1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5.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8" Type="http://schemas.openxmlformats.org/officeDocument/2006/relationships/image" Target="../media/image48.svg"/><Relationship Id="rId13" Type="http://schemas.openxmlformats.org/officeDocument/2006/relationships/image" Target="../media/image53.png"/><Relationship Id="rId3" Type="http://schemas.openxmlformats.org/officeDocument/2006/relationships/image" Target="../media/image43.png"/><Relationship Id="rId7" Type="http://schemas.openxmlformats.org/officeDocument/2006/relationships/image" Target="../media/image47.png"/><Relationship Id="rId12" Type="http://schemas.openxmlformats.org/officeDocument/2006/relationships/image" Target="../media/image52.svg"/><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image" Target="../media/image46.png"/><Relationship Id="rId11" Type="http://schemas.openxmlformats.org/officeDocument/2006/relationships/image" Target="../media/image51.png"/><Relationship Id="rId5" Type="http://schemas.openxmlformats.org/officeDocument/2006/relationships/image" Target="../media/image45.png"/><Relationship Id="rId10" Type="http://schemas.openxmlformats.org/officeDocument/2006/relationships/image" Target="../media/image50.svg"/><Relationship Id="rId4" Type="http://schemas.openxmlformats.org/officeDocument/2006/relationships/image" Target="../media/image44.png"/><Relationship Id="rId9" Type="http://schemas.openxmlformats.org/officeDocument/2006/relationships/image" Target="../media/image49.png"/><Relationship Id="rId14" Type="http://schemas.openxmlformats.org/officeDocument/2006/relationships/image" Target="../media/image54.svg"/></Relationships>
</file>

<file path=ppt/slides/_rels/slide21.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notesSlide" Target="../notesSlides/notesSlide15.xml"/><Relationship Id="rId1" Type="http://schemas.openxmlformats.org/officeDocument/2006/relationships/slideLayout" Target="../slideLayouts/slideLayout12.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48.sv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6.xml"/><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7.png"/><Relationship Id="rId7" Type="http://schemas.openxmlformats.org/officeDocument/2006/relationships/image" Target="../media/image14.png"/><Relationship Id="rId2" Type="http://schemas.openxmlformats.org/officeDocument/2006/relationships/notesSlide" Target="../notesSlides/notesSlide17.xml"/><Relationship Id="rId1" Type="http://schemas.openxmlformats.org/officeDocument/2006/relationships/slideLayout" Target="../slideLayouts/slideLayout34.xml"/><Relationship Id="rId6" Type="http://schemas.openxmlformats.org/officeDocument/2006/relationships/image" Target="../media/image18.png"/><Relationship Id="rId5" Type="http://schemas.openxmlformats.org/officeDocument/2006/relationships/image" Target="../media/image16.png"/><Relationship Id="rId4" Type="http://schemas.openxmlformats.org/officeDocument/2006/relationships/image" Target="../media/image19.png"/><Relationship Id="rId9" Type="http://schemas.openxmlformats.org/officeDocument/2006/relationships/image" Target="../media/image13.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image" Target="../media/image17.png"/><Relationship Id="rId7" Type="http://schemas.openxmlformats.org/officeDocument/2006/relationships/image" Target="../media/image53.png"/><Relationship Id="rId2" Type="http://schemas.openxmlformats.org/officeDocument/2006/relationships/notesSlide" Target="../notesSlides/notesSlide20.xml"/><Relationship Id="rId1" Type="http://schemas.openxmlformats.org/officeDocument/2006/relationships/slideLayout" Target="../slideLayouts/slideLayout6.xml"/><Relationship Id="rId6" Type="http://schemas.openxmlformats.org/officeDocument/2006/relationships/image" Target="../media/image56.png"/><Relationship Id="rId5" Type="http://schemas.openxmlformats.org/officeDocument/2006/relationships/image" Target="../media/image14.png"/><Relationship Id="rId4" Type="http://schemas.openxmlformats.org/officeDocument/2006/relationships/image" Target="../media/image13.png"/></Relationships>
</file>

<file path=ppt/slides/_rels/slide28.xml.rels><?xml version="1.0" encoding="UTF-8" standalone="yes"?>
<Relationships xmlns="http://schemas.openxmlformats.org/package/2006/relationships"><Relationship Id="rId8" Type="http://schemas.openxmlformats.org/officeDocument/2006/relationships/image" Target="../media/image57.svg"/><Relationship Id="rId3" Type="http://schemas.openxmlformats.org/officeDocument/2006/relationships/image" Target="../media/image17.png"/><Relationship Id="rId7" Type="http://schemas.openxmlformats.org/officeDocument/2006/relationships/image" Target="../media/image51.png"/><Relationship Id="rId2" Type="http://schemas.openxmlformats.org/officeDocument/2006/relationships/notesSlide" Target="../notesSlides/notesSlide21.xml"/><Relationship Id="rId1" Type="http://schemas.openxmlformats.org/officeDocument/2006/relationships/slideLayout" Target="../slideLayouts/slideLayout6.xml"/><Relationship Id="rId6" Type="http://schemas.openxmlformats.org/officeDocument/2006/relationships/image" Target="../media/image54.svg"/><Relationship Id="rId11" Type="http://schemas.openxmlformats.org/officeDocument/2006/relationships/image" Target="../media/image50.svg"/><Relationship Id="rId5" Type="http://schemas.openxmlformats.org/officeDocument/2006/relationships/image" Target="../media/image53.png"/><Relationship Id="rId10" Type="http://schemas.openxmlformats.org/officeDocument/2006/relationships/image" Target="../media/image49.png"/><Relationship Id="rId4" Type="http://schemas.openxmlformats.org/officeDocument/2006/relationships/image" Target="../media/image13.png"/><Relationship Id="rId9" Type="http://schemas.openxmlformats.org/officeDocument/2006/relationships/image" Target="../media/image52.svg"/></Relationships>
</file>

<file path=ppt/slides/_rels/slide29.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50.svg"/><Relationship Id="rId2" Type="http://schemas.openxmlformats.org/officeDocument/2006/relationships/notesSlide" Target="../notesSlides/notesSlide22.xml"/><Relationship Id="rId1" Type="http://schemas.openxmlformats.org/officeDocument/2006/relationships/slideLayout" Target="../slideLayouts/slideLayout6.xml"/><Relationship Id="rId6" Type="http://schemas.openxmlformats.org/officeDocument/2006/relationships/image" Target="../media/image49.png"/><Relationship Id="rId5" Type="http://schemas.openxmlformats.org/officeDocument/2006/relationships/image" Target="../media/image17.png"/><Relationship Id="rId4" Type="http://schemas.openxmlformats.org/officeDocument/2006/relationships/image" Target="../media/image14.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48.svg"/><Relationship Id="rId2" Type="http://schemas.openxmlformats.org/officeDocument/2006/relationships/notesSlide" Target="../notesSlides/notesSlide23.xml"/><Relationship Id="rId1" Type="http://schemas.openxmlformats.org/officeDocument/2006/relationships/slideLayout" Target="../slideLayouts/slideLayout6.xml"/><Relationship Id="rId6" Type="http://schemas.openxmlformats.org/officeDocument/2006/relationships/image" Target="../media/image47.png"/><Relationship Id="rId5" Type="http://schemas.openxmlformats.org/officeDocument/2006/relationships/image" Target="../media/image17.png"/><Relationship Id="rId4" Type="http://schemas.openxmlformats.org/officeDocument/2006/relationships/image" Target="../media/image14.png"/></Relationships>
</file>

<file path=ppt/slides/_rels/slide31.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18.png"/><Relationship Id="rId7" Type="http://schemas.openxmlformats.org/officeDocument/2006/relationships/image" Target="../media/image17.png"/><Relationship Id="rId2" Type="http://schemas.openxmlformats.org/officeDocument/2006/relationships/notesSlide" Target="../notesSlides/notesSlide24.xml"/><Relationship Id="rId1" Type="http://schemas.openxmlformats.org/officeDocument/2006/relationships/slideLayout" Target="../slideLayouts/slideLayout6.xml"/><Relationship Id="rId6" Type="http://schemas.openxmlformats.org/officeDocument/2006/relationships/image" Target="../media/image15.png"/><Relationship Id="rId11" Type="http://schemas.openxmlformats.org/officeDocument/2006/relationships/image" Target="../media/image50.svg"/><Relationship Id="rId5" Type="http://schemas.openxmlformats.org/officeDocument/2006/relationships/image" Target="../media/image14.png"/><Relationship Id="rId10" Type="http://schemas.openxmlformats.org/officeDocument/2006/relationships/image" Target="../media/image49.png"/><Relationship Id="rId4" Type="http://schemas.openxmlformats.org/officeDocument/2006/relationships/image" Target="../media/image13.png"/><Relationship Id="rId9" Type="http://schemas.openxmlformats.org/officeDocument/2006/relationships/image" Target="../media/image48.svg"/></Relationships>
</file>

<file path=ppt/slides/_rels/slide32.xml.rels><?xml version="1.0" encoding="UTF-8" standalone="yes"?>
<Relationships xmlns="http://schemas.openxmlformats.org/package/2006/relationships"><Relationship Id="rId8" Type="http://schemas.openxmlformats.org/officeDocument/2006/relationships/image" Target="../media/image48.svg"/><Relationship Id="rId3" Type="http://schemas.microsoft.com/office/2018/10/relationships/comments" Target="../comments/modernComment_7FFFF97F_FA255C4A.xml"/><Relationship Id="rId7" Type="http://schemas.openxmlformats.org/officeDocument/2006/relationships/image" Target="../media/image47.png"/><Relationship Id="rId2" Type="http://schemas.openxmlformats.org/officeDocument/2006/relationships/notesSlide" Target="../notesSlides/notesSlide25.xml"/><Relationship Id="rId1" Type="http://schemas.openxmlformats.org/officeDocument/2006/relationships/slideLayout" Target="../slideLayouts/slideLayout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8.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36.xml.rels><?xml version="1.0" encoding="UTF-8" standalone="yes"?>
<Relationships xmlns="http://schemas.openxmlformats.org/package/2006/relationships"><Relationship Id="rId3" Type="http://schemas.microsoft.com/office/2018/10/relationships/comments" Target="../comments/modernComment_7FFFF9A1_198E508E.xml"/><Relationship Id="rId2" Type="http://schemas.openxmlformats.org/officeDocument/2006/relationships/slideLayout" Target="../slideLayouts/slideLayout8.xml"/><Relationship Id="rId1" Type="http://schemas.openxmlformats.org/officeDocument/2006/relationships/tags" Target="../tags/tag2.xml"/><Relationship Id="rId4" Type="http://schemas.openxmlformats.org/officeDocument/2006/relationships/image" Target="../media/image59.jpe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34.xml"/><Relationship Id="rId5" Type="http://schemas.openxmlformats.org/officeDocument/2006/relationships/image" Target="../media/image12.png"/><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Layout" Target="../slideLayouts/slideLayout6.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93A8098-4F52-8D03-FB76-63A5123FA964}"/>
              </a:ext>
            </a:extLst>
          </p:cNvPr>
          <p:cNvSpPr>
            <a:spLocks noGrp="1"/>
          </p:cNvSpPr>
          <p:nvPr>
            <p:ph type="title"/>
          </p:nvPr>
        </p:nvSpPr>
        <p:spPr/>
        <p:txBody>
          <a:bodyPr/>
          <a:lstStyle/>
          <a:p>
            <a:r>
              <a:rPr lang="en-US" sz="5400"/>
              <a:t>Data Governance Principles</a:t>
            </a:r>
          </a:p>
        </p:txBody>
      </p:sp>
      <p:sp>
        <p:nvSpPr>
          <p:cNvPr id="3" name="Espace réservé du texte 2">
            <a:extLst>
              <a:ext uri="{FF2B5EF4-FFF2-40B4-BE49-F238E27FC236}">
                <a16:creationId xmlns:a16="http://schemas.microsoft.com/office/drawing/2014/main" id="{B3543586-D0CC-83BF-4600-FBC923FA3C57}"/>
              </a:ext>
            </a:extLst>
          </p:cNvPr>
          <p:cNvSpPr>
            <a:spLocks noGrp="1"/>
          </p:cNvSpPr>
          <p:nvPr>
            <p:ph type="body" sz="quarter" idx="10"/>
          </p:nvPr>
        </p:nvSpPr>
        <p:spPr/>
        <p:txBody>
          <a:bodyPr/>
          <a:lstStyle/>
          <a:p>
            <a:pPr algn="l" rtl="0" fontAlgn="t"/>
            <a:r>
              <a:rPr lang="fr-FR" sz="2400" dirty="0"/>
              <a:t>VCS</a:t>
            </a:r>
            <a:r>
              <a:rPr lang="fr-FR" sz="2400" u="none" strike="noStrike" dirty="0">
                <a:effectLst/>
                <a:latin typeface="+mn-lt"/>
              </a:rPr>
              <a:t>I-GEN-PMP-DAPG-003-A2</a:t>
            </a:r>
          </a:p>
        </p:txBody>
      </p:sp>
    </p:spTree>
    <p:extLst>
      <p:ext uri="{BB962C8B-B14F-4D97-AF65-F5344CB8AC3E}">
        <p14:creationId xmlns:p14="http://schemas.microsoft.com/office/powerpoint/2010/main" val="22176024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entagone 3">
            <a:extLst>
              <a:ext uri="{FF2B5EF4-FFF2-40B4-BE49-F238E27FC236}">
                <a16:creationId xmlns:a16="http://schemas.microsoft.com/office/drawing/2014/main" id="{49A89B8D-1C4B-9441-8615-E677A17A2F61}"/>
              </a:ext>
            </a:extLst>
          </p:cNvPr>
          <p:cNvSpPr/>
          <p:nvPr/>
        </p:nvSpPr>
        <p:spPr>
          <a:xfrm>
            <a:off x="5340613" y="1962607"/>
            <a:ext cx="1116000" cy="1116000"/>
          </a:xfrm>
          <a:prstGeom prst="pentagon">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re 1">
            <a:extLst>
              <a:ext uri="{FF2B5EF4-FFF2-40B4-BE49-F238E27FC236}">
                <a16:creationId xmlns:a16="http://schemas.microsoft.com/office/drawing/2014/main" id="{65C36281-A1A8-C87D-4057-3536168BC209}"/>
              </a:ext>
            </a:extLst>
          </p:cNvPr>
          <p:cNvSpPr>
            <a:spLocks noGrp="1"/>
          </p:cNvSpPr>
          <p:nvPr>
            <p:ph type="title"/>
          </p:nvPr>
        </p:nvSpPr>
        <p:spPr/>
        <p:txBody>
          <a:bodyPr anchor="ctr"/>
          <a:lstStyle/>
          <a:p>
            <a:r>
              <a:rPr lang="en-US" sz="3200"/>
              <a:t>Data producers overview</a:t>
            </a:r>
            <a:endParaRPr lang="fr-FR"/>
          </a:p>
        </p:txBody>
      </p:sp>
      <p:sp>
        <p:nvSpPr>
          <p:cNvPr id="3" name="Espace réservé du texte 2">
            <a:extLst>
              <a:ext uri="{FF2B5EF4-FFF2-40B4-BE49-F238E27FC236}">
                <a16:creationId xmlns:a16="http://schemas.microsoft.com/office/drawing/2014/main" id="{07904E6D-F488-A524-6A3B-BB4310EA9F16}"/>
              </a:ext>
            </a:extLst>
          </p:cNvPr>
          <p:cNvSpPr>
            <a:spLocks noGrp="1"/>
          </p:cNvSpPr>
          <p:nvPr>
            <p:ph type="body" idx="1"/>
          </p:nvPr>
        </p:nvSpPr>
        <p:spPr>
          <a:xfrm>
            <a:off x="576000" y="910683"/>
            <a:ext cx="11040000" cy="892937"/>
          </a:xfrm>
        </p:spPr>
        <p:txBody>
          <a:bodyPr/>
          <a:lstStyle/>
          <a:p>
            <a:r>
              <a:rPr lang="en-US" sz="2800"/>
              <a:t>The data producer is the “supplier” for a data product. Each data product must have a </a:t>
            </a:r>
            <a:r>
              <a:rPr lang="en-US" sz="2800" b="1"/>
              <a:t>Owner</a:t>
            </a:r>
            <a:r>
              <a:rPr lang="en-US" sz="2800"/>
              <a:t>, a </a:t>
            </a:r>
            <a:r>
              <a:rPr lang="en-US" sz="2800" b="1"/>
              <a:t>Steward</a:t>
            </a:r>
            <a:r>
              <a:rPr lang="en-US" sz="2800"/>
              <a:t> and a </a:t>
            </a:r>
            <a:r>
              <a:rPr lang="en-US" sz="2800" b="1"/>
              <a:t>Data Factory. </a:t>
            </a:r>
            <a:r>
              <a:rPr lang="en-US" sz="2800"/>
              <a:t>They ensure availability and reliability of data. </a:t>
            </a:r>
            <a:endParaRPr lang="fr-FR" sz="2800"/>
          </a:p>
        </p:txBody>
      </p:sp>
      <p:sp>
        <p:nvSpPr>
          <p:cNvPr id="5" name="Espace réservé du pied de page 4">
            <a:extLst>
              <a:ext uri="{FF2B5EF4-FFF2-40B4-BE49-F238E27FC236}">
                <a16:creationId xmlns:a16="http://schemas.microsoft.com/office/drawing/2014/main" id="{5E991149-4C4D-9D30-1DAB-D17B89721241}"/>
              </a:ext>
            </a:extLst>
          </p:cNvPr>
          <p:cNvSpPr>
            <a:spLocks noGrp="1"/>
          </p:cNvSpPr>
          <p:nvPr>
            <p:ph type="ftr" sz="quarter" idx="10"/>
          </p:nvPr>
        </p:nvSpPr>
        <p:spPr/>
        <p:txBody>
          <a:bodyPr/>
          <a:lstStyle/>
          <a:p>
            <a:endParaRPr lang="fr-FR"/>
          </a:p>
        </p:txBody>
      </p:sp>
      <p:sp>
        <p:nvSpPr>
          <p:cNvPr id="31" name="ZoneTexte 30">
            <a:extLst>
              <a:ext uri="{FF2B5EF4-FFF2-40B4-BE49-F238E27FC236}">
                <a16:creationId xmlns:a16="http://schemas.microsoft.com/office/drawing/2014/main" id="{47B9334E-22F1-66EF-9BBE-56203C95C9C2}"/>
              </a:ext>
            </a:extLst>
          </p:cNvPr>
          <p:cNvSpPr txBox="1"/>
          <p:nvPr/>
        </p:nvSpPr>
        <p:spPr>
          <a:xfrm>
            <a:off x="5335034" y="2222095"/>
            <a:ext cx="1127157" cy="523220"/>
          </a:xfrm>
          <a:prstGeom prst="rect">
            <a:avLst/>
          </a:prstGeom>
          <a:noFill/>
        </p:spPr>
        <p:txBody>
          <a:bodyPr wrap="square" rtlCol="0">
            <a:spAutoFit/>
          </a:bodyPr>
          <a:lstStyle/>
          <a:p>
            <a:pPr algn="ctr">
              <a:spcBef>
                <a:spcPts val="600"/>
              </a:spcBef>
            </a:pPr>
            <a:r>
              <a:rPr lang="en-US" sz="1400" b="1"/>
              <a:t>DATA PRODUCERS</a:t>
            </a:r>
          </a:p>
        </p:txBody>
      </p:sp>
      <p:sp>
        <p:nvSpPr>
          <p:cNvPr id="10" name="ZoneTexte 9">
            <a:extLst>
              <a:ext uri="{FF2B5EF4-FFF2-40B4-BE49-F238E27FC236}">
                <a16:creationId xmlns:a16="http://schemas.microsoft.com/office/drawing/2014/main" id="{72264F78-FC57-B6C2-66F4-330AA06B5AB3}"/>
              </a:ext>
            </a:extLst>
          </p:cNvPr>
          <p:cNvSpPr txBox="1"/>
          <p:nvPr/>
        </p:nvSpPr>
        <p:spPr>
          <a:xfrm>
            <a:off x="4386439" y="3078607"/>
            <a:ext cx="3024347" cy="523220"/>
          </a:xfrm>
          <a:prstGeom prst="rect">
            <a:avLst/>
          </a:prstGeom>
          <a:noFill/>
        </p:spPr>
        <p:txBody>
          <a:bodyPr wrap="square">
            <a:spAutoFit/>
          </a:bodyPr>
          <a:lstStyle/>
          <a:p>
            <a:pPr algn="ctr"/>
            <a:r>
              <a:rPr lang="en-US" sz="1400"/>
              <a:t>Create and maintain data products throughout their life cycle</a:t>
            </a:r>
          </a:p>
        </p:txBody>
      </p:sp>
      <p:grpSp>
        <p:nvGrpSpPr>
          <p:cNvPr id="36" name="Groupe 35">
            <a:extLst>
              <a:ext uri="{FF2B5EF4-FFF2-40B4-BE49-F238E27FC236}">
                <a16:creationId xmlns:a16="http://schemas.microsoft.com/office/drawing/2014/main" id="{C18DE6EB-9F22-9316-A6B3-C1B930E7503C}"/>
              </a:ext>
            </a:extLst>
          </p:cNvPr>
          <p:cNvGrpSpPr/>
          <p:nvPr/>
        </p:nvGrpSpPr>
        <p:grpSpPr>
          <a:xfrm>
            <a:off x="5044997" y="3741510"/>
            <a:ext cx="2088000" cy="2172978"/>
            <a:chOff x="5044997" y="3741510"/>
            <a:chExt cx="2088000" cy="2172978"/>
          </a:xfrm>
        </p:grpSpPr>
        <p:sp>
          <p:nvSpPr>
            <p:cNvPr id="21" name="ZoneTexte 20">
              <a:extLst>
                <a:ext uri="{FF2B5EF4-FFF2-40B4-BE49-F238E27FC236}">
                  <a16:creationId xmlns:a16="http://schemas.microsoft.com/office/drawing/2014/main" id="{3A604B95-C628-6D6A-4374-81207E21C807}"/>
                </a:ext>
              </a:extLst>
            </p:cNvPr>
            <p:cNvSpPr txBox="1"/>
            <p:nvPr/>
          </p:nvSpPr>
          <p:spPr>
            <a:xfrm>
              <a:off x="5044997" y="4560511"/>
              <a:ext cx="2088000" cy="861774"/>
            </a:xfrm>
            <a:prstGeom prst="rect">
              <a:avLst/>
            </a:prstGeom>
            <a:noFill/>
          </p:spPr>
          <p:txBody>
            <a:bodyPr wrap="square">
              <a:spAutoFit/>
            </a:bodyPr>
            <a:lstStyle/>
            <a:p>
              <a:pPr marL="171450" indent="-171450">
                <a:buFont typeface="Arial" panose="020B0604020202020204" pitchFamily="34" charset="0"/>
                <a:buChar char="•"/>
              </a:pPr>
              <a:r>
                <a:rPr lang="en-US" sz="1000" i="1" noProof="0">
                  <a:highlight>
                    <a:srgbClr val="FFFF00"/>
                  </a:highlight>
                </a:rPr>
                <a:t>Qualify Use case</a:t>
              </a:r>
              <a:endParaRPr lang="en-US" sz="1000" i="1">
                <a:highlight>
                  <a:srgbClr val="FFFF00"/>
                </a:highlight>
              </a:endParaRPr>
            </a:p>
            <a:p>
              <a:pPr marL="171450" indent="-171450">
                <a:buFont typeface="Arial" panose="020B0604020202020204" pitchFamily="34" charset="0"/>
                <a:buChar char="•"/>
              </a:pPr>
              <a:r>
                <a:rPr lang="en-US" sz="1000" i="1"/>
                <a:t>Translates needs in specs &amp; tests</a:t>
              </a:r>
            </a:p>
            <a:p>
              <a:pPr marL="171450" indent="-171450">
                <a:buFont typeface="Arial" panose="020B0604020202020204" pitchFamily="34" charset="0"/>
                <a:buChar char="•"/>
              </a:pPr>
              <a:r>
                <a:rPr lang="en-US" sz="1000" i="1">
                  <a:highlight>
                    <a:srgbClr val="FFFF00"/>
                  </a:highlight>
                </a:rPr>
                <a:t>Builds Bi reports</a:t>
              </a:r>
            </a:p>
            <a:p>
              <a:pPr marL="171450" indent="-171450">
                <a:buFont typeface="Arial" panose="020B0604020202020204" pitchFamily="34" charset="0"/>
                <a:buChar char="•"/>
              </a:pPr>
              <a:r>
                <a:rPr lang="en-US" sz="1000" i="1"/>
                <a:t>Responsible for Discoverable &amp; Secure aspects of the data product</a:t>
              </a:r>
            </a:p>
          </p:txBody>
        </p:sp>
        <p:sp>
          <p:nvSpPr>
            <p:cNvPr id="22" name="ZoneTexte 21">
              <a:extLst>
                <a:ext uri="{FF2B5EF4-FFF2-40B4-BE49-F238E27FC236}">
                  <a16:creationId xmlns:a16="http://schemas.microsoft.com/office/drawing/2014/main" id="{FF53CC5D-B652-7F7B-6F37-F446233F56F0}"/>
                </a:ext>
              </a:extLst>
            </p:cNvPr>
            <p:cNvSpPr txBox="1"/>
            <p:nvPr/>
          </p:nvSpPr>
          <p:spPr>
            <a:xfrm>
              <a:off x="5458522" y="4385951"/>
              <a:ext cx="1260951" cy="226591"/>
            </a:xfrm>
            <a:prstGeom prst="rect">
              <a:avLst/>
            </a:prstGeom>
            <a:noFill/>
          </p:spPr>
          <p:txBody>
            <a:bodyPr wrap="square" lIns="36000" tIns="36000" rIns="36000" bIns="36000" rtlCol="0">
              <a:spAutoFit/>
            </a:bodyPr>
            <a:lstStyle/>
            <a:p>
              <a:pPr algn="ctr">
                <a:spcBef>
                  <a:spcPts val="600"/>
                </a:spcBef>
              </a:pPr>
              <a:r>
                <a:rPr lang="en-US" sz="1000" b="1">
                  <a:highlight>
                    <a:srgbClr val="FFFF00"/>
                  </a:highlight>
                </a:rPr>
                <a:t>Data Analyst</a:t>
              </a:r>
            </a:p>
          </p:txBody>
        </p:sp>
        <p:grpSp>
          <p:nvGrpSpPr>
            <p:cNvPr id="15" name="Groupe 14">
              <a:extLst>
                <a:ext uri="{FF2B5EF4-FFF2-40B4-BE49-F238E27FC236}">
                  <a16:creationId xmlns:a16="http://schemas.microsoft.com/office/drawing/2014/main" id="{E5831AD5-4632-1103-B91E-A7C78DCCA24F}"/>
                </a:ext>
              </a:extLst>
            </p:cNvPr>
            <p:cNvGrpSpPr/>
            <p:nvPr/>
          </p:nvGrpSpPr>
          <p:grpSpPr>
            <a:xfrm>
              <a:off x="5766777" y="3741510"/>
              <a:ext cx="644441" cy="644441"/>
              <a:chOff x="8644610" y="4492403"/>
              <a:chExt cx="644441" cy="644441"/>
            </a:xfrm>
          </p:grpSpPr>
          <p:sp>
            <p:nvSpPr>
              <p:cNvPr id="18" name="Ellipse 17">
                <a:extLst>
                  <a:ext uri="{FF2B5EF4-FFF2-40B4-BE49-F238E27FC236}">
                    <a16:creationId xmlns:a16="http://schemas.microsoft.com/office/drawing/2014/main" id="{6E8FDC92-E272-BD5B-E84D-5572C50FAD4B}"/>
                  </a:ext>
                </a:extLst>
              </p:cNvPr>
              <p:cNvSpPr/>
              <p:nvPr/>
            </p:nvSpPr>
            <p:spPr>
              <a:xfrm>
                <a:off x="8644610" y="4492403"/>
                <a:ext cx="644441" cy="644441"/>
              </a:xfrm>
              <a:prstGeom prst="ellipse">
                <a:avLst/>
              </a:prstGeom>
              <a:solidFill>
                <a:srgbClr val="00B0AD">
                  <a:alpha val="5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latin typeface="Graphik" panose="020B0503030202060203" pitchFamily="34" charset="0"/>
                </a:endParaRPr>
              </a:p>
            </p:txBody>
          </p:sp>
          <p:pic>
            <p:nvPicPr>
              <p:cNvPr id="19" name="Image 18">
                <a:extLst>
                  <a:ext uri="{FF2B5EF4-FFF2-40B4-BE49-F238E27FC236}">
                    <a16:creationId xmlns:a16="http://schemas.microsoft.com/office/drawing/2014/main" id="{2D2340EE-496F-E978-B211-2E8F2319D3C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696830" y="4550759"/>
                <a:ext cx="540000" cy="527727"/>
              </a:xfrm>
              <a:prstGeom prst="rect">
                <a:avLst/>
              </a:prstGeom>
            </p:spPr>
          </p:pic>
        </p:grpSp>
        <p:sp>
          <p:nvSpPr>
            <p:cNvPr id="12" name="ZoneTexte 11">
              <a:extLst>
                <a:ext uri="{FF2B5EF4-FFF2-40B4-BE49-F238E27FC236}">
                  <a16:creationId xmlns:a16="http://schemas.microsoft.com/office/drawing/2014/main" id="{90714842-517B-5697-5FA6-915415B81BEB}"/>
                </a:ext>
              </a:extLst>
            </p:cNvPr>
            <p:cNvSpPr txBox="1"/>
            <p:nvPr/>
          </p:nvSpPr>
          <p:spPr>
            <a:xfrm>
              <a:off x="5044997" y="5514378"/>
              <a:ext cx="2088000" cy="400110"/>
            </a:xfrm>
            <a:prstGeom prst="rect">
              <a:avLst/>
            </a:prstGeom>
            <a:noFill/>
          </p:spPr>
          <p:txBody>
            <a:bodyPr wrap="square" rtlCol="0">
              <a:spAutoFit/>
            </a:bodyPr>
            <a:lstStyle/>
            <a:p>
              <a:pPr algn="ctr"/>
              <a:r>
                <a:rPr lang="en-US" sz="1000" b="1"/>
                <a:t>IT</a:t>
              </a:r>
            </a:p>
            <a:p>
              <a:pPr algn="ctr"/>
              <a:r>
                <a:rPr lang="en-US" sz="1000" b="1"/>
                <a:t>Inside domain or data factory team</a:t>
              </a:r>
            </a:p>
          </p:txBody>
        </p:sp>
      </p:grpSp>
      <p:grpSp>
        <p:nvGrpSpPr>
          <p:cNvPr id="38" name="Groupe 37">
            <a:extLst>
              <a:ext uri="{FF2B5EF4-FFF2-40B4-BE49-F238E27FC236}">
                <a16:creationId xmlns:a16="http://schemas.microsoft.com/office/drawing/2014/main" id="{D4BAB596-7C70-E271-E918-169020FF4522}"/>
              </a:ext>
            </a:extLst>
          </p:cNvPr>
          <p:cNvGrpSpPr/>
          <p:nvPr/>
        </p:nvGrpSpPr>
        <p:grpSpPr>
          <a:xfrm>
            <a:off x="7903535" y="3741509"/>
            <a:ext cx="2088000" cy="2172979"/>
            <a:chOff x="7903535" y="3741509"/>
            <a:chExt cx="2088000" cy="2172979"/>
          </a:xfrm>
        </p:grpSpPr>
        <p:grpSp>
          <p:nvGrpSpPr>
            <p:cNvPr id="20" name="Groupe 19">
              <a:extLst>
                <a:ext uri="{FF2B5EF4-FFF2-40B4-BE49-F238E27FC236}">
                  <a16:creationId xmlns:a16="http://schemas.microsoft.com/office/drawing/2014/main" id="{319B8EFC-8860-2670-69E1-94DF94A6C0B8}"/>
                </a:ext>
              </a:extLst>
            </p:cNvPr>
            <p:cNvGrpSpPr/>
            <p:nvPr/>
          </p:nvGrpSpPr>
          <p:grpSpPr>
            <a:xfrm>
              <a:off x="8625315" y="3741509"/>
              <a:ext cx="644441" cy="644441"/>
              <a:chOff x="4391953" y="3869326"/>
              <a:chExt cx="644441" cy="644441"/>
            </a:xfrm>
          </p:grpSpPr>
          <p:sp>
            <p:nvSpPr>
              <p:cNvPr id="23" name="Ellipse 22">
                <a:extLst>
                  <a:ext uri="{FF2B5EF4-FFF2-40B4-BE49-F238E27FC236}">
                    <a16:creationId xmlns:a16="http://schemas.microsoft.com/office/drawing/2014/main" id="{A3EADB2A-B16B-4577-5A31-9D9CC89B4F4E}"/>
                  </a:ext>
                </a:extLst>
              </p:cNvPr>
              <p:cNvSpPr/>
              <p:nvPr/>
            </p:nvSpPr>
            <p:spPr>
              <a:xfrm>
                <a:off x="4391953" y="3869326"/>
                <a:ext cx="644441" cy="644441"/>
              </a:xfrm>
              <a:prstGeom prst="ellipse">
                <a:avLst/>
              </a:prstGeom>
              <a:solidFill>
                <a:srgbClr val="00B0AD">
                  <a:alpha val="5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latin typeface="Graphik" panose="020B0503030202060203" pitchFamily="34" charset="0"/>
                </a:endParaRPr>
              </a:p>
            </p:txBody>
          </p:sp>
          <p:pic>
            <p:nvPicPr>
              <p:cNvPr id="24" name="Image 23">
                <a:extLst>
                  <a:ext uri="{FF2B5EF4-FFF2-40B4-BE49-F238E27FC236}">
                    <a16:creationId xmlns:a16="http://schemas.microsoft.com/office/drawing/2014/main" id="{AEDDB790-2394-CB9F-065D-94CEDF966EDB}"/>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444173" y="3923668"/>
                <a:ext cx="540000" cy="535756"/>
              </a:xfrm>
              <a:prstGeom prst="rect">
                <a:avLst/>
              </a:prstGeom>
            </p:spPr>
          </p:pic>
        </p:grpSp>
        <p:sp>
          <p:nvSpPr>
            <p:cNvPr id="16" name="ZoneTexte 15">
              <a:extLst>
                <a:ext uri="{FF2B5EF4-FFF2-40B4-BE49-F238E27FC236}">
                  <a16:creationId xmlns:a16="http://schemas.microsoft.com/office/drawing/2014/main" id="{BD858CF2-7A50-8A61-F73E-FD4E912314B6}"/>
                </a:ext>
              </a:extLst>
            </p:cNvPr>
            <p:cNvSpPr txBox="1"/>
            <p:nvPr/>
          </p:nvSpPr>
          <p:spPr>
            <a:xfrm>
              <a:off x="8238594" y="4385952"/>
              <a:ext cx="1417883" cy="226591"/>
            </a:xfrm>
            <a:prstGeom prst="rect">
              <a:avLst/>
            </a:prstGeom>
            <a:noFill/>
          </p:spPr>
          <p:txBody>
            <a:bodyPr wrap="square" lIns="36000" tIns="36000" rIns="36000" bIns="36000" rtlCol="0">
              <a:spAutoFit/>
            </a:bodyPr>
            <a:lstStyle/>
            <a:p>
              <a:pPr algn="ctr">
                <a:spcBef>
                  <a:spcPts val="600"/>
                </a:spcBef>
              </a:pPr>
              <a:r>
                <a:rPr lang="en-US" sz="1000" b="1"/>
                <a:t>Data engineer</a:t>
              </a:r>
            </a:p>
          </p:txBody>
        </p:sp>
        <p:sp>
          <p:nvSpPr>
            <p:cNvPr id="17" name="ZoneTexte 16">
              <a:extLst>
                <a:ext uri="{FF2B5EF4-FFF2-40B4-BE49-F238E27FC236}">
                  <a16:creationId xmlns:a16="http://schemas.microsoft.com/office/drawing/2014/main" id="{FE6A2863-9FA1-3470-097E-41AC5837C3DF}"/>
                </a:ext>
              </a:extLst>
            </p:cNvPr>
            <p:cNvSpPr txBox="1"/>
            <p:nvPr/>
          </p:nvSpPr>
          <p:spPr>
            <a:xfrm>
              <a:off x="7903535" y="4597156"/>
              <a:ext cx="2088000" cy="707886"/>
            </a:xfrm>
            <a:prstGeom prst="rect">
              <a:avLst/>
            </a:prstGeom>
            <a:noFill/>
          </p:spPr>
          <p:txBody>
            <a:bodyPr wrap="square">
              <a:spAutoFit/>
            </a:bodyPr>
            <a:lstStyle/>
            <a:p>
              <a:pPr marL="171450" indent="-171450" algn="just">
                <a:buFont typeface="Arial" panose="020B0604020202020204" pitchFamily="34" charset="0"/>
                <a:buChar char="•"/>
              </a:pPr>
              <a:r>
                <a:rPr lang="en-US" sz="1000" i="1"/>
                <a:t>Builds data product</a:t>
              </a:r>
            </a:p>
            <a:p>
              <a:pPr marL="171450" indent="-171450" algn="just">
                <a:buFont typeface="Arial" panose="020B0604020202020204" pitchFamily="34" charset="0"/>
                <a:buChar char="•"/>
              </a:pPr>
              <a:r>
                <a:rPr lang="en-US" sz="1000" i="1">
                  <a:highlight>
                    <a:srgbClr val="FFFF00"/>
                  </a:highlight>
                </a:rPr>
                <a:t>Builds BI reports</a:t>
              </a:r>
            </a:p>
            <a:p>
              <a:pPr marL="171450" indent="-171450" algn="just">
                <a:buFont typeface="Arial" panose="020B0604020202020204" pitchFamily="34" charset="0"/>
                <a:buChar char="•"/>
              </a:pPr>
              <a:r>
                <a:rPr lang="en-US" sz="1000" i="1"/>
                <a:t>Responsible for Accessible &amp; Secure aspects of the data product</a:t>
              </a:r>
            </a:p>
          </p:txBody>
        </p:sp>
        <p:sp>
          <p:nvSpPr>
            <p:cNvPr id="13" name="ZoneTexte 12">
              <a:extLst>
                <a:ext uri="{FF2B5EF4-FFF2-40B4-BE49-F238E27FC236}">
                  <a16:creationId xmlns:a16="http://schemas.microsoft.com/office/drawing/2014/main" id="{FF3D1D5B-F821-F2AB-C1CC-4FDAA86F8DDE}"/>
                </a:ext>
              </a:extLst>
            </p:cNvPr>
            <p:cNvSpPr txBox="1"/>
            <p:nvPr/>
          </p:nvSpPr>
          <p:spPr>
            <a:xfrm>
              <a:off x="7903535" y="5514378"/>
              <a:ext cx="2088000" cy="400110"/>
            </a:xfrm>
            <a:prstGeom prst="rect">
              <a:avLst/>
            </a:prstGeom>
            <a:noFill/>
          </p:spPr>
          <p:txBody>
            <a:bodyPr wrap="square" rtlCol="0">
              <a:spAutoFit/>
            </a:bodyPr>
            <a:lstStyle/>
            <a:p>
              <a:pPr algn="ctr"/>
              <a:r>
                <a:rPr lang="en-US" sz="1000" b="1"/>
                <a:t>IT</a:t>
              </a:r>
            </a:p>
            <a:p>
              <a:pPr algn="ctr"/>
              <a:r>
                <a:rPr lang="en-US" sz="1000" b="1"/>
                <a:t>Inside data factory team</a:t>
              </a:r>
            </a:p>
          </p:txBody>
        </p:sp>
      </p:grpSp>
      <p:grpSp>
        <p:nvGrpSpPr>
          <p:cNvPr id="37" name="Groupe 36">
            <a:extLst>
              <a:ext uri="{FF2B5EF4-FFF2-40B4-BE49-F238E27FC236}">
                <a16:creationId xmlns:a16="http://schemas.microsoft.com/office/drawing/2014/main" id="{B5627F02-6962-9889-9824-3FF66B07DD57}"/>
              </a:ext>
            </a:extLst>
          </p:cNvPr>
          <p:cNvGrpSpPr/>
          <p:nvPr/>
        </p:nvGrpSpPr>
        <p:grpSpPr>
          <a:xfrm>
            <a:off x="2298439" y="3741508"/>
            <a:ext cx="2126075" cy="2019091"/>
            <a:chOff x="2298439" y="3741508"/>
            <a:chExt cx="2126075" cy="2019091"/>
          </a:xfrm>
        </p:grpSpPr>
        <p:grpSp>
          <p:nvGrpSpPr>
            <p:cNvPr id="25" name="Groupe 24">
              <a:extLst>
                <a:ext uri="{FF2B5EF4-FFF2-40B4-BE49-F238E27FC236}">
                  <a16:creationId xmlns:a16="http://schemas.microsoft.com/office/drawing/2014/main" id="{D4D95415-1205-FFC8-7017-92670698975B}"/>
                </a:ext>
              </a:extLst>
            </p:cNvPr>
            <p:cNvGrpSpPr/>
            <p:nvPr/>
          </p:nvGrpSpPr>
          <p:grpSpPr>
            <a:xfrm>
              <a:off x="3058294" y="3741508"/>
              <a:ext cx="644441" cy="644441"/>
              <a:chOff x="4331305" y="4580512"/>
              <a:chExt cx="644441" cy="644441"/>
            </a:xfrm>
          </p:grpSpPr>
          <p:sp>
            <p:nvSpPr>
              <p:cNvPr id="28" name="Ellipse 27">
                <a:extLst>
                  <a:ext uri="{FF2B5EF4-FFF2-40B4-BE49-F238E27FC236}">
                    <a16:creationId xmlns:a16="http://schemas.microsoft.com/office/drawing/2014/main" id="{B211162B-3D5C-9FD1-0E15-8C375C706173}"/>
                  </a:ext>
                </a:extLst>
              </p:cNvPr>
              <p:cNvSpPr/>
              <p:nvPr/>
            </p:nvSpPr>
            <p:spPr>
              <a:xfrm>
                <a:off x="4331305" y="4580512"/>
                <a:ext cx="644441" cy="644441"/>
              </a:xfrm>
              <a:prstGeom prst="ellipse">
                <a:avLst/>
              </a:prstGeom>
              <a:solidFill>
                <a:srgbClr val="00B0AD">
                  <a:alpha val="5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latin typeface="Graphik" panose="020B0503030202060203" pitchFamily="34" charset="0"/>
                </a:endParaRPr>
              </a:p>
            </p:txBody>
          </p:sp>
          <p:pic>
            <p:nvPicPr>
              <p:cNvPr id="29" name="Picture 29" descr="A picture containing clipart&#10;&#10;Description automatically generated">
                <a:extLst>
                  <a:ext uri="{FF2B5EF4-FFF2-40B4-BE49-F238E27FC236}">
                    <a16:creationId xmlns:a16="http://schemas.microsoft.com/office/drawing/2014/main" id="{320765F4-5991-8EFA-4DAF-A9B85CB802C0}"/>
                  </a:ext>
                </a:extLst>
              </p:cNvPr>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383525" y="4632732"/>
                <a:ext cx="540000" cy="540000"/>
              </a:xfrm>
              <a:prstGeom prst="rect">
                <a:avLst/>
              </a:prstGeom>
            </p:spPr>
          </p:pic>
        </p:grpSp>
        <p:sp>
          <p:nvSpPr>
            <p:cNvPr id="26" name="ZoneTexte 25">
              <a:extLst>
                <a:ext uri="{FF2B5EF4-FFF2-40B4-BE49-F238E27FC236}">
                  <a16:creationId xmlns:a16="http://schemas.microsoft.com/office/drawing/2014/main" id="{58A07627-F078-DCB9-DE8F-2C548BE85094}"/>
                </a:ext>
              </a:extLst>
            </p:cNvPr>
            <p:cNvSpPr txBox="1"/>
            <p:nvPr/>
          </p:nvSpPr>
          <p:spPr>
            <a:xfrm>
              <a:off x="2336514" y="4649377"/>
              <a:ext cx="2088000" cy="553998"/>
            </a:xfrm>
            <a:prstGeom prst="rect">
              <a:avLst/>
            </a:prstGeom>
            <a:noFill/>
          </p:spPr>
          <p:txBody>
            <a:bodyPr wrap="square">
              <a:spAutoFit/>
            </a:bodyPr>
            <a:lstStyle/>
            <a:p>
              <a:pPr marL="171450" indent="-171450">
                <a:buFont typeface="Arial" panose="020B0604020202020204" pitchFamily="34" charset="0"/>
                <a:buChar char="•"/>
              </a:pPr>
              <a:r>
                <a:rPr lang="en-US" sz="1000" i="1"/>
                <a:t>Defines need and arbitrates</a:t>
              </a:r>
            </a:p>
            <a:p>
              <a:pPr marL="171450" indent="-171450">
                <a:buFont typeface="Arial" panose="020B0604020202020204" pitchFamily="34" charset="0"/>
                <a:buChar char="•"/>
              </a:pPr>
              <a:r>
                <a:rPr lang="en-US" sz="1000" i="1"/>
                <a:t>Responsible for Self-describing &amp; Defining aspects of the Data Product.</a:t>
              </a:r>
            </a:p>
          </p:txBody>
        </p:sp>
        <p:sp>
          <p:nvSpPr>
            <p:cNvPr id="27" name="ZoneTexte 26">
              <a:extLst>
                <a:ext uri="{FF2B5EF4-FFF2-40B4-BE49-F238E27FC236}">
                  <a16:creationId xmlns:a16="http://schemas.microsoft.com/office/drawing/2014/main" id="{EFF34416-2F07-E83B-D6B3-BFEF9FF12BCA}"/>
                </a:ext>
              </a:extLst>
            </p:cNvPr>
            <p:cNvSpPr txBox="1"/>
            <p:nvPr/>
          </p:nvSpPr>
          <p:spPr>
            <a:xfrm>
              <a:off x="2805363" y="4438174"/>
              <a:ext cx="1150303" cy="226591"/>
            </a:xfrm>
            <a:prstGeom prst="rect">
              <a:avLst/>
            </a:prstGeom>
            <a:noFill/>
          </p:spPr>
          <p:txBody>
            <a:bodyPr wrap="square" lIns="36000" tIns="36000" rIns="36000" bIns="36000" rtlCol="0">
              <a:spAutoFit/>
            </a:bodyPr>
            <a:lstStyle/>
            <a:p>
              <a:pPr algn="ctr">
                <a:spcBef>
                  <a:spcPts val="600"/>
                </a:spcBef>
              </a:pPr>
              <a:r>
                <a:rPr lang="en-US" sz="1000" b="1"/>
                <a:t>Data Product Owner</a:t>
              </a:r>
            </a:p>
          </p:txBody>
        </p:sp>
        <p:sp>
          <p:nvSpPr>
            <p:cNvPr id="14" name="ZoneTexte 13">
              <a:extLst>
                <a:ext uri="{FF2B5EF4-FFF2-40B4-BE49-F238E27FC236}">
                  <a16:creationId xmlns:a16="http://schemas.microsoft.com/office/drawing/2014/main" id="{70384F88-A743-1E64-1D9C-B64F09550CBB}"/>
                </a:ext>
              </a:extLst>
            </p:cNvPr>
            <p:cNvSpPr txBox="1"/>
            <p:nvPr/>
          </p:nvSpPr>
          <p:spPr>
            <a:xfrm>
              <a:off x="2298439" y="5514378"/>
              <a:ext cx="2088000" cy="246221"/>
            </a:xfrm>
            <a:prstGeom prst="rect">
              <a:avLst/>
            </a:prstGeom>
            <a:noFill/>
          </p:spPr>
          <p:txBody>
            <a:bodyPr wrap="square" rtlCol="0">
              <a:spAutoFit/>
            </a:bodyPr>
            <a:lstStyle/>
            <a:p>
              <a:pPr algn="ctr"/>
              <a:r>
                <a:rPr lang="en-US" sz="1000" b="1"/>
                <a:t>Business</a:t>
              </a:r>
            </a:p>
          </p:txBody>
        </p:sp>
      </p:grpSp>
    </p:spTree>
    <p:extLst>
      <p:ext uri="{BB962C8B-B14F-4D97-AF65-F5344CB8AC3E}">
        <p14:creationId xmlns:p14="http://schemas.microsoft.com/office/powerpoint/2010/main" val="258348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2"/>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B4AD8FD-7CEC-AD63-41A3-769BA7E22CF4}"/>
              </a:ext>
            </a:extLst>
          </p:cNvPr>
          <p:cNvSpPr>
            <a:spLocks noGrp="1"/>
          </p:cNvSpPr>
          <p:nvPr>
            <p:ph type="title"/>
          </p:nvPr>
        </p:nvSpPr>
        <p:spPr/>
        <p:txBody>
          <a:bodyPr anchor="ctr"/>
          <a:lstStyle/>
          <a:p>
            <a:r>
              <a:rPr lang="en-US" sz="3200"/>
              <a:t>Central teams overview</a:t>
            </a:r>
            <a:endParaRPr lang="fr-FR"/>
          </a:p>
        </p:txBody>
      </p:sp>
      <p:sp>
        <p:nvSpPr>
          <p:cNvPr id="3" name="Espace réservé du texte 2">
            <a:extLst>
              <a:ext uri="{FF2B5EF4-FFF2-40B4-BE49-F238E27FC236}">
                <a16:creationId xmlns:a16="http://schemas.microsoft.com/office/drawing/2014/main" id="{073309F0-8ED2-251F-A4CE-7826962E3E57}"/>
              </a:ext>
            </a:extLst>
          </p:cNvPr>
          <p:cNvSpPr>
            <a:spLocks noGrp="1"/>
          </p:cNvSpPr>
          <p:nvPr>
            <p:ph type="body" idx="1"/>
          </p:nvPr>
        </p:nvSpPr>
        <p:spPr>
          <a:xfrm>
            <a:off x="576000" y="910683"/>
            <a:ext cx="11040000" cy="931757"/>
          </a:xfrm>
        </p:spPr>
        <p:txBody>
          <a:bodyPr anchor="t"/>
          <a:lstStyle/>
          <a:p>
            <a:r>
              <a:rPr lang="en-US" sz="2800"/>
              <a:t>The Data Office and Data Platform team provide respectively a governance and a technical framework to work with data. They facilitate access to data.</a:t>
            </a:r>
            <a:endParaRPr lang="fr-FR"/>
          </a:p>
        </p:txBody>
      </p:sp>
      <p:sp>
        <p:nvSpPr>
          <p:cNvPr id="5" name="Espace réservé du pied de page 4">
            <a:extLst>
              <a:ext uri="{FF2B5EF4-FFF2-40B4-BE49-F238E27FC236}">
                <a16:creationId xmlns:a16="http://schemas.microsoft.com/office/drawing/2014/main" id="{53A1664F-B3F0-B005-52A0-714FC848067D}"/>
              </a:ext>
            </a:extLst>
          </p:cNvPr>
          <p:cNvSpPr>
            <a:spLocks noGrp="1"/>
          </p:cNvSpPr>
          <p:nvPr>
            <p:ph type="ftr" sz="quarter" idx="10"/>
          </p:nvPr>
        </p:nvSpPr>
        <p:spPr/>
        <p:txBody>
          <a:bodyPr/>
          <a:lstStyle/>
          <a:p>
            <a:endParaRPr lang="fr-FR">
              <a:latin typeface="+mn-lt"/>
            </a:endParaRPr>
          </a:p>
        </p:txBody>
      </p:sp>
      <p:sp>
        <p:nvSpPr>
          <p:cNvPr id="7" name="ZoneTexte 6">
            <a:extLst>
              <a:ext uri="{FF2B5EF4-FFF2-40B4-BE49-F238E27FC236}">
                <a16:creationId xmlns:a16="http://schemas.microsoft.com/office/drawing/2014/main" id="{FCFA798A-F564-BA20-1FE8-6551624702CA}"/>
              </a:ext>
            </a:extLst>
          </p:cNvPr>
          <p:cNvSpPr txBox="1"/>
          <p:nvPr/>
        </p:nvSpPr>
        <p:spPr>
          <a:xfrm>
            <a:off x="998188" y="3225521"/>
            <a:ext cx="4753606" cy="1200329"/>
          </a:xfrm>
          <a:prstGeom prst="rect">
            <a:avLst/>
          </a:prstGeom>
          <a:noFill/>
        </p:spPr>
        <p:txBody>
          <a:bodyPr wrap="square">
            <a:spAutoFit/>
          </a:bodyPr>
          <a:lstStyle/>
          <a:p>
            <a:pPr algn="just"/>
            <a:r>
              <a:rPr lang="en-US" sz="1200">
                <a:latin typeface="+mn-lt"/>
              </a:rPr>
              <a:t>The data office is the </a:t>
            </a:r>
            <a:r>
              <a:rPr lang="en-US" sz="1200" b="1">
                <a:latin typeface="+mn-lt"/>
              </a:rPr>
              <a:t>single point of contact </a:t>
            </a:r>
            <a:r>
              <a:rPr lang="en-US" sz="1200">
                <a:latin typeface="+mn-lt"/>
              </a:rPr>
              <a:t>for data consumer </a:t>
            </a:r>
          </a:p>
          <a:p>
            <a:pPr algn="just"/>
            <a:r>
              <a:rPr lang="en-US" sz="1200">
                <a:latin typeface="+mn-lt"/>
              </a:rPr>
              <a:t>The data office missions : </a:t>
            </a:r>
          </a:p>
          <a:p>
            <a:pPr marL="171450" indent="-171450" algn="just">
              <a:buFont typeface="Arial" panose="020B0604020202020204" pitchFamily="34" charset="0"/>
              <a:buChar char="•"/>
            </a:pPr>
            <a:r>
              <a:rPr lang="en-US" sz="1200">
                <a:latin typeface="+mn-lt"/>
              </a:rPr>
              <a:t>Qualify data use case, redirect to the appropriate data factory, monitor advancement and adoption</a:t>
            </a:r>
          </a:p>
          <a:p>
            <a:pPr marL="171450" indent="-171450" algn="just">
              <a:buFont typeface="Arial" panose="020B0604020202020204" pitchFamily="34" charset="0"/>
              <a:buChar char="•"/>
            </a:pPr>
            <a:r>
              <a:rPr lang="en-US" sz="1200">
                <a:latin typeface="+mn-lt"/>
              </a:rPr>
              <a:t>Define and implement data governance (roles, responsibilities and process)</a:t>
            </a:r>
          </a:p>
          <a:p>
            <a:pPr marL="171450" indent="-171450" algn="just">
              <a:buFont typeface="Arial" panose="020B0604020202020204" pitchFamily="34" charset="0"/>
              <a:buChar char="•"/>
            </a:pPr>
            <a:r>
              <a:rPr lang="en-US" sz="1200">
                <a:latin typeface="+mn-lt"/>
              </a:rPr>
              <a:t>Animate the data community</a:t>
            </a:r>
          </a:p>
        </p:txBody>
      </p:sp>
      <p:grpSp>
        <p:nvGrpSpPr>
          <p:cNvPr id="10" name="Groupe 9">
            <a:extLst>
              <a:ext uri="{FF2B5EF4-FFF2-40B4-BE49-F238E27FC236}">
                <a16:creationId xmlns:a16="http://schemas.microsoft.com/office/drawing/2014/main" id="{41FD4C3D-C6C1-9A0A-04CC-0429E5F0AE44}"/>
              </a:ext>
            </a:extLst>
          </p:cNvPr>
          <p:cNvGrpSpPr/>
          <p:nvPr/>
        </p:nvGrpSpPr>
        <p:grpSpPr>
          <a:xfrm>
            <a:off x="2346910" y="1977555"/>
            <a:ext cx="1127156" cy="1116000"/>
            <a:chOff x="2337596" y="1732453"/>
            <a:chExt cx="1127156" cy="1116000"/>
          </a:xfrm>
        </p:grpSpPr>
        <p:sp>
          <p:nvSpPr>
            <p:cNvPr id="17" name="Ellipse 16">
              <a:extLst>
                <a:ext uri="{FF2B5EF4-FFF2-40B4-BE49-F238E27FC236}">
                  <a16:creationId xmlns:a16="http://schemas.microsoft.com/office/drawing/2014/main" id="{F24431E3-EE56-C9CF-72FB-9FF59159C9B4}"/>
                </a:ext>
              </a:extLst>
            </p:cNvPr>
            <p:cNvSpPr/>
            <p:nvPr/>
          </p:nvSpPr>
          <p:spPr>
            <a:xfrm>
              <a:off x="2343174" y="1732453"/>
              <a:ext cx="1116000" cy="1116000"/>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ZoneTexte 17">
              <a:extLst>
                <a:ext uri="{FF2B5EF4-FFF2-40B4-BE49-F238E27FC236}">
                  <a16:creationId xmlns:a16="http://schemas.microsoft.com/office/drawing/2014/main" id="{3F01CCDB-6207-E4F6-22EA-2D1E4578BE4B}"/>
                </a:ext>
              </a:extLst>
            </p:cNvPr>
            <p:cNvSpPr txBox="1"/>
            <p:nvPr/>
          </p:nvSpPr>
          <p:spPr>
            <a:xfrm>
              <a:off x="2337596" y="2136565"/>
              <a:ext cx="1127156" cy="307777"/>
            </a:xfrm>
            <a:prstGeom prst="rect">
              <a:avLst/>
            </a:prstGeom>
            <a:noFill/>
          </p:spPr>
          <p:txBody>
            <a:bodyPr wrap="square" rtlCol="0">
              <a:spAutoFit/>
            </a:bodyPr>
            <a:lstStyle/>
            <a:p>
              <a:pPr algn="ctr"/>
              <a:r>
                <a:rPr lang="en-US" sz="1400" b="1">
                  <a:latin typeface="+mn-lt"/>
                </a:rPr>
                <a:t>DATA OFFICE</a:t>
              </a:r>
            </a:p>
          </p:txBody>
        </p:sp>
      </p:grpSp>
      <p:grpSp>
        <p:nvGrpSpPr>
          <p:cNvPr id="11" name="Groupe 10">
            <a:extLst>
              <a:ext uri="{FF2B5EF4-FFF2-40B4-BE49-F238E27FC236}">
                <a16:creationId xmlns:a16="http://schemas.microsoft.com/office/drawing/2014/main" id="{AC298C31-B2E9-2888-5722-A37E641DF85A}"/>
              </a:ext>
            </a:extLst>
          </p:cNvPr>
          <p:cNvGrpSpPr/>
          <p:nvPr/>
        </p:nvGrpSpPr>
        <p:grpSpPr>
          <a:xfrm>
            <a:off x="3474066" y="2180117"/>
            <a:ext cx="929006" cy="871032"/>
            <a:chOff x="3550744" y="1950963"/>
            <a:chExt cx="929006" cy="871032"/>
          </a:xfrm>
        </p:grpSpPr>
        <p:sp>
          <p:nvSpPr>
            <p:cNvPr id="13" name="ZoneTexte 12">
              <a:extLst>
                <a:ext uri="{FF2B5EF4-FFF2-40B4-BE49-F238E27FC236}">
                  <a16:creationId xmlns:a16="http://schemas.microsoft.com/office/drawing/2014/main" id="{43F01042-BB90-A787-8308-5DECFBD06578}"/>
                </a:ext>
              </a:extLst>
            </p:cNvPr>
            <p:cNvSpPr txBox="1"/>
            <p:nvPr/>
          </p:nvSpPr>
          <p:spPr>
            <a:xfrm>
              <a:off x="3550744" y="2595404"/>
              <a:ext cx="929006" cy="226591"/>
            </a:xfrm>
            <a:prstGeom prst="rect">
              <a:avLst/>
            </a:prstGeom>
            <a:noFill/>
          </p:spPr>
          <p:txBody>
            <a:bodyPr wrap="square" lIns="36000" tIns="36000" rIns="36000" bIns="36000" rtlCol="0">
              <a:spAutoFit/>
            </a:bodyPr>
            <a:lstStyle/>
            <a:p>
              <a:pPr algn="ctr">
                <a:spcBef>
                  <a:spcPts val="600"/>
                </a:spcBef>
              </a:pPr>
              <a:r>
                <a:rPr lang="en-US" sz="1000" b="1">
                  <a:latin typeface="+mn-lt"/>
                </a:rPr>
                <a:t>Data Officer</a:t>
              </a:r>
            </a:p>
          </p:txBody>
        </p:sp>
        <p:grpSp>
          <p:nvGrpSpPr>
            <p:cNvPr id="14" name="Groupe 13">
              <a:extLst>
                <a:ext uri="{FF2B5EF4-FFF2-40B4-BE49-F238E27FC236}">
                  <a16:creationId xmlns:a16="http://schemas.microsoft.com/office/drawing/2014/main" id="{FDBCEF86-98F9-73EC-A334-6A1F69F4D83D}"/>
                </a:ext>
              </a:extLst>
            </p:cNvPr>
            <p:cNvGrpSpPr/>
            <p:nvPr/>
          </p:nvGrpSpPr>
          <p:grpSpPr>
            <a:xfrm>
              <a:off x="3681564" y="1950963"/>
              <a:ext cx="644441" cy="644441"/>
              <a:chOff x="1031930" y="4251096"/>
              <a:chExt cx="644441" cy="644441"/>
            </a:xfrm>
          </p:grpSpPr>
          <p:sp>
            <p:nvSpPr>
              <p:cNvPr id="15" name="Ellipse 14">
                <a:extLst>
                  <a:ext uri="{FF2B5EF4-FFF2-40B4-BE49-F238E27FC236}">
                    <a16:creationId xmlns:a16="http://schemas.microsoft.com/office/drawing/2014/main" id="{553E8535-FC41-4B72-D912-0E9CB445F29C}"/>
                  </a:ext>
                </a:extLst>
              </p:cNvPr>
              <p:cNvSpPr/>
              <p:nvPr/>
            </p:nvSpPr>
            <p:spPr>
              <a:xfrm>
                <a:off x="1031930" y="4251096"/>
                <a:ext cx="644441" cy="644441"/>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endParaRPr>
              </a:p>
            </p:txBody>
          </p:sp>
          <p:pic>
            <p:nvPicPr>
              <p:cNvPr id="16" name="Image 15">
                <a:extLst>
                  <a:ext uri="{FF2B5EF4-FFF2-40B4-BE49-F238E27FC236}">
                    <a16:creationId xmlns:a16="http://schemas.microsoft.com/office/drawing/2014/main" id="{6BB33862-C929-6D33-2FD7-013894F00143}"/>
                  </a:ext>
                </a:extLst>
              </p:cNvPr>
              <p:cNvPicPr>
                <a:picLocks noChangeAspect="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84150" y="4303316"/>
                <a:ext cx="540000" cy="540000"/>
              </a:xfrm>
              <a:prstGeom prst="rect">
                <a:avLst/>
              </a:prstGeom>
            </p:spPr>
          </p:pic>
        </p:grpSp>
      </p:grpSp>
      <p:grpSp>
        <p:nvGrpSpPr>
          <p:cNvPr id="33" name="Groupe 32">
            <a:extLst>
              <a:ext uri="{FF2B5EF4-FFF2-40B4-BE49-F238E27FC236}">
                <a16:creationId xmlns:a16="http://schemas.microsoft.com/office/drawing/2014/main" id="{DF1500A0-782B-A207-A27E-3088B4DCB717}"/>
              </a:ext>
            </a:extLst>
          </p:cNvPr>
          <p:cNvGrpSpPr/>
          <p:nvPr/>
        </p:nvGrpSpPr>
        <p:grpSpPr>
          <a:xfrm>
            <a:off x="6778883" y="2003523"/>
            <a:ext cx="4752000" cy="3878722"/>
            <a:chOff x="6778883" y="1758421"/>
            <a:chExt cx="4752000" cy="3878722"/>
          </a:xfrm>
        </p:grpSpPr>
        <p:grpSp>
          <p:nvGrpSpPr>
            <p:cNvPr id="34" name="Groupe 33">
              <a:extLst>
                <a:ext uri="{FF2B5EF4-FFF2-40B4-BE49-F238E27FC236}">
                  <a16:creationId xmlns:a16="http://schemas.microsoft.com/office/drawing/2014/main" id="{CFBB4A15-5342-0989-3D1A-4F3AAC410523}"/>
                </a:ext>
              </a:extLst>
            </p:cNvPr>
            <p:cNvGrpSpPr/>
            <p:nvPr/>
          </p:nvGrpSpPr>
          <p:grpSpPr>
            <a:xfrm>
              <a:off x="7395964" y="4251096"/>
              <a:ext cx="3517839" cy="1386047"/>
              <a:chOff x="7554836" y="4251096"/>
              <a:chExt cx="3517839" cy="1386047"/>
            </a:xfrm>
          </p:grpSpPr>
          <p:grpSp>
            <p:nvGrpSpPr>
              <p:cNvPr id="46" name="Groupe 45">
                <a:extLst>
                  <a:ext uri="{FF2B5EF4-FFF2-40B4-BE49-F238E27FC236}">
                    <a16:creationId xmlns:a16="http://schemas.microsoft.com/office/drawing/2014/main" id="{86ED51E3-A9EE-CE2D-E9B9-92CF9B874AD0}"/>
                  </a:ext>
                </a:extLst>
              </p:cNvPr>
              <p:cNvGrpSpPr/>
              <p:nvPr/>
            </p:nvGrpSpPr>
            <p:grpSpPr>
              <a:xfrm>
                <a:off x="9488675" y="4251096"/>
                <a:ext cx="1584000" cy="1386047"/>
                <a:chOff x="10320629" y="4251096"/>
                <a:chExt cx="1584000" cy="1386047"/>
              </a:xfrm>
            </p:grpSpPr>
            <p:sp>
              <p:nvSpPr>
                <p:cNvPr id="52" name="ZoneTexte 51">
                  <a:extLst>
                    <a:ext uri="{FF2B5EF4-FFF2-40B4-BE49-F238E27FC236}">
                      <a16:creationId xmlns:a16="http://schemas.microsoft.com/office/drawing/2014/main" id="{FEA1BBD2-9FEB-9826-19BB-624625965179}"/>
                    </a:ext>
                  </a:extLst>
                </p:cNvPr>
                <p:cNvSpPr txBox="1"/>
                <p:nvPr/>
              </p:nvSpPr>
              <p:spPr>
                <a:xfrm>
                  <a:off x="10320629" y="5175478"/>
                  <a:ext cx="1584000" cy="461665"/>
                </a:xfrm>
                <a:prstGeom prst="rect">
                  <a:avLst/>
                </a:prstGeom>
                <a:noFill/>
              </p:spPr>
              <p:txBody>
                <a:bodyPr wrap="square" lIns="0" tIns="0" rIns="0" bIns="0">
                  <a:spAutoFit/>
                </a:bodyPr>
                <a:lstStyle/>
                <a:p>
                  <a:pPr marL="171450" indent="-171450">
                    <a:buFont typeface="Arial" panose="020B0604020202020204" pitchFamily="34" charset="0"/>
                    <a:buChar char="•"/>
                  </a:pPr>
                  <a:r>
                    <a:rPr lang="en-US" sz="1000"/>
                    <a:t>Design Data platform</a:t>
                  </a:r>
                </a:p>
                <a:p>
                  <a:pPr marL="171450" indent="-171450">
                    <a:buFont typeface="Arial" panose="020B0604020202020204" pitchFamily="34" charset="0"/>
                    <a:buChar char="•"/>
                  </a:pPr>
                  <a:r>
                    <a:rPr lang="en-US" sz="1000"/>
                    <a:t>Design technical template for data products</a:t>
                  </a:r>
                  <a:endParaRPr lang="en-US" sz="1000">
                    <a:solidFill>
                      <a:schemeClr val="tx1"/>
                    </a:solidFill>
                  </a:endParaRPr>
                </a:p>
              </p:txBody>
            </p:sp>
            <p:sp>
              <p:nvSpPr>
                <p:cNvPr id="53" name="ZoneTexte 52">
                  <a:extLst>
                    <a:ext uri="{FF2B5EF4-FFF2-40B4-BE49-F238E27FC236}">
                      <a16:creationId xmlns:a16="http://schemas.microsoft.com/office/drawing/2014/main" id="{B1913941-D025-9807-F679-A76F16C69440}"/>
                    </a:ext>
                  </a:extLst>
                </p:cNvPr>
                <p:cNvSpPr txBox="1"/>
                <p:nvPr/>
              </p:nvSpPr>
              <p:spPr>
                <a:xfrm>
                  <a:off x="10330307" y="4895537"/>
                  <a:ext cx="1564644" cy="226591"/>
                </a:xfrm>
                <a:prstGeom prst="rect">
                  <a:avLst/>
                </a:prstGeom>
                <a:noFill/>
              </p:spPr>
              <p:txBody>
                <a:bodyPr wrap="square" lIns="36000" tIns="36000" rIns="36000" bIns="36000" rtlCol="0">
                  <a:spAutoFit/>
                </a:bodyPr>
                <a:lstStyle/>
                <a:p>
                  <a:pPr algn="ctr">
                    <a:spcBef>
                      <a:spcPts val="600"/>
                    </a:spcBef>
                  </a:pPr>
                  <a:r>
                    <a:rPr lang="en-US" sz="1000" b="1">
                      <a:latin typeface="+mn-lt"/>
                    </a:rPr>
                    <a:t>Enterprise architect</a:t>
                  </a:r>
                </a:p>
              </p:txBody>
            </p:sp>
            <p:grpSp>
              <p:nvGrpSpPr>
                <p:cNvPr id="54" name="Groupe 53">
                  <a:extLst>
                    <a:ext uri="{FF2B5EF4-FFF2-40B4-BE49-F238E27FC236}">
                      <a16:creationId xmlns:a16="http://schemas.microsoft.com/office/drawing/2014/main" id="{8F5103FE-A366-427B-B893-6C5521EDBD10}"/>
                    </a:ext>
                  </a:extLst>
                </p:cNvPr>
                <p:cNvGrpSpPr/>
                <p:nvPr/>
              </p:nvGrpSpPr>
              <p:grpSpPr>
                <a:xfrm>
                  <a:off x="10790409" y="4251096"/>
                  <a:ext cx="644441" cy="644441"/>
                  <a:chOff x="10860416" y="4258110"/>
                  <a:chExt cx="644441" cy="644441"/>
                </a:xfrm>
              </p:grpSpPr>
              <p:sp>
                <p:nvSpPr>
                  <p:cNvPr id="55" name="Ellipse 54">
                    <a:extLst>
                      <a:ext uri="{FF2B5EF4-FFF2-40B4-BE49-F238E27FC236}">
                        <a16:creationId xmlns:a16="http://schemas.microsoft.com/office/drawing/2014/main" id="{62A376EA-1431-BF85-6E97-C31C0CDD907D}"/>
                      </a:ext>
                    </a:extLst>
                  </p:cNvPr>
                  <p:cNvSpPr/>
                  <p:nvPr/>
                </p:nvSpPr>
                <p:spPr>
                  <a:xfrm>
                    <a:off x="10860416" y="4258110"/>
                    <a:ext cx="644441" cy="644441"/>
                  </a:xfrm>
                  <a:prstGeom prst="ellipse">
                    <a:avLst/>
                  </a:prstGeom>
                  <a:solidFill>
                    <a:schemeClr val="tx2">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endParaRPr>
                  </a:p>
                </p:txBody>
              </p:sp>
              <p:pic>
                <p:nvPicPr>
                  <p:cNvPr id="56" name="Image 55">
                    <a:extLst>
                      <a:ext uri="{FF2B5EF4-FFF2-40B4-BE49-F238E27FC236}">
                        <a16:creationId xmlns:a16="http://schemas.microsoft.com/office/drawing/2014/main" id="{9C6F6BAE-8DED-AB21-EA2D-0AE2E2602870}"/>
                      </a:ext>
                    </a:extLst>
                  </p:cNvPr>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912636" y="4312452"/>
                    <a:ext cx="540000" cy="535756"/>
                  </a:xfrm>
                  <a:prstGeom prst="rect">
                    <a:avLst/>
                  </a:prstGeom>
                </p:spPr>
              </p:pic>
            </p:grpSp>
          </p:grpSp>
          <p:grpSp>
            <p:nvGrpSpPr>
              <p:cNvPr id="47" name="Groupe 46">
                <a:extLst>
                  <a:ext uri="{FF2B5EF4-FFF2-40B4-BE49-F238E27FC236}">
                    <a16:creationId xmlns:a16="http://schemas.microsoft.com/office/drawing/2014/main" id="{4F9AE11B-535D-F968-3DD3-691088472071}"/>
                  </a:ext>
                </a:extLst>
              </p:cNvPr>
              <p:cNvGrpSpPr/>
              <p:nvPr/>
            </p:nvGrpSpPr>
            <p:grpSpPr>
              <a:xfrm>
                <a:off x="7554836" y="4251096"/>
                <a:ext cx="1584000" cy="1232159"/>
                <a:chOff x="8362883" y="4251096"/>
                <a:chExt cx="1584000" cy="1232159"/>
              </a:xfrm>
            </p:grpSpPr>
            <p:sp>
              <p:nvSpPr>
                <p:cNvPr id="48" name="ZoneTexte 47">
                  <a:extLst>
                    <a:ext uri="{FF2B5EF4-FFF2-40B4-BE49-F238E27FC236}">
                      <a16:creationId xmlns:a16="http://schemas.microsoft.com/office/drawing/2014/main" id="{EE8BD97A-A712-B66D-B52D-77ACA667D12C}"/>
                    </a:ext>
                  </a:extLst>
                </p:cNvPr>
                <p:cNvSpPr txBox="1"/>
                <p:nvPr/>
              </p:nvSpPr>
              <p:spPr>
                <a:xfrm>
                  <a:off x="8362883" y="5175478"/>
                  <a:ext cx="1584000" cy="307777"/>
                </a:xfrm>
                <a:prstGeom prst="rect">
                  <a:avLst/>
                </a:prstGeom>
                <a:noFill/>
              </p:spPr>
              <p:txBody>
                <a:bodyPr wrap="square" lIns="0" tIns="0" rIns="0" bIns="0">
                  <a:spAutoFit/>
                </a:bodyPr>
                <a:lstStyle/>
                <a:p>
                  <a:pPr marL="171450" indent="-171450">
                    <a:buFont typeface="Arial" panose="020B0604020202020204" pitchFamily="34" charset="0"/>
                    <a:buChar char="•"/>
                  </a:pPr>
                  <a:r>
                    <a:rPr lang="en-US" sz="1000"/>
                    <a:t>Build technical template for data products</a:t>
                  </a:r>
                </a:p>
              </p:txBody>
            </p:sp>
            <p:sp>
              <p:nvSpPr>
                <p:cNvPr id="49" name="ZoneTexte 48">
                  <a:extLst>
                    <a:ext uri="{FF2B5EF4-FFF2-40B4-BE49-F238E27FC236}">
                      <a16:creationId xmlns:a16="http://schemas.microsoft.com/office/drawing/2014/main" id="{638449EC-BA35-C052-2D5F-E6D207EE5C79}"/>
                    </a:ext>
                  </a:extLst>
                </p:cNvPr>
                <p:cNvSpPr txBox="1"/>
                <p:nvPr/>
              </p:nvSpPr>
              <p:spPr>
                <a:xfrm>
                  <a:off x="8412129" y="4895537"/>
                  <a:ext cx="1485508" cy="226591"/>
                </a:xfrm>
                <a:prstGeom prst="rect">
                  <a:avLst/>
                </a:prstGeom>
                <a:noFill/>
              </p:spPr>
              <p:txBody>
                <a:bodyPr wrap="square" lIns="36000" tIns="36000" rIns="36000" bIns="36000" rtlCol="0">
                  <a:spAutoFit/>
                </a:bodyPr>
                <a:lstStyle/>
                <a:p>
                  <a:pPr algn="ctr">
                    <a:spcBef>
                      <a:spcPts val="600"/>
                    </a:spcBef>
                  </a:pPr>
                  <a:r>
                    <a:rPr lang="en-US" sz="1000" b="1">
                      <a:latin typeface="+mn-lt"/>
                    </a:rPr>
                    <a:t>Data Platform engineer</a:t>
                  </a:r>
                </a:p>
              </p:txBody>
            </p:sp>
            <p:sp>
              <p:nvSpPr>
                <p:cNvPr id="50" name="Ellipse 49">
                  <a:extLst>
                    <a:ext uri="{FF2B5EF4-FFF2-40B4-BE49-F238E27FC236}">
                      <a16:creationId xmlns:a16="http://schemas.microsoft.com/office/drawing/2014/main" id="{CF98BF53-B1F4-97DB-C181-3670D757EEF8}"/>
                    </a:ext>
                  </a:extLst>
                </p:cNvPr>
                <p:cNvSpPr/>
                <p:nvPr/>
              </p:nvSpPr>
              <p:spPr>
                <a:xfrm>
                  <a:off x="8832663" y="4251096"/>
                  <a:ext cx="644441" cy="644441"/>
                </a:xfrm>
                <a:prstGeom prst="ellipse">
                  <a:avLst/>
                </a:prstGeom>
                <a:solidFill>
                  <a:schemeClr val="tx2">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endParaRPr>
                </a:p>
              </p:txBody>
            </p:sp>
            <p:pic>
              <p:nvPicPr>
                <p:cNvPr id="51" name="Image 50">
                  <a:extLst>
                    <a:ext uri="{FF2B5EF4-FFF2-40B4-BE49-F238E27FC236}">
                      <a16:creationId xmlns:a16="http://schemas.microsoft.com/office/drawing/2014/main" id="{6734112C-A57E-DE4B-721F-AE7850EEF3EB}"/>
                    </a:ext>
                  </a:extLst>
                </p:cNvPr>
                <p:cNvPicPr>
                  <a:picLocks noChangeAspect="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8884883" y="4303316"/>
                  <a:ext cx="540000" cy="540000"/>
                </a:xfrm>
                <a:prstGeom prst="rect">
                  <a:avLst/>
                </a:prstGeom>
              </p:spPr>
            </p:pic>
          </p:grpSp>
        </p:grpSp>
        <p:grpSp>
          <p:nvGrpSpPr>
            <p:cNvPr id="35" name="Groupe 34">
              <a:extLst>
                <a:ext uri="{FF2B5EF4-FFF2-40B4-BE49-F238E27FC236}">
                  <a16:creationId xmlns:a16="http://schemas.microsoft.com/office/drawing/2014/main" id="{3752E0C7-207D-4ABD-0BA8-C7BA102FCB04}"/>
                </a:ext>
              </a:extLst>
            </p:cNvPr>
            <p:cNvGrpSpPr/>
            <p:nvPr/>
          </p:nvGrpSpPr>
          <p:grpSpPr>
            <a:xfrm>
              <a:off x="6778883" y="1758421"/>
              <a:ext cx="4752000" cy="2237661"/>
              <a:chOff x="6778883" y="1758421"/>
              <a:chExt cx="4752000" cy="2237661"/>
            </a:xfrm>
          </p:grpSpPr>
          <p:sp>
            <p:nvSpPr>
              <p:cNvPr id="36" name="ZoneTexte 35">
                <a:extLst>
                  <a:ext uri="{FF2B5EF4-FFF2-40B4-BE49-F238E27FC236}">
                    <a16:creationId xmlns:a16="http://schemas.microsoft.com/office/drawing/2014/main" id="{F2508D23-3B1A-6221-4FC4-F86E2FA6EC10}"/>
                  </a:ext>
                </a:extLst>
              </p:cNvPr>
              <p:cNvSpPr txBox="1"/>
              <p:nvPr/>
            </p:nvSpPr>
            <p:spPr>
              <a:xfrm>
                <a:off x="6778883" y="2980419"/>
                <a:ext cx="4752000" cy="1015663"/>
              </a:xfrm>
              <a:prstGeom prst="rect">
                <a:avLst/>
              </a:prstGeom>
              <a:noFill/>
            </p:spPr>
            <p:txBody>
              <a:bodyPr wrap="square">
                <a:spAutoFit/>
              </a:bodyPr>
              <a:lstStyle/>
              <a:p>
                <a:pPr algn="just"/>
                <a:r>
                  <a:rPr lang="en-US" sz="1200">
                    <a:latin typeface="+mn-lt"/>
                  </a:rPr>
                  <a:t>The </a:t>
                </a:r>
                <a:r>
                  <a:rPr lang="en-US" sz="1200" b="1">
                    <a:latin typeface="+mn-lt"/>
                  </a:rPr>
                  <a:t>Data Platform Team </a:t>
                </a:r>
                <a:r>
                  <a:rPr lang="en-US" sz="1200">
                    <a:latin typeface="+mn-lt"/>
                  </a:rPr>
                  <a:t>provides a </a:t>
                </a:r>
                <a:r>
                  <a:rPr lang="en-US" sz="1200" b="1">
                    <a:latin typeface="+mn-lt"/>
                  </a:rPr>
                  <a:t>self-service data platform </a:t>
                </a:r>
                <a:r>
                  <a:rPr lang="en-US" sz="1200">
                    <a:latin typeface="+mn-lt"/>
                  </a:rPr>
                  <a:t>in order to create </a:t>
                </a:r>
                <a:r>
                  <a:rPr lang="en-US" sz="1200" b="1">
                    <a:latin typeface="+mn-lt"/>
                  </a:rPr>
                  <a:t>the rules and standards </a:t>
                </a:r>
                <a:r>
                  <a:rPr lang="en-US" sz="1200">
                    <a:latin typeface="+mn-lt"/>
                  </a:rPr>
                  <a:t>for how data should be managed and used, so that it is secure and reliable for the entire organization. Brings </a:t>
                </a:r>
                <a:r>
                  <a:rPr lang="en-US" sz="1200" b="1">
                    <a:latin typeface="+mn-lt"/>
                  </a:rPr>
                  <a:t>best practices &amp; data governance solutions </a:t>
                </a:r>
                <a:r>
                  <a:rPr lang="en-US" sz="1200">
                    <a:latin typeface="+mn-lt"/>
                  </a:rPr>
                  <a:t>for central data discovery and observability of data products. </a:t>
                </a:r>
              </a:p>
            </p:txBody>
          </p:sp>
          <p:grpSp>
            <p:nvGrpSpPr>
              <p:cNvPr id="37" name="Groupe 36">
                <a:extLst>
                  <a:ext uri="{FF2B5EF4-FFF2-40B4-BE49-F238E27FC236}">
                    <a16:creationId xmlns:a16="http://schemas.microsoft.com/office/drawing/2014/main" id="{22C9DA08-C6CE-12F8-40A6-E116A63F2771}"/>
                  </a:ext>
                </a:extLst>
              </p:cNvPr>
              <p:cNvGrpSpPr/>
              <p:nvPr/>
            </p:nvGrpSpPr>
            <p:grpSpPr>
              <a:xfrm>
                <a:off x="8154230" y="1758421"/>
                <a:ext cx="1127157" cy="1116000"/>
                <a:chOff x="8154230" y="1716459"/>
                <a:chExt cx="1127157" cy="1116000"/>
              </a:xfrm>
            </p:grpSpPr>
            <p:sp>
              <p:nvSpPr>
                <p:cNvPr id="44" name="Rectangle 43">
                  <a:extLst>
                    <a:ext uri="{FF2B5EF4-FFF2-40B4-BE49-F238E27FC236}">
                      <a16:creationId xmlns:a16="http://schemas.microsoft.com/office/drawing/2014/main" id="{F689E3C8-85EF-73DB-6B90-7E757A869DE0}"/>
                    </a:ext>
                  </a:extLst>
                </p:cNvPr>
                <p:cNvSpPr/>
                <p:nvPr/>
              </p:nvSpPr>
              <p:spPr>
                <a:xfrm>
                  <a:off x="8159808" y="1716459"/>
                  <a:ext cx="1116000" cy="1116000"/>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5" name="ZoneTexte 44">
                  <a:extLst>
                    <a:ext uri="{FF2B5EF4-FFF2-40B4-BE49-F238E27FC236}">
                      <a16:creationId xmlns:a16="http://schemas.microsoft.com/office/drawing/2014/main" id="{5B012DD2-31B3-F3FB-BE6E-05B638744D0E}"/>
                    </a:ext>
                  </a:extLst>
                </p:cNvPr>
                <p:cNvSpPr txBox="1"/>
                <p:nvPr/>
              </p:nvSpPr>
              <p:spPr>
                <a:xfrm>
                  <a:off x="8154230" y="1905127"/>
                  <a:ext cx="1127157" cy="738664"/>
                </a:xfrm>
                <a:prstGeom prst="rect">
                  <a:avLst/>
                </a:prstGeom>
                <a:noFill/>
              </p:spPr>
              <p:txBody>
                <a:bodyPr wrap="square" lIns="0" rIns="0" rtlCol="0">
                  <a:spAutoFit/>
                </a:bodyPr>
                <a:lstStyle/>
                <a:p>
                  <a:pPr algn="ctr">
                    <a:spcBef>
                      <a:spcPts val="600"/>
                    </a:spcBef>
                  </a:pPr>
                  <a:r>
                    <a:rPr lang="en-US" sz="1400" b="1">
                      <a:latin typeface="+mn-lt"/>
                    </a:rPr>
                    <a:t>DATA PLATFORM TEAM</a:t>
                  </a:r>
                  <a:endParaRPr lang="en-US" sz="1050">
                    <a:latin typeface="+mn-lt"/>
                  </a:endParaRPr>
                </a:p>
              </p:txBody>
            </p:sp>
          </p:grpSp>
          <p:grpSp>
            <p:nvGrpSpPr>
              <p:cNvPr id="38" name="Groupe 37">
                <a:extLst>
                  <a:ext uri="{FF2B5EF4-FFF2-40B4-BE49-F238E27FC236}">
                    <a16:creationId xmlns:a16="http://schemas.microsoft.com/office/drawing/2014/main" id="{2E835DE5-DD88-4401-C69D-29C7D5E43934}"/>
                  </a:ext>
                </a:extLst>
              </p:cNvPr>
              <p:cNvGrpSpPr/>
              <p:nvPr/>
            </p:nvGrpSpPr>
            <p:grpSpPr>
              <a:xfrm>
                <a:off x="9386106" y="1915993"/>
                <a:ext cx="1034540" cy="961011"/>
                <a:chOff x="9386106" y="1955372"/>
                <a:chExt cx="1034540" cy="961011"/>
              </a:xfrm>
            </p:grpSpPr>
            <p:grpSp>
              <p:nvGrpSpPr>
                <p:cNvPr id="40" name="Groupe 39">
                  <a:extLst>
                    <a:ext uri="{FF2B5EF4-FFF2-40B4-BE49-F238E27FC236}">
                      <a16:creationId xmlns:a16="http://schemas.microsoft.com/office/drawing/2014/main" id="{5DFFDA0B-4DB5-8058-000E-EBE6EC03EBC4}"/>
                    </a:ext>
                  </a:extLst>
                </p:cNvPr>
                <p:cNvGrpSpPr/>
                <p:nvPr/>
              </p:nvGrpSpPr>
              <p:grpSpPr>
                <a:xfrm>
                  <a:off x="9581156" y="1955372"/>
                  <a:ext cx="644441" cy="644441"/>
                  <a:chOff x="6889312" y="4258110"/>
                  <a:chExt cx="644441" cy="644441"/>
                </a:xfrm>
              </p:grpSpPr>
              <p:sp>
                <p:nvSpPr>
                  <p:cNvPr id="42" name="Ellipse 41">
                    <a:extLst>
                      <a:ext uri="{FF2B5EF4-FFF2-40B4-BE49-F238E27FC236}">
                        <a16:creationId xmlns:a16="http://schemas.microsoft.com/office/drawing/2014/main" id="{4BA81582-F3D4-4368-058B-B2F016903D7B}"/>
                      </a:ext>
                    </a:extLst>
                  </p:cNvPr>
                  <p:cNvSpPr/>
                  <p:nvPr/>
                </p:nvSpPr>
                <p:spPr>
                  <a:xfrm>
                    <a:off x="6889312" y="4258110"/>
                    <a:ext cx="644441" cy="644441"/>
                  </a:xfrm>
                  <a:prstGeom prst="ellipse">
                    <a:avLst/>
                  </a:prstGeom>
                  <a:solidFill>
                    <a:schemeClr val="tx2">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endParaRPr>
                  </a:p>
                </p:txBody>
              </p:sp>
              <p:pic>
                <p:nvPicPr>
                  <p:cNvPr id="43" name="Image 42">
                    <a:extLst>
                      <a:ext uri="{FF2B5EF4-FFF2-40B4-BE49-F238E27FC236}">
                        <a16:creationId xmlns:a16="http://schemas.microsoft.com/office/drawing/2014/main" id="{E23141D1-30E8-1A44-9EE4-4F59D159AD24}"/>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941532" y="4310330"/>
                    <a:ext cx="540000" cy="540000"/>
                  </a:xfrm>
                  <a:prstGeom prst="rect">
                    <a:avLst/>
                  </a:prstGeom>
                </p:spPr>
              </p:pic>
            </p:grpSp>
            <p:sp>
              <p:nvSpPr>
                <p:cNvPr id="41" name="ZoneTexte 40">
                  <a:extLst>
                    <a:ext uri="{FF2B5EF4-FFF2-40B4-BE49-F238E27FC236}">
                      <a16:creationId xmlns:a16="http://schemas.microsoft.com/office/drawing/2014/main" id="{DC0CB1D5-966F-5588-5A89-7352EA84611F}"/>
                    </a:ext>
                  </a:extLst>
                </p:cNvPr>
                <p:cNvSpPr txBox="1"/>
                <p:nvPr/>
              </p:nvSpPr>
              <p:spPr>
                <a:xfrm>
                  <a:off x="9386106" y="2608606"/>
                  <a:ext cx="1034540" cy="307777"/>
                </a:xfrm>
                <a:prstGeom prst="rect">
                  <a:avLst/>
                </a:prstGeom>
                <a:noFill/>
              </p:spPr>
              <p:txBody>
                <a:bodyPr wrap="square" lIns="0" tIns="0" rIns="0" bIns="0" rtlCol="0">
                  <a:spAutoFit/>
                </a:bodyPr>
                <a:lstStyle/>
                <a:p>
                  <a:pPr algn="ctr"/>
                  <a:r>
                    <a:rPr lang="en-US" sz="1000" b="1">
                      <a:latin typeface="+mn-lt"/>
                    </a:rPr>
                    <a:t>Data Platform Product Owner</a:t>
                  </a:r>
                </a:p>
              </p:txBody>
            </p:sp>
          </p:grpSp>
        </p:grpSp>
      </p:grpSp>
      <p:sp>
        <p:nvSpPr>
          <p:cNvPr id="61" name="ZoneTexte 60">
            <a:extLst>
              <a:ext uri="{FF2B5EF4-FFF2-40B4-BE49-F238E27FC236}">
                <a16:creationId xmlns:a16="http://schemas.microsoft.com/office/drawing/2014/main" id="{71A58203-A04E-AC35-A769-A154C8A2D8AB}"/>
              </a:ext>
            </a:extLst>
          </p:cNvPr>
          <p:cNvSpPr txBox="1"/>
          <p:nvPr/>
        </p:nvSpPr>
        <p:spPr>
          <a:xfrm>
            <a:off x="2621909" y="5487261"/>
            <a:ext cx="1579227" cy="307777"/>
          </a:xfrm>
          <a:prstGeom prst="rect">
            <a:avLst/>
          </a:prstGeom>
          <a:noFill/>
        </p:spPr>
        <p:txBody>
          <a:bodyPr wrap="square" lIns="0" tIns="0" rIns="0" bIns="0">
            <a:spAutoFit/>
          </a:bodyPr>
          <a:lstStyle/>
          <a:p>
            <a:pPr marL="171450" indent="-171450" algn="just">
              <a:buFont typeface="Arial" panose="020B0604020202020204" pitchFamily="34" charset="0"/>
              <a:buChar char="•"/>
            </a:pPr>
            <a:r>
              <a:rPr lang="en-US" sz="1000" i="1"/>
              <a:t>Help publish data product</a:t>
            </a:r>
          </a:p>
          <a:p>
            <a:pPr marL="171450" indent="-171450" algn="just">
              <a:buFont typeface="Arial" panose="020B0604020202020204" pitchFamily="34" charset="0"/>
              <a:buChar char="•"/>
            </a:pPr>
            <a:r>
              <a:rPr lang="en-US" sz="1000" i="1"/>
              <a:t>Manage data catalog</a:t>
            </a:r>
          </a:p>
        </p:txBody>
      </p:sp>
      <p:sp>
        <p:nvSpPr>
          <p:cNvPr id="62" name="ZoneTexte 61">
            <a:extLst>
              <a:ext uri="{FF2B5EF4-FFF2-40B4-BE49-F238E27FC236}">
                <a16:creationId xmlns:a16="http://schemas.microsoft.com/office/drawing/2014/main" id="{8E0EBF56-7400-C4FC-6600-625293E524CE}"/>
              </a:ext>
            </a:extLst>
          </p:cNvPr>
          <p:cNvSpPr txBox="1"/>
          <p:nvPr/>
        </p:nvSpPr>
        <p:spPr>
          <a:xfrm>
            <a:off x="2621909" y="5200306"/>
            <a:ext cx="1565577" cy="226591"/>
          </a:xfrm>
          <a:prstGeom prst="rect">
            <a:avLst/>
          </a:prstGeom>
          <a:noFill/>
        </p:spPr>
        <p:txBody>
          <a:bodyPr wrap="square" lIns="36000" tIns="36000" rIns="36000" bIns="36000" rtlCol="0">
            <a:spAutoFit/>
          </a:bodyPr>
          <a:lstStyle/>
          <a:p>
            <a:pPr algn="ctr"/>
            <a:r>
              <a:rPr lang="en-US" sz="1000" b="1">
                <a:latin typeface="+mn-lt"/>
              </a:rPr>
              <a:t>Data governance facilitator</a:t>
            </a:r>
          </a:p>
        </p:txBody>
      </p:sp>
      <p:grpSp>
        <p:nvGrpSpPr>
          <p:cNvPr id="63" name="Groupe 62">
            <a:extLst>
              <a:ext uri="{FF2B5EF4-FFF2-40B4-BE49-F238E27FC236}">
                <a16:creationId xmlns:a16="http://schemas.microsoft.com/office/drawing/2014/main" id="{802DB91C-7271-5B54-813A-266247CFE7B6}"/>
              </a:ext>
            </a:extLst>
          </p:cNvPr>
          <p:cNvGrpSpPr/>
          <p:nvPr/>
        </p:nvGrpSpPr>
        <p:grpSpPr>
          <a:xfrm>
            <a:off x="3089302" y="4555865"/>
            <a:ext cx="644441" cy="644441"/>
            <a:chOff x="2572226" y="4251096"/>
            <a:chExt cx="644441" cy="644441"/>
          </a:xfrm>
        </p:grpSpPr>
        <p:sp>
          <p:nvSpPr>
            <p:cNvPr id="64" name="Ellipse 63">
              <a:extLst>
                <a:ext uri="{FF2B5EF4-FFF2-40B4-BE49-F238E27FC236}">
                  <a16:creationId xmlns:a16="http://schemas.microsoft.com/office/drawing/2014/main" id="{5283049A-264B-06BE-3836-B4E2018E30BC}"/>
                </a:ext>
              </a:extLst>
            </p:cNvPr>
            <p:cNvSpPr/>
            <p:nvPr/>
          </p:nvSpPr>
          <p:spPr>
            <a:xfrm>
              <a:off x="2572226" y="4251096"/>
              <a:ext cx="644441" cy="644441"/>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endParaRPr>
            </a:p>
          </p:txBody>
        </p:sp>
        <p:pic>
          <p:nvPicPr>
            <p:cNvPr id="65" name="Picture 74" descr="A picture containing vector graphics&#10;&#10;Description automatically generated">
              <a:extLst>
                <a:ext uri="{FF2B5EF4-FFF2-40B4-BE49-F238E27FC236}">
                  <a16:creationId xmlns:a16="http://schemas.microsoft.com/office/drawing/2014/main" id="{7D0E5C10-52C0-CE30-E42E-61F8B6F87111}"/>
                </a:ext>
              </a:extLst>
            </p:cNvPr>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2624446" y="4303316"/>
              <a:ext cx="540000" cy="540000"/>
            </a:xfrm>
            <a:prstGeom prst="rect">
              <a:avLst/>
            </a:prstGeom>
          </p:spPr>
        </p:pic>
      </p:grpSp>
      <p:grpSp>
        <p:nvGrpSpPr>
          <p:cNvPr id="4" name="Groupe 3">
            <a:extLst>
              <a:ext uri="{FF2B5EF4-FFF2-40B4-BE49-F238E27FC236}">
                <a16:creationId xmlns:a16="http://schemas.microsoft.com/office/drawing/2014/main" id="{35674A36-7143-E64B-6D83-DBFD2F3DDA8F}"/>
              </a:ext>
            </a:extLst>
          </p:cNvPr>
          <p:cNvGrpSpPr/>
          <p:nvPr/>
        </p:nvGrpSpPr>
        <p:grpSpPr>
          <a:xfrm>
            <a:off x="805900" y="4555865"/>
            <a:ext cx="1579227" cy="1085284"/>
            <a:chOff x="805900" y="4555865"/>
            <a:chExt cx="1579227" cy="1085284"/>
          </a:xfrm>
        </p:grpSpPr>
        <p:sp>
          <p:nvSpPr>
            <p:cNvPr id="20" name="ZoneTexte 19">
              <a:extLst>
                <a:ext uri="{FF2B5EF4-FFF2-40B4-BE49-F238E27FC236}">
                  <a16:creationId xmlns:a16="http://schemas.microsoft.com/office/drawing/2014/main" id="{E4461FF9-ADFF-6079-461C-FAFB3F620747}"/>
                </a:ext>
              </a:extLst>
            </p:cNvPr>
            <p:cNvSpPr txBox="1"/>
            <p:nvPr/>
          </p:nvSpPr>
          <p:spPr>
            <a:xfrm>
              <a:off x="805900" y="5487261"/>
              <a:ext cx="1579227" cy="153888"/>
            </a:xfrm>
            <a:prstGeom prst="rect">
              <a:avLst/>
            </a:prstGeom>
            <a:noFill/>
          </p:spPr>
          <p:txBody>
            <a:bodyPr wrap="square" lIns="0" tIns="0" rIns="0" bIns="0">
              <a:spAutoFit/>
            </a:bodyPr>
            <a:lstStyle/>
            <a:p>
              <a:pPr marL="171450" indent="-171450" algn="just">
                <a:buFont typeface="Arial" panose="020B0604020202020204" pitchFamily="34" charset="0"/>
                <a:buChar char="•"/>
              </a:pPr>
              <a:r>
                <a:rPr lang="en-US" sz="1000" i="1">
                  <a:highlight>
                    <a:srgbClr val="FFFF00"/>
                  </a:highlight>
                </a:rPr>
                <a:t>Qualify Use case</a:t>
              </a:r>
            </a:p>
          </p:txBody>
        </p:sp>
        <p:sp>
          <p:nvSpPr>
            <p:cNvPr id="21" name="ZoneTexte 20">
              <a:extLst>
                <a:ext uri="{FF2B5EF4-FFF2-40B4-BE49-F238E27FC236}">
                  <a16:creationId xmlns:a16="http://schemas.microsoft.com/office/drawing/2014/main" id="{86BA3914-344A-4281-9737-F2753E969782}"/>
                </a:ext>
              </a:extLst>
            </p:cNvPr>
            <p:cNvSpPr txBox="1"/>
            <p:nvPr/>
          </p:nvSpPr>
          <p:spPr>
            <a:xfrm>
              <a:off x="805900" y="5200306"/>
              <a:ext cx="1565577" cy="226591"/>
            </a:xfrm>
            <a:prstGeom prst="rect">
              <a:avLst/>
            </a:prstGeom>
            <a:noFill/>
          </p:spPr>
          <p:txBody>
            <a:bodyPr wrap="square" lIns="36000" tIns="36000" rIns="36000" bIns="36000" rtlCol="0">
              <a:spAutoFit/>
            </a:bodyPr>
            <a:lstStyle/>
            <a:p>
              <a:pPr algn="ctr"/>
              <a:r>
                <a:rPr lang="en-US" sz="1000" b="1">
                  <a:highlight>
                    <a:srgbClr val="FFFF00"/>
                  </a:highlight>
                  <a:latin typeface="+mn-lt"/>
                </a:rPr>
                <a:t>Data Analyst</a:t>
              </a:r>
            </a:p>
          </p:txBody>
        </p:sp>
        <p:grpSp>
          <p:nvGrpSpPr>
            <p:cNvPr id="22" name="Groupe 21">
              <a:extLst>
                <a:ext uri="{FF2B5EF4-FFF2-40B4-BE49-F238E27FC236}">
                  <a16:creationId xmlns:a16="http://schemas.microsoft.com/office/drawing/2014/main" id="{05785DC0-0DF3-FBE8-AA3E-EF9C46567D49}"/>
                </a:ext>
              </a:extLst>
            </p:cNvPr>
            <p:cNvGrpSpPr/>
            <p:nvPr/>
          </p:nvGrpSpPr>
          <p:grpSpPr>
            <a:xfrm>
              <a:off x="1273293" y="4555865"/>
              <a:ext cx="644441" cy="644441"/>
              <a:chOff x="2572226" y="4251096"/>
              <a:chExt cx="644441" cy="644441"/>
            </a:xfrm>
          </p:grpSpPr>
          <p:sp>
            <p:nvSpPr>
              <p:cNvPr id="23" name="Ellipse 22">
                <a:extLst>
                  <a:ext uri="{FF2B5EF4-FFF2-40B4-BE49-F238E27FC236}">
                    <a16:creationId xmlns:a16="http://schemas.microsoft.com/office/drawing/2014/main" id="{BBA1F702-13DB-4911-B517-8BA6BF6A4BDD}"/>
                  </a:ext>
                </a:extLst>
              </p:cNvPr>
              <p:cNvSpPr/>
              <p:nvPr/>
            </p:nvSpPr>
            <p:spPr>
              <a:xfrm>
                <a:off x="2572226" y="4251096"/>
                <a:ext cx="644441" cy="644441"/>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endParaRPr>
              </a:p>
            </p:txBody>
          </p:sp>
          <p:pic>
            <p:nvPicPr>
              <p:cNvPr id="24" name="Picture 74">
                <a:extLst>
                  <a:ext uri="{FF2B5EF4-FFF2-40B4-BE49-F238E27FC236}">
                    <a16:creationId xmlns:a16="http://schemas.microsoft.com/office/drawing/2014/main" id="{BB1EB561-4264-81FD-2247-A7DA7A2DBDB0}"/>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2624446" y="4306350"/>
                <a:ext cx="540000" cy="533932"/>
              </a:xfrm>
              <a:prstGeom prst="rect">
                <a:avLst/>
              </a:prstGeom>
            </p:spPr>
          </p:pic>
        </p:grpSp>
      </p:grpSp>
      <p:sp>
        <p:nvSpPr>
          <p:cNvPr id="26" name="ZoneTexte 25">
            <a:extLst>
              <a:ext uri="{FF2B5EF4-FFF2-40B4-BE49-F238E27FC236}">
                <a16:creationId xmlns:a16="http://schemas.microsoft.com/office/drawing/2014/main" id="{89328BA3-49B7-3153-10D1-4AA77449E83E}"/>
              </a:ext>
            </a:extLst>
          </p:cNvPr>
          <p:cNvSpPr txBox="1"/>
          <p:nvPr/>
        </p:nvSpPr>
        <p:spPr>
          <a:xfrm>
            <a:off x="4454213" y="5493100"/>
            <a:ext cx="1579227" cy="461665"/>
          </a:xfrm>
          <a:prstGeom prst="rect">
            <a:avLst/>
          </a:prstGeom>
          <a:noFill/>
        </p:spPr>
        <p:txBody>
          <a:bodyPr wrap="square" lIns="0" tIns="0" rIns="0" bIns="0">
            <a:spAutoFit/>
          </a:bodyPr>
          <a:lstStyle/>
          <a:p>
            <a:pPr marL="171450" indent="-171450">
              <a:buFont typeface="Arial" panose="020B0604020202020204" pitchFamily="34" charset="0"/>
              <a:buChar char="•"/>
            </a:pPr>
            <a:r>
              <a:rPr lang="en-US" sz="1000"/>
              <a:t>C</a:t>
            </a:r>
            <a:r>
              <a:rPr lang="en-US" sz="1000">
                <a:solidFill>
                  <a:schemeClr val="tx1"/>
                </a:solidFill>
              </a:rPr>
              <a:t>oach data consumers, </a:t>
            </a:r>
          </a:p>
          <a:p>
            <a:pPr marL="171450" indent="-171450">
              <a:buFont typeface="Arial" panose="020B0604020202020204" pitchFamily="34" charset="0"/>
              <a:buChar char="•"/>
            </a:pPr>
            <a:r>
              <a:rPr lang="en-US" sz="1000">
                <a:solidFill>
                  <a:schemeClr val="tx1"/>
                </a:solidFill>
              </a:rPr>
              <a:t>Monitor data product adoption</a:t>
            </a:r>
          </a:p>
        </p:txBody>
      </p:sp>
      <p:sp>
        <p:nvSpPr>
          <p:cNvPr id="27" name="ZoneTexte 26">
            <a:extLst>
              <a:ext uri="{FF2B5EF4-FFF2-40B4-BE49-F238E27FC236}">
                <a16:creationId xmlns:a16="http://schemas.microsoft.com/office/drawing/2014/main" id="{6C2A6AB4-560A-B298-3EA5-26B6A3837073}"/>
              </a:ext>
            </a:extLst>
          </p:cNvPr>
          <p:cNvSpPr txBox="1"/>
          <p:nvPr/>
        </p:nvSpPr>
        <p:spPr>
          <a:xfrm>
            <a:off x="4454213" y="5206145"/>
            <a:ext cx="1565577" cy="226591"/>
          </a:xfrm>
          <a:prstGeom prst="rect">
            <a:avLst/>
          </a:prstGeom>
          <a:noFill/>
        </p:spPr>
        <p:txBody>
          <a:bodyPr wrap="square" lIns="36000" tIns="36000" rIns="36000" bIns="36000" rtlCol="0">
            <a:spAutoFit/>
          </a:bodyPr>
          <a:lstStyle/>
          <a:p>
            <a:pPr algn="ctr"/>
            <a:r>
              <a:rPr lang="en-US" sz="1000" b="1">
                <a:latin typeface="+mn-lt"/>
              </a:rPr>
              <a:t>Data community coordinator</a:t>
            </a:r>
          </a:p>
        </p:txBody>
      </p:sp>
      <p:grpSp>
        <p:nvGrpSpPr>
          <p:cNvPr id="28" name="Groupe 27">
            <a:extLst>
              <a:ext uri="{FF2B5EF4-FFF2-40B4-BE49-F238E27FC236}">
                <a16:creationId xmlns:a16="http://schemas.microsoft.com/office/drawing/2014/main" id="{586884E8-0929-D4A3-9AAC-2D03C450FF91}"/>
              </a:ext>
            </a:extLst>
          </p:cNvPr>
          <p:cNvGrpSpPr/>
          <p:nvPr/>
        </p:nvGrpSpPr>
        <p:grpSpPr>
          <a:xfrm>
            <a:off x="4921606" y="4561704"/>
            <a:ext cx="644441" cy="644441"/>
            <a:chOff x="2572226" y="4251096"/>
            <a:chExt cx="644441" cy="644441"/>
          </a:xfrm>
        </p:grpSpPr>
        <p:sp>
          <p:nvSpPr>
            <p:cNvPr id="30" name="Ellipse 29">
              <a:extLst>
                <a:ext uri="{FF2B5EF4-FFF2-40B4-BE49-F238E27FC236}">
                  <a16:creationId xmlns:a16="http://schemas.microsoft.com/office/drawing/2014/main" id="{0535088C-A2F2-18D6-0095-7F21B15A0A95}"/>
                </a:ext>
              </a:extLst>
            </p:cNvPr>
            <p:cNvSpPr/>
            <p:nvPr/>
          </p:nvSpPr>
          <p:spPr>
            <a:xfrm>
              <a:off x="2572226" y="4251096"/>
              <a:ext cx="644441" cy="644441"/>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endParaRPr>
            </a:p>
          </p:txBody>
        </p:sp>
        <p:pic>
          <p:nvPicPr>
            <p:cNvPr id="31" name="Picture 74">
              <a:extLst>
                <a:ext uri="{FF2B5EF4-FFF2-40B4-BE49-F238E27FC236}">
                  <a16:creationId xmlns:a16="http://schemas.microsoft.com/office/drawing/2014/main" id="{166B17BF-45FC-77B6-13E0-0D96369978FC}"/>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2624446" y="4303316"/>
              <a:ext cx="540000" cy="540000"/>
            </a:xfrm>
            <a:prstGeom prst="rect">
              <a:avLst/>
            </a:prstGeom>
          </p:spPr>
        </p:pic>
      </p:grpSp>
    </p:spTree>
    <p:extLst>
      <p:ext uri="{BB962C8B-B14F-4D97-AF65-F5344CB8AC3E}">
        <p14:creationId xmlns:p14="http://schemas.microsoft.com/office/powerpoint/2010/main" val="3509200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02717E-07FD-42E2-49A0-F7CB2BD3A3CB}"/>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38AAAC18-4374-E4E0-A706-270B5A442DEE}"/>
              </a:ext>
            </a:extLst>
          </p:cNvPr>
          <p:cNvSpPr>
            <a:spLocks noGrp="1"/>
          </p:cNvSpPr>
          <p:nvPr>
            <p:ph type="title"/>
          </p:nvPr>
        </p:nvSpPr>
        <p:spPr/>
        <p:txBody>
          <a:bodyPr/>
          <a:lstStyle/>
          <a:p>
            <a:r>
              <a:rPr lang="en-US">
                <a:highlight>
                  <a:srgbClr val="FFFF00"/>
                </a:highlight>
              </a:rPr>
              <a:t>Roles</a:t>
            </a:r>
            <a:r>
              <a:rPr lang="en-US"/>
              <a:t> - Recap</a:t>
            </a:r>
          </a:p>
        </p:txBody>
      </p:sp>
      <p:sp>
        <p:nvSpPr>
          <p:cNvPr id="8" name="ZoneTexte 7">
            <a:extLst>
              <a:ext uri="{FF2B5EF4-FFF2-40B4-BE49-F238E27FC236}">
                <a16:creationId xmlns:a16="http://schemas.microsoft.com/office/drawing/2014/main" id="{DD9A666F-D610-2FCC-59F7-60D6C60DD018}"/>
              </a:ext>
            </a:extLst>
          </p:cNvPr>
          <p:cNvSpPr txBox="1"/>
          <p:nvPr/>
        </p:nvSpPr>
        <p:spPr>
          <a:xfrm>
            <a:off x="5186016" y="2876699"/>
            <a:ext cx="1821154" cy="1015663"/>
          </a:xfrm>
          <a:prstGeom prst="rect">
            <a:avLst/>
          </a:prstGeom>
          <a:noFill/>
        </p:spPr>
        <p:txBody>
          <a:bodyPr wrap="square">
            <a:spAutoFit/>
          </a:bodyPr>
          <a:lstStyle/>
          <a:p>
            <a:pPr marL="171450" indent="-171450">
              <a:buFont typeface="Arial" panose="020B0604020202020204" pitchFamily="34" charset="0"/>
              <a:buChar char="•"/>
            </a:pPr>
            <a:r>
              <a:rPr lang="en-US" sz="1000" i="1" noProof="0">
                <a:highlight>
                  <a:srgbClr val="FFFF00"/>
                </a:highlight>
              </a:rPr>
              <a:t>Qualify Use case</a:t>
            </a:r>
            <a:endParaRPr lang="en-US" sz="1000" i="1">
              <a:highlight>
                <a:srgbClr val="FFFF00"/>
              </a:highlight>
            </a:endParaRPr>
          </a:p>
          <a:p>
            <a:pPr marL="171450" indent="-171450">
              <a:buFont typeface="Arial" panose="020B0604020202020204" pitchFamily="34" charset="0"/>
              <a:buChar char="•"/>
            </a:pPr>
            <a:r>
              <a:rPr lang="en-US" sz="1000" i="1"/>
              <a:t>Translates needs in specs &amp; tests</a:t>
            </a:r>
          </a:p>
          <a:p>
            <a:pPr marL="171450" indent="-171450">
              <a:buFont typeface="Arial" panose="020B0604020202020204" pitchFamily="34" charset="0"/>
              <a:buChar char="•"/>
            </a:pPr>
            <a:r>
              <a:rPr lang="en-US" sz="1000" i="1">
                <a:highlight>
                  <a:srgbClr val="FFFF00"/>
                </a:highlight>
              </a:rPr>
              <a:t>Builds BI reports</a:t>
            </a:r>
          </a:p>
          <a:p>
            <a:pPr marL="171450" indent="-171450">
              <a:buFont typeface="Arial" panose="020B0604020202020204" pitchFamily="34" charset="0"/>
              <a:buChar char="•"/>
            </a:pPr>
            <a:r>
              <a:rPr lang="en-US" sz="1000" i="1"/>
              <a:t>Responsible for Discoverable &amp; Secure aspects of the data product</a:t>
            </a:r>
          </a:p>
        </p:txBody>
      </p:sp>
      <p:grpSp>
        <p:nvGrpSpPr>
          <p:cNvPr id="109" name="Groupe 108">
            <a:extLst>
              <a:ext uri="{FF2B5EF4-FFF2-40B4-BE49-F238E27FC236}">
                <a16:creationId xmlns:a16="http://schemas.microsoft.com/office/drawing/2014/main" id="{EB006DD5-490C-3DE1-9881-3533DCF1B955}"/>
              </a:ext>
            </a:extLst>
          </p:cNvPr>
          <p:cNvGrpSpPr/>
          <p:nvPr/>
        </p:nvGrpSpPr>
        <p:grpSpPr>
          <a:xfrm>
            <a:off x="5294216" y="2114911"/>
            <a:ext cx="1611783" cy="644441"/>
            <a:chOff x="2644252" y="1952836"/>
            <a:chExt cx="1611783" cy="644441"/>
          </a:xfrm>
        </p:grpSpPr>
        <p:grpSp>
          <p:nvGrpSpPr>
            <p:cNvPr id="101" name="Groupe 100">
              <a:extLst>
                <a:ext uri="{FF2B5EF4-FFF2-40B4-BE49-F238E27FC236}">
                  <a16:creationId xmlns:a16="http://schemas.microsoft.com/office/drawing/2014/main" id="{D18CEA68-3E69-E482-8D6C-E1B90822AED9}"/>
                </a:ext>
              </a:extLst>
            </p:cNvPr>
            <p:cNvGrpSpPr/>
            <p:nvPr/>
          </p:nvGrpSpPr>
          <p:grpSpPr>
            <a:xfrm>
              <a:off x="2644252" y="1952836"/>
              <a:ext cx="644441" cy="644441"/>
              <a:chOff x="2644252" y="1952836"/>
              <a:chExt cx="644441" cy="644441"/>
            </a:xfrm>
          </p:grpSpPr>
          <p:sp>
            <p:nvSpPr>
              <p:cNvPr id="12" name="Ellipse 11">
                <a:extLst>
                  <a:ext uri="{FF2B5EF4-FFF2-40B4-BE49-F238E27FC236}">
                    <a16:creationId xmlns:a16="http://schemas.microsoft.com/office/drawing/2014/main" id="{E926AC96-35E9-D3A9-29B2-F268298D9D27}"/>
                  </a:ext>
                </a:extLst>
              </p:cNvPr>
              <p:cNvSpPr/>
              <p:nvPr/>
            </p:nvSpPr>
            <p:spPr>
              <a:xfrm>
                <a:off x="2644252" y="1952836"/>
                <a:ext cx="644441" cy="644441"/>
              </a:xfrm>
              <a:prstGeom prst="ellipse">
                <a:avLst/>
              </a:prstGeom>
              <a:solidFill>
                <a:srgbClr val="00B0AD">
                  <a:alpha val="5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latin typeface="Graphik" panose="020B0503030202060203" pitchFamily="34" charset="0"/>
                </a:endParaRPr>
              </a:p>
            </p:txBody>
          </p:sp>
          <p:pic>
            <p:nvPicPr>
              <p:cNvPr id="13" name="Image 12">
                <a:extLst>
                  <a:ext uri="{FF2B5EF4-FFF2-40B4-BE49-F238E27FC236}">
                    <a16:creationId xmlns:a16="http://schemas.microsoft.com/office/drawing/2014/main" id="{FBF99DF5-EF83-7D91-24BA-F30756D191C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696472" y="2011192"/>
                <a:ext cx="540000" cy="527727"/>
              </a:xfrm>
              <a:prstGeom prst="rect">
                <a:avLst/>
              </a:prstGeom>
            </p:spPr>
          </p:pic>
        </p:grpSp>
        <p:grpSp>
          <p:nvGrpSpPr>
            <p:cNvPr id="95" name="Groupe 94">
              <a:extLst>
                <a:ext uri="{FF2B5EF4-FFF2-40B4-BE49-F238E27FC236}">
                  <a16:creationId xmlns:a16="http://schemas.microsoft.com/office/drawing/2014/main" id="{B452C517-CB31-98A4-E5FC-3E489A1DD309}"/>
                </a:ext>
              </a:extLst>
            </p:cNvPr>
            <p:cNvGrpSpPr/>
            <p:nvPr/>
          </p:nvGrpSpPr>
          <p:grpSpPr>
            <a:xfrm>
              <a:off x="3202694" y="1952836"/>
              <a:ext cx="1053341" cy="641874"/>
              <a:chOff x="3375692" y="1952836"/>
              <a:chExt cx="1053341" cy="641874"/>
            </a:xfrm>
          </p:grpSpPr>
          <p:sp>
            <p:nvSpPr>
              <p:cNvPr id="9" name="ZoneTexte 8">
                <a:extLst>
                  <a:ext uri="{FF2B5EF4-FFF2-40B4-BE49-F238E27FC236}">
                    <a16:creationId xmlns:a16="http://schemas.microsoft.com/office/drawing/2014/main" id="{DBA09291-E807-35EF-FDB7-EDE87583981B}"/>
                  </a:ext>
                </a:extLst>
              </p:cNvPr>
              <p:cNvSpPr txBox="1"/>
              <p:nvPr/>
            </p:nvSpPr>
            <p:spPr>
              <a:xfrm>
                <a:off x="3375692" y="1952836"/>
                <a:ext cx="1044000" cy="226591"/>
              </a:xfrm>
              <a:prstGeom prst="rect">
                <a:avLst/>
              </a:prstGeom>
              <a:noFill/>
            </p:spPr>
            <p:txBody>
              <a:bodyPr wrap="square" lIns="36000" tIns="36000" rIns="36000" bIns="36000" rtlCol="0">
                <a:spAutoFit/>
              </a:bodyPr>
              <a:lstStyle>
                <a:defPPr>
                  <a:defRPr lang="fr-FR"/>
                </a:defPPr>
                <a:lvl1pPr algn="ctr">
                  <a:spcBef>
                    <a:spcPts val="600"/>
                  </a:spcBef>
                  <a:defRPr sz="1000" b="1" u="sng">
                    <a:uFill>
                      <a:solidFill>
                        <a:srgbClr val="7FD7D6"/>
                      </a:solidFill>
                    </a:uFill>
                  </a:defRPr>
                </a:lvl1pPr>
              </a:lstStyle>
              <a:p>
                <a:r>
                  <a:rPr lang="en-US" u="none">
                    <a:highlight>
                      <a:srgbClr val="FFFF00"/>
                    </a:highlight>
                  </a:rPr>
                  <a:t>Data Analyst</a:t>
                </a:r>
              </a:p>
            </p:txBody>
          </p:sp>
          <p:sp>
            <p:nvSpPr>
              <p:cNvPr id="11" name="ZoneTexte 10">
                <a:extLst>
                  <a:ext uri="{FF2B5EF4-FFF2-40B4-BE49-F238E27FC236}">
                    <a16:creationId xmlns:a16="http://schemas.microsoft.com/office/drawing/2014/main" id="{424A60F1-4455-AA09-3C81-268BF542D352}"/>
                  </a:ext>
                </a:extLst>
              </p:cNvPr>
              <p:cNvSpPr txBox="1"/>
              <p:nvPr/>
            </p:nvSpPr>
            <p:spPr>
              <a:xfrm>
                <a:off x="3385033" y="2116694"/>
                <a:ext cx="1044000" cy="478016"/>
              </a:xfrm>
              <a:prstGeom prst="rect">
                <a:avLst/>
              </a:prstGeom>
              <a:noFill/>
            </p:spPr>
            <p:txBody>
              <a:bodyPr wrap="square" rtlCol="0">
                <a:spAutoFit/>
              </a:bodyPr>
              <a:lstStyle/>
              <a:p>
                <a:pPr algn="ctr"/>
                <a:r>
                  <a:rPr lang="en-US" sz="1000" b="1">
                    <a:solidFill>
                      <a:srgbClr val="7FD7D6"/>
                    </a:solidFill>
                  </a:rPr>
                  <a:t>IT</a:t>
                </a:r>
              </a:p>
              <a:p>
                <a:pPr algn="ctr">
                  <a:lnSpc>
                    <a:spcPts val="900"/>
                  </a:lnSpc>
                </a:pPr>
                <a:r>
                  <a:rPr lang="en-US" sz="1000"/>
                  <a:t>Inside domain or data factory team</a:t>
                </a:r>
              </a:p>
            </p:txBody>
          </p:sp>
        </p:grpSp>
      </p:grpSp>
      <p:sp>
        <p:nvSpPr>
          <p:cNvPr id="23" name="ZoneTexte 22">
            <a:extLst>
              <a:ext uri="{FF2B5EF4-FFF2-40B4-BE49-F238E27FC236}">
                <a16:creationId xmlns:a16="http://schemas.microsoft.com/office/drawing/2014/main" id="{6A31E549-DBE2-9413-0297-F88ED05862D2}"/>
              </a:ext>
            </a:extLst>
          </p:cNvPr>
          <p:cNvSpPr txBox="1"/>
          <p:nvPr/>
        </p:nvSpPr>
        <p:spPr>
          <a:xfrm>
            <a:off x="3277667" y="2883189"/>
            <a:ext cx="1620000" cy="707886"/>
          </a:xfrm>
          <a:prstGeom prst="rect">
            <a:avLst/>
          </a:prstGeom>
          <a:noFill/>
        </p:spPr>
        <p:txBody>
          <a:bodyPr wrap="square">
            <a:spAutoFit/>
          </a:bodyPr>
          <a:lstStyle/>
          <a:p>
            <a:pPr marL="171450" indent="-171450">
              <a:buFont typeface="Arial" panose="020B0604020202020204" pitchFamily="34" charset="0"/>
              <a:buChar char="•"/>
            </a:pPr>
            <a:r>
              <a:rPr lang="en-US" sz="1000" i="1"/>
              <a:t>Defines need and arbitrates</a:t>
            </a:r>
          </a:p>
          <a:p>
            <a:pPr marL="171450" indent="-171450">
              <a:buFont typeface="Arial" panose="020B0604020202020204" pitchFamily="34" charset="0"/>
              <a:buChar char="•"/>
            </a:pPr>
            <a:r>
              <a:rPr lang="en-US" sz="1000" i="1"/>
              <a:t>Responsible for Self-describing &amp; Defining aspects of the Data Product</a:t>
            </a:r>
          </a:p>
        </p:txBody>
      </p:sp>
      <p:grpSp>
        <p:nvGrpSpPr>
          <p:cNvPr id="110" name="Groupe 109">
            <a:extLst>
              <a:ext uri="{FF2B5EF4-FFF2-40B4-BE49-F238E27FC236}">
                <a16:creationId xmlns:a16="http://schemas.microsoft.com/office/drawing/2014/main" id="{8A9059D3-C33B-5336-B020-29AC2A53A19A}"/>
              </a:ext>
            </a:extLst>
          </p:cNvPr>
          <p:cNvGrpSpPr/>
          <p:nvPr/>
        </p:nvGrpSpPr>
        <p:grpSpPr>
          <a:xfrm>
            <a:off x="3272216" y="2114911"/>
            <a:ext cx="1624242" cy="644441"/>
            <a:chOff x="534819" y="1963332"/>
            <a:chExt cx="1624242" cy="644441"/>
          </a:xfrm>
        </p:grpSpPr>
        <p:grpSp>
          <p:nvGrpSpPr>
            <p:cNvPr id="100" name="Groupe 99">
              <a:extLst>
                <a:ext uri="{FF2B5EF4-FFF2-40B4-BE49-F238E27FC236}">
                  <a16:creationId xmlns:a16="http://schemas.microsoft.com/office/drawing/2014/main" id="{FA1DCC53-3A50-080E-D2A6-4FB8552B9D72}"/>
                </a:ext>
              </a:extLst>
            </p:cNvPr>
            <p:cNvGrpSpPr/>
            <p:nvPr/>
          </p:nvGrpSpPr>
          <p:grpSpPr>
            <a:xfrm>
              <a:off x="534819" y="1963332"/>
              <a:ext cx="644441" cy="644441"/>
              <a:chOff x="534819" y="1963332"/>
              <a:chExt cx="644441" cy="644441"/>
            </a:xfrm>
          </p:grpSpPr>
          <p:sp>
            <p:nvSpPr>
              <p:cNvPr id="26" name="Ellipse 25">
                <a:extLst>
                  <a:ext uri="{FF2B5EF4-FFF2-40B4-BE49-F238E27FC236}">
                    <a16:creationId xmlns:a16="http://schemas.microsoft.com/office/drawing/2014/main" id="{36BDA5A6-D5FF-2AF5-0757-8E7274D674DB}"/>
                  </a:ext>
                </a:extLst>
              </p:cNvPr>
              <p:cNvSpPr/>
              <p:nvPr/>
            </p:nvSpPr>
            <p:spPr>
              <a:xfrm>
                <a:off x="534819" y="1963332"/>
                <a:ext cx="644441" cy="644441"/>
              </a:xfrm>
              <a:prstGeom prst="ellipse">
                <a:avLst/>
              </a:prstGeom>
              <a:solidFill>
                <a:srgbClr val="00B0AD">
                  <a:alpha val="5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latin typeface="Graphik" panose="020B0503030202060203" pitchFamily="34" charset="0"/>
                </a:endParaRPr>
              </a:p>
            </p:txBody>
          </p:sp>
          <p:pic>
            <p:nvPicPr>
              <p:cNvPr id="27" name="Picture 29" descr="A picture containing clipart&#10;&#10;Description automatically generated">
                <a:extLst>
                  <a:ext uri="{FF2B5EF4-FFF2-40B4-BE49-F238E27FC236}">
                    <a16:creationId xmlns:a16="http://schemas.microsoft.com/office/drawing/2014/main" id="{069A8D59-2556-9BF3-1F1D-FB30AD44A65B}"/>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87039" y="2015552"/>
                <a:ext cx="540000" cy="540000"/>
              </a:xfrm>
              <a:prstGeom prst="rect">
                <a:avLst/>
              </a:prstGeom>
            </p:spPr>
          </p:pic>
        </p:grpSp>
        <p:grpSp>
          <p:nvGrpSpPr>
            <p:cNvPr id="94" name="Groupe 93">
              <a:extLst>
                <a:ext uri="{FF2B5EF4-FFF2-40B4-BE49-F238E27FC236}">
                  <a16:creationId xmlns:a16="http://schemas.microsoft.com/office/drawing/2014/main" id="{5A98CBC2-C3F4-1128-D91D-7905BFE7019A}"/>
                </a:ext>
              </a:extLst>
            </p:cNvPr>
            <p:cNvGrpSpPr/>
            <p:nvPr/>
          </p:nvGrpSpPr>
          <p:grpSpPr>
            <a:xfrm>
              <a:off x="1115061" y="1963332"/>
              <a:ext cx="1044000" cy="560718"/>
              <a:chOff x="1296297" y="1963332"/>
              <a:chExt cx="1044000" cy="560718"/>
            </a:xfrm>
          </p:grpSpPr>
          <p:sp>
            <p:nvSpPr>
              <p:cNvPr id="24" name="ZoneTexte 23">
                <a:extLst>
                  <a:ext uri="{FF2B5EF4-FFF2-40B4-BE49-F238E27FC236}">
                    <a16:creationId xmlns:a16="http://schemas.microsoft.com/office/drawing/2014/main" id="{D411746D-89A8-6FF5-FE76-DB4155D66A4C}"/>
                  </a:ext>
                </a:extLst>
              </p:cNvPr>
              <p:cNvSpPr txBox="1"/>
              <p:nvPr/>
            </p:nvSpPr>
            <p:spPr>
              <a:xfrm>
                <a:off x="1296297" y="1963332"/>
                <a:ext cx="1044000" cy="380480"/>
              </a:xfrm>
              <a:prstGeom prst="rect">
                <a:avLst/>
              </a:prstGeom>
              <a:noFill/>
            </p:spPr>
            <p:txBody>
              <a:bodyPr wrap="square" lIns="36000" tIns="36000" rIns="36000" bIns="36000" rtlCol="0">
                <a:spAutoFit/>
              </a:bodyPr>
              <a:lstStyle/>
              <a:p>
                <a:pPr algn="ctr">
                  <a:spcBef>
                    <a:spcPts val="600"/>
                  </a:spcBef>
                </a:pPr>
                <a:r>
                  <a:rPr lang="en-US" sz="1000" b="1">
                    <a:uFill>
                      <a:solidFill>
                        <a:srgbClr val="7FD7D6"/>
                      </a:solidFill>
                    </a:uFill>
                  </a:rPr>
                  <a:t>Data Product Owner</a:t>
                </a:r>
              </a:p>
            </p:txBody>
          </p:sp>
          <p:sp>
            <p:nvSpPr>
              <p:cNvPr id="25" name="ZoneTexte 24">
                <a:extLst>
                  <a:ext uri="{FF2B5EF4-FFF2-40B4-BE49-F238E27FC236}">
                    <a16:creationId xmlns:a16="http://schemas.microsoft.com/office/drawing/2014/main" id="{C022CC7B-EB95-87D9-B6B6-C9DB75E27968}"/>
                  </a:ext>
                </a:extLst>
              </p:cNvPr>
              <p:cNvSpPr txBox="1"/>
              <p:nvPr/>
            </p:nvSpPr>
            <p:spPr>
              <a:xfrm>
                <a:off x="1296297" y="2277829"/>
                <a:ext cx="1044000" cy="246221"/>
              </a:xfrm>
              <a:prstGeom prst="rect">
                <a:avLst/>
              </a:prstGeom>
              <a:noFill/>
            </p:spPr>
            <p:txBody>
              <a:bodyPr wrap="square" rtlCol="0">
                <a:spAutoFit/>
              </a:bodyPr>
              <a:lstStyle/>
              <a:p>
                <a:pPr algn="ctr"/>
                <a:r>
                  <a:rPr lang="en-US" sz="1000" b="1">
                    <a:solidFill>
                      <a:srgbClr val="7FD7D6"/>
                    </a:solidFill>
                  </a:rPr>
                  <a:t>Business</a:t>
                </a:r>
              </a:p>
            </p:txBody>
          </p:sp>
        </p:grpSp>
      </p:grpSp>
      <p:sp>
        <p:nvSpPr>
          <p:cNvPr id="17" name="ZoneTexte 16">
            <a:extLst>
              <a:ext uri="{FF2B5EF4-FFF2-40B4-BE49-F238E27FC236}">
                <a16:creationId xmlns:a16="http://schemas.microsoft.com/office/drawing/2014/main" id="{058711EA-9622-2216-0180-BA8AF133E32F}"/>
              </a:ext>
            </a:extLst>
          </p:cNvPr>
          <p:cNvSpPr txBox="1"/>
          <p:nvPr/>
        </p:nvSpPr>
        <p:spPr>
          <a:xfrm>
            <a:off x="7294331" y="2884934"/>
            <a:ext cx="1620000" cy="861774"/>
          </a:xfrm>
          <a:prstGeom prst="rect">
            <a:avLst/>
          </a:prstGeom>
          <a:noFill/>
        </p:spPr>
        <p:txBody>
          <a:bodyPr wrap="square">
            <a:spAutoFit/>
          </a:bodyPr>
          <a:lstStyle/>
          <a:p>
            <a:pPr marL="171450" indent="-171450" algn="just">
              <a:buFont typeface="Arial" panose="020B0604020202020204" pitchFamily="34" charset="0"/>
              <a:buChar char="•"/>
            </a:pPr>
            <a:r>
              <a:rPr lang="en-US" sz="1000" i="1"/>
              <a:t>Builds data product</a:t>
            </a:r>
          </a:p>
          <a:p>
            <a:pPr marL="171450" indent="-171450" algn="just">
              <a:buFont typeface="Arial" panose="020B0604020202020204" pitchFamily="34" charset="0"/>
              <a:buChar char="•"/>
            </a:pPr>
            <a:r>
              <a:rPr lang="en-US" sz="1000" i="1">
                <a:highlight>
                  <a:srgbClr val="FFFF00"/>
                </a:highlight>
              </a:rPr>
              <a:t>Builds BI reports</a:t>
            </a:r>
            <a:endParaRPr lang="en-US" sz="1000" i="1"/>
          </a:p>
          <a:p>
            <a:pPr marL="171450" indent="-171450" algn="just">
              <a:buFont typeface="Arial" panose="020B0604020202020204" pitchFamily="34" charset="0"/>
              <a:buChar char="•"/>
            </a:pPr>
            <a:r>
              <a:rPr lang="en-US" sz="1000" i="1"/>
              <a:t>Responsible for Accessible &amp; Secure aspects of the data product</a:t>
            </a:r>
          </a:p>
        </p:txBody>
      </p:sp>
      <p:grpSp>
        <p:nvGrpSpPr>
          <p:cNvPr id="108" name="Groupe 107">
            <a:extLst>
              <a:ext uri="{FF2B5EF4-FFF2-40B4-BE49-F238E27FC236}">
                <a16:creationId xmlns:a16="http://schemas.microsoft.com/office/drawing/2014/main" id="{7240C7F6-117F-77A9-3CE6-E41D9E0E25D3}"/>
              </a:ext>
            </a:extLst>
          </p:cNvPr>
          <p:cNvGrpSpPr/>
          <p:nvPr/>
        </p:nvGrpSpPr>
        <p:grpSpPr>
          <a:xfrm>
            <a:off x="7294416" y="2114911"/>
            <a:ext cx="1598794" cy="647283"/>
            <a:chOff x="4736784" y="1963332"/>
            <a:chExt cx="1598794" cy="647283"/>
          </a:xfrm>
        </p:grpSpPr>
        <p:grpSp>
          <p:nvGrpSpPr>
            <p:cNvPr id="102" name="Groupe 101">
              <a:extLst>
                <a:ext uri="{FF2B5EF4-FFF2-40B4-BE49-F238E27FC236}">
                  <a16:creationId xmlns:a16="http://schemas.microsoft.com/office/drawing/2014/main" id="{16A2CC29-3923-BB84-DB2E-87C74264611F}"/>
                </a:ext>
              </a:extLst>
            </p:cNvPr>
            <p:cNvGrpSpPr/>
            <p:nvPr/>
          </p:nvGrpSpPr>
          <p:grpSpPr>
            <a:xfrm>
              <a:off x="4736784" y="1963332"/>
              <a:ext cx="644441" cy="644441"/>
              <a:chOff x="4736784" y="1963332"/>
              <a:chExt cx="644441" cy="644441"/>
            </a:xfrm>
          </p:grpSpPr>
          <p:sp>
            <p:nvSpPr>
              <p:cNvPr id="19" name="Ellipse 18">
                <a:extLst>
                  <a:ext uri="{FF2B5EF4-FFF2-40B4-BE49-F238E27FC236}">
                    <a16:creationId xmlns:a16="http://schemas.microsoft.com/office/drawing/2014/main" id="{841C0C1C-F075-F89A-9F47-3518B420FFE7}"/>
                  </a:ext>
                </a:extLst>
              </p:cNvPr>
              <p:cNvSpPr/>
              <p:nvPr/>
            </p:nvSpPr>
            <p:spPr>
              <a:xfrm>
                <a:off x="4736784" y="1963332"/>
                <a:ext cx="644441" cy="644441"/>
              </a:xfrm>
              <a:prstGeom prst="ellipse">
                <a:avLst/>
              </a:prstGeom>
              <a:solidFill>
                <a:srgbClr val="00B0AD">
                  <a:alpha val="5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latin typeface="Graphik" panose="020B0503030202060203" pitchFamily="34" charset="0"/>
                </a:endParaRPr>
              </a:p>
            </p:txBody>
          </p:sp>
          <p:pic>
            <p:nvPicPr>
              <p:cNvPr id="20" name="Image 19">
                <a:extLst>
                  <a:ext uri="{FF2B5EF4-FFF2-40B4-BE49-F238E27FC236}">
                    <a16:creationId xmlns:a16="http://schemas.microsoft.com/office/drawing/2014/main" id="{5AB864E4-E305-D83F-97F3-9CE6471CF81B}"/>
                  </a:ext>
                </a:extLst>
              </p:cNvPr>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789004" y="2017674"/>
                <a:ext cx="540000" cy="535756"/>
              </a:xfrm>
              <a:prstGeom prst="rect">
                <a:avLst/>
              </a:prstGeom>
            </p:spPr>
          </p:pic>
        </p:grpSp>
        <p:grpSp>
          <p:nvGrpSpPr>
            <p:cNvPr id="96" name="Groupe 95">
              <a:extLst>
                <a:ext uri="{FF2B5EF4-FFF2-40B4-BE49-F238E27FC236}">
                  <a16:creationId xmlns:a16="http://schemas.microsoft.com/office/drawing/2014/main" id="{3EA570F6-CB65-6C9B-FDDD-28C97F8E116B}"/>
                </a:ext>
              </a:extLst>
            </p:cNvPr>
            <p:cNvGrpSpPr/>
            <p:nvPr/>
          </p:nvGrpSpPr>
          <p:grpSpPr>
            <a:xfrm>
              <a:off x="5291578" y="1963332"/>
              <a:ext cx="1044000" cy="647283"/>
              <a:chOff x="5481051" y="1963332"/>
              <a:chExt cx="1044000" cy="647283"/>
            </a:xfrm>
          </p:grpSpPr>
          <p:sp>
            <p:nvSpPr>
              <p:cNvPr id="16" name="ZoneTexte 15">
                <a:extLst>
                  <a:ext uri="{FF2B5EF4-FFF2-40B4-BE49-F238E27FC236}">
                    <a16:creationId xmlns:a16="http://schemas.microsoft.com/office/drawing/2014/main" id="{307141C7-C7E4-46BC-C2C8-A7D013E347AF}"/>
                  </a:ext>
                </a:extLst>
              </p:cNvPr>
              <p:cNvSpPr txBox="1"/>
              <p:nvPr/>
            </p:nvSpPr>
            <p:spPr>
              <a:xfrm>
                <a:off x="5481051" y="1963332"/>
                <a:ext cx="1044000" cy="226591"/>
              </a:xfrm>
              <a:prstGeom prst="rect">
                <a:avLst/>
              </a:prstGeom>
              <a:noFill/>
            </p:spPr>
            <p:txBody>
              <a:bodyPr wrap="square" lIns="36000" tIns="36000" rIns="36000" bIns="36000" rtlCol="0">
                <a:spAutoFit/>
              </a:bodyPr>
              <a:lstStyle>
                <a:defPPr>
                  <a:defRPr lang="fr-FR"/>
                </a:defPPr>
                <a:lvl1pPr algn="ctr">
                  <a:spcBef>
                    <a:spcPts val="600"/>
                  </a:spcBef>
                  <a:defRPr sz="1000" b="1" u="sng">
                    <a:uFill>
                      <a:solidFill>
                        <a:srgbClr val="7FD7D6"/>
                      </a:solidFill>
                    </a:uFill>
                  </a:defRPr>
                </a:lvl1pPr>
              </a:lstStyle>
              <a:p>
                <a:r>
                  <a:rPr lang="en-US" u="none"/>
                  <a:t>Data engineer</a:t>
                </a:r>
              </a:p>
            </p:txBody>
          </p:sp>
          <p:sp>
            <p:nvSpPr>
              <p:cNvPr id="28" name="ZoneTexte 27">
                <a:extLst>
                  <a:ext uri="{FF2B5EF4-FFF2-40B4-BE49-F238E27FC236}">
                    <a16:creationId xmlns:a16="http://schemas.microsoft.com/office/drawing/2014/main" id="{2F63C292-BE8F-2FA6-772A-457CE0C8113E}"/>
                  </a:ext>
                </a:extLst>
              </p:cNvPr>
              <p:cNvSpPr txBox="1"/>
              <p:nvPr/>
            </p:nvSpPr>
            <p:spPr>
              <a:xfrm>
                <a:off x="5481051" y="2132599"/>
                <a:ext cx="1044000" cy="478016"/>
              </a:xfrm>
              <a:prstGeom prst="rect">
                <a:avLst/>
              </a:prstGeom>
              <a:noFill/>
            </p:spPr>
            <p:txBody>
              <a:bodyPr wrap="square" rtlCol="0">
                <a:spAutoFit/>
              </a:bodyPr>
              <a:lstStyle/>
              <a:p>
                <a:pPr algn="ctr"/>
                <a:r>
                  <a:rPr lang="en-US" sz="1000" b="1">
                    <a:solidFill>
                      <a:srgbClr val="7FD7D6"/>
                    </a:solidFill>
                  </a:rPr>
                  <a:t>IT</a:t>
                </a:r>
              </a:p>
              <a:p>
                <a:pPr algn="ctr">
                  <a:lnSpc>
                    <a:spcPts val="900"/>
                  </a:lnSpc>
                </a:pPr>
                <a:r>
                  <a:rPr lang="en-US" sz="1000"/>
                  <a:t>Inside data factory team</a:t>
                </a:r>
              </a:p>
            </p:txBody>
          </p:sp>
        </p:grpSp>
      </p:grpSp>
      <p:grpSp>
        <p:nvGrpSpPr>
          <p:cNvPr id="46" name="Groupe 45">
            <a:extLst>
              <a:ext uri="{FF2B5EF4-FFF2-40B4-BE49-F238E27FC236}">
                <a16:creationId xmlns:a16="http://schemas.microsoft.com/office/drawing/2014/main" id="{2F4B2585-E73F-F673-6734-E17F6129BF7B}"/>
              </a:ext>
            </a:extLst>
          </p:cNvPr>
          <p:cNvGrpSpPr/>
          <p:nvPr/>
        </p:nvGrpSpPr>
        <p:grpSpPr>
          <a:xfrm>
            <a:off x="3272216" y="3947913"/>
            <a:ext cx="1485082" cy="644441"/>
            <a:chOff x="3681564" y="1950963"/>
            <a:chExt cx="1485082" cy="644441"/>
          </a:xfrm>
        </p:grpSpPr>
        <p:sp>
          <p:nvSpPr>
            <p:cNvPr id="47" name="ZoneTexte 46">
              <a:extLst>
                <a:ext uri="{FF2B5EF4-FFF2-40B4-BE49-F238E27FC236}">
                  <a16:creationId xmlns:a16="http://schemas.microsoft.com/office/drawing/2014/main" id="{6B82BEF6-BBEB-5EE8-D19C-1B7C28AECDA4}"/>
                </a:ext>
              </a:extLst>
            </p:cNvPr>
            <p:cNvSpPr txBox="1"/>
            <p:nvPr/>
          </p:nvSpPr>
          <p:spPr>
            <a:xfrm>
              <a:off x="4237640" y="2166334"/>
              <a:ext cx="929006" cy="226591"/>
            </a:xfrm>
            <a:prstGeom prst="rect">
              <a:avLst/>
            </a:prstGeom>
            <a:noFill/>
          </p:spPr>
          <p:txBody>
            <a:bodyPr wrap="square" lIns="36000" tIns="36000" rIns="36000" bIns="36000" rtlCol="0">
              <a:spAutoFit/>
            </a:bodyPr>
            <a:lstStyle/>
            <a:p>
              <a:pPr algn="ctr">
                <a:spcBef>
                  <a:spcPts val="600"/>
                </a:spcBef>
              </a:pPr>
              <a:r>
                <a:rPr lang="en-US" sz="1000" b="1">
                  <a:latin typeface="+mn-lt"/>
                </a:rPr>
                <a:t>Data Officer</a:t>
              </a:r>
            </a:p>
          </p:txBody>
        </p:sp>
        <p:grpSp>
          <p:nvGrpSpPr>
            <p:cNvPr id="48" name="Groupe 47">
              <a:extLst>
                <a:ext uri="{FF2B5EF4-FFF2-40B4-BE49-F238E27FC236}">
                  <a16:creationId xmlns:a16="http://schemas.microsoft.com/office/drawing/2014/main" id="{41BCFA03-4346-6CCE-759B-D66D07F31023}"/>
                </a:ext>
              </a:extLst>
            </p:cNvPr>
            <p:cNvGrpSpPr/>
            <p:nvPr/>
          </p:nvGrpSpPr>
          <p:grpSpPr>
            <a:xfrm>
              <a:off x="3681564" y="1950963"/>
              <a:ext cx="644441" cy="644441"/>
              <a:chOff x="1031930" y="4251096"/>
              <a:chExt cx="644441" cy="644441"/>
            </a:xfrm>
          </p:grpSpPr>
          <p:sp>
            <p:nvSpPr>
              <p:cNvPr id="49" name="Ellipse 48">
                <a:extLst>
                  <a:ext uri="{FF2B5EF4-FFF2-40B4-BE49-F238E27FC236}">
                    <a16:creationId xmlns:a16="http://schemas.microsoft.com/office/drawing/2014/main" id="{4600F5FE-EF4F-7525-24CD-C7AF2A9652A3}"/>
                  </a:ext>
                </a:extLst>
              </p:cNvPr>
              <p:cNvSpPr/>
              <p:nvPr/>
            </p:nvSpPr>
            <p:spPr>
              <a:xfrm>
                <a:off x="1031930" y="4251096"/>
                <a:ext cx="644441" cy="644441"/>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endParaRPr>
              </a:p>
            </p:txBody>
          </p:sp>
          <p:pic>
            <p:nvPicPr>
              <p:cNvPr id="50" name="Image 49">
                <a:extLst>
                  <a:ext uri="{FF2B5EF4-FFF2-40B4-BE49-F238E27FC236}">
                    <a16:creationId xmlns:a16="http://schemas.microsoft.com/office/drawing/2014/main" id="{306592A8-02AC-A9E0-7312-FB3CFFC59EE5}"/>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84150" y="4303316"/>
                <a:ext cx="540000" cy="540000"/>
              </a:xfrm>
              <a:prstGeom prst="rect">
                <a:avLst/>
              </a:prstGeom>
            </p:spPr>
          </p:pic>
        </p:grpSp>
      </p:grpSp>
      <p:sp>
        <p:nvSpPr>
          <p:cNvPr id="68" name="ZoneTexte 67">
            <a:extLst>
              <a:ext uri="{FF2B5EF4-FFF2-40B4-BE49-F238E27FC236}">
                <a16:creationId xmlns:a16="http://schemas.microsoft.com/office/drawing/2014/main" id="{CF17CA0D-28DC-BFAA-975F-AA86B33358FA}"/>
              </a:ext>
            </a:extLst>
          </p:cNvPr>
          <p:cNvSpPr txBox="1"/>
          <p:nvPr/>
        </p:nvSpPr>
        <p:spPr>
          <a:xfrm>
            <a:off x="425947" y="5586193"/>
            <a:ext cx="1620000" cy="246221"/>
          </a:xfrm>
          <a:prstGeom prst="rect">
            <a:avLst/>
          </a:prstGeom>
          <a:noFill/>
        </p:spPr>
        <p:txBody>
          <a:bodyPr wrap="square">
            <a:spAutoFit/>
          </a:bodyPr>
          <a:lstStyle/>
          <a:p>
            <a:pPr marL="171450" indent="-171450" algn="just">
              <a:buFont typeface="Arial" panose="020B0604020202020204" pitchFamily="34" charset="0"/>
              <a:buChar char="•"/>
            </a:pPr>
            <a:r>
              <a:rPr lang="en-US" sz="1000" i="1">
                <a:highlight>
                  <a:srgbClr val="FFFF00"/>
                </a:highlight>
              </a:rPr>
              <a:t>Qualify Use case</a:t>
            </a:r>
          </a:p>
        </p:txBody>
      </p:sp>
      <p:grpSp>
        <p:nvGrpSpPr>
          <p:cNvPr id="107" name="Groupe 106">
            <a:extLst>
              <a:ext uri="{FF2B5EF4-FFF2-40B4-BE49-F238E27FC236}">
                <a16:creationId xmlns:a16="http://schemas.microsoft.com/office/drawing/2014/main" id="{36242525-7159-4C7C-96C6-3738B8D562DC}"/>
              </a:ext>
            </a:extLst>
          </p:cNvPr>
          <p:cNvGrpSpPr/>
          <p:nvPr/>
        </p:nvGrpSpPr>
        <p:grpSpPr>
          <a:xfrm>
            <a:off x="414252" y="4816170"/>
            <a:ext cx="1615269" cy="787329"/>
            <a:chOff x="6761294" y="1985750"/>
            <a:chExt cx="1615269" cy="787329"/>
          </a:xfrm>
        </p:grpSpPr>
        <p:grpSp>
          <p:nvGrpSpPr>
            <p:cNvPr id="103" name="Groupe 102">
              <a:extLst>
                <a:ext uri="{FF2B5EF4-FFF2-40B4-BE49-F238E27FC236}">
                  <a16:creationId xmlns:a16="http://schemas.microsoft.com/office/drawing/2014/main" id="{2EC15CF5-15B5-7DE6-4CCB-6E4B1FBF4757}"/>
                </a:ext>
              </a:extLst>
            </p:cNvPr>
            <p:cNvGrpSpPr/>
            <p:nvPr/>
          </p:nvGrpSpPr>
          <p:grpSpPr>
            <a:xfrm>
              <a:off x="6761294" y="1985750"/>
              <a:ext cx="644441" cy="644441"/>
              <a:chOff x="6761294" y="1985750"/>
              <a:chExt cx="644441" cy="644441"/>
            </a:xfrm>
          </p:grpSpPr>
          <p:sp>
            <p:nvSpPr>
              <p:cNvPr id="74" name="Ellipse 73">
                <a:extLst>
                  <a:ext uri="{FF2B5EF4-FFF2-40B4-BE49-F238E27FC236}">
                    <a16:creationId xmlns:a16="http://schemas.microsoft.com/office/drawing/2014/main" id="{461172FD-5EAB-58E7-25DC-00C95BFC8D0E}"/>
                  </a:ext>
                </a:extLst>
              </p:cNvPr>
              <p:cNvSpPr/>
              <p:nvPr/>
            </p:nvSpPr>
            <p:spPr>
              <a:xfrm>
                <a:off x="6761294" y="1985750"/>
                <a:ext cx="644441" cy="644441"/>
              </a:xfrm>
              <a:prstGeom prst="ellipse">
                <a:avLst/>
              </a:prstGeom>
              <a:solidFill>
                <a:srgbClr val="FF8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latin typeface="Graphik" panose="020B0503030202060203" pitchFamily="34" charset="0"/>
                </a:endParaRPr>
              </a:p>
            </p:txBody>
          </p:sp>
          <p:pic>
            <p:nvPicPr>
              <p:cNvPr id="75" name="Image 74">
                <a:extLst>
                  <a:ext uri="{FF2B5EF4-FFF2-40B4-BE49-F238E27FC236}">
                    <a16:creationId xmlns:a16="http://schemas.microsoft.com/office/drawing/2014/main" id="{C692F82F-20CB-5AE5-A2A0-AB1A313B9303}"/>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6813514" y="2044037"/>
                <a:ext cx="540000" cy="527865"/>
              </a:xfrm>
              <a:prstGeom prst="rect">
                <a:avLst/>
              </a:prstGeom>
            </p:spPr>
          </p:pic>
        </p:grpSp>
        <p:grpSp>
          <p:nvGrpSpPr>
            <p:cNvPr id="97" name="Groupe 96">
              <a:extLst>
                <a:ext uri="{FF2B5EF4-FFF2-40B4-BE49-F238E27FC236}">
                  <a16:creationId xmlns:a16="http://schemas.microsoft.com/office/drawing/2014/main" id="{AC2A44CC-A1FB-81EF-E7F0-A1FE44B26DA1}"/>
                </a:ext>
              </a:extLst>
            </p:cNvPr>
            <p:cNvGrpSpPr/>
            <p:nvPr/>
          </p:nvGrpSpPr>
          <p:grpSpPr>
            <a:xfrm>
              <a:off x="7332563" y="1985750"/>
              <a:ext cx="1044000" cy="787329"/>
              <a:chOff x="7505561" y="1985750"/>
              <a:chExt cx="1044000" cy="787329"/>
            </a:xfrm>
          </p:grpSpPr>
          <p:sp>
            <p:nvSpPr>
              <p:cNvPr id="72" name="ZoneTexte 71">
                <a:extLst>
                  <a:ext uri="{FF2B5EF4-FFF2-40B4-BE49-F238E27FC236}">
                    <a16:creationId xmlns:a16="http://schemas.microsoft.com/office/drawing/2014/main" id="{BF12CC8C-BCD7-893B-8B34-240EF461AD08}"/>
                  </a:ext>
                </a:extLst>
              </p:cNvPr>
              <p:cNvSpPr txBox="1"/>
              <p:nvPr/>
            </p:nvSpPr>
            <p:spPr>
              <a:xfrm>
                <a:off x="7505561" y="1985750"/>
                <a:ext cx="1044000" cy="226591"/>
              </a:xfrm>
              <a:prstGeom prst="rect">
                <a:avLst/>
              </a:prstGeom>
              <a:noFill/>
            </p:spPr>
            <p:txBody>
              <a:bodyPr wrap="square" lIns="36000" tIns="36000" rIns="36000" bIns="36000" rtlCol="0">
                <a:spAutoFit/>
              </a:bodyPr>
              <a:lstStyle>
                <a:defPPr>
                  <a:defRPr lang="fr-FR"/>
                </a:defPPr>
                <a:lvl1pPr algn="ctr">
                  <a:spcBef>
                    <a:spcPts val="600"/>
                  </a:spcBef>
                  <a:defRPr sz="1000" b="1" u="sng">
                    <a:uFill>
                      <a:solidFill>
                        <a:srgbClr val="7FD7D6"/>
                      </a:solidFill>
                    </a:uFill>
                  </a:defRPr>
                </a:lvl1pPr>
              </a:lstStyle>
              <a:p>
                <a:pPr algn="ctr"/>
                <a:r>
                  <a:rPr lang="en-US" sz="1000" b="1" u="none">
                    <a:uFill>
                      <a:solidFill>
                        <a:srgbClr val="FF8DA0"/>
                      </a:solidFill>
                    </a:uFill>
                    <a:latin typeface="+mn-lt"/>
                  </a:rPr>
                  <a:t>Data </a:t>
                </a:r>
                <a:r>
                  <a:rPr lang="en-US" sz="1000" b="1" u="none">
                    <a:highlight>
                      <a:srgbClr val="FFFF00"/>
                    </a:highlight>
                    <a:uFill>
                      <a:solidFill>
                        <a:srgbClr val="FF8DA0"/>
                      </a:solidFill>
                    </a:uFill>
                    <a:latin typeface="+mn-lt"/>
                  </a:rPr>
                  <a:t>Analyst</a:t>
                </a:r>
              </a:p>
            </p:txBody>
          </p:sp>
          <p:sp>
            <p:nvSpPr>
              <p:cNvPr id="73" name="ZoneTexte 72">
                <a:extLst>
                  <a:ext uri="{FF2B5EF4-FFF2-40B4-BE49-F238E27FC236}">
                    <a16:creationId xmlns:a16="http://schemas.microsoft.com/office/drawing/2014/main" id="{65D18228-2EA9-4AD8-0035-15EA8E47B073}"/>
                  </a:ext>
                </a:extLst>
              </p:cNvPr>
              <p:cNvSpPr txBox="1"/>
              <p:nvPr/>
            </p:nvSpPr>
            <p:spPr>
              <a:xfrm>
                <a:off x="7505561" y="2295063"/>
                <a:ext cx="1044000" cy="478016"/>
              </a:xfrm>
              <a:prstGeom prst="rect">
                <a:avLst/>
              </a:prstGeom>
              <a:noFill/>
            </p:spPr>
            <p:txBody>
              <a:bodyPr wrap="square" rtlCol="0">
                <a:spAutoFit/>
              </a:bodyPr>
              <a:lstStyle/>
              <a:p>
                <a:pPr algn="ctr"/>
                <a:r>
                  <a:rPr lang="en-US" sz="1000" b="1">
                    <a:solidFill>
                      <a:srgbClr val="FF8DA0"/>
                    </a:solidFill>
                  </a:rPr>
                  <a:t>IT</a:t>
                </a:r>
              </a:p>
              <a:p>
                <a:pPr algn="ctr">
                  <a:lnSpc>
                    <a:spcPts val="900"/>
                  </a:lnSpc>
                </a:pPr>
                <a:r>
                  <a:rPr lang="en-US" sz="1000"/>
                  <a:t>Inside data office team</a:t>
                </a:r>
              </a:p>
            </p:txBody>
          </p:sp>
        </p:grpSp>
      </p:grpSp>
      <p:sp>
        <p:nvSpPr>
          <p:cNvPr id="77" name="ZoneTexte 76">
            <a:extLst>
              <a:ext uri="{FF2B5EF4-FFF2-40B4-BE49-F238E27FC236}">
                <a16:creationId xmlns:a16="http://schemas.microsoft.com/office/drawing/2014/main" id="{81768ECA-0C31-B9F7-D051-649244F847B5}"/>
              </a:ext>
            </a:extLst>
          </p:cNvPr>
          <p:cNvSpPr txBox="1"/>
          <p:nvPr/>
        </p:nvSpPr>
        <p:spPr>
          <a:xfrm>
            <a:off x="2434279" y="5586193"/>
            <a:ext cx="1620000" cy="400110"/>
          </a:xfrm>
          <a:prstGeom prst="rect">
            <a:avLst/>
          </a:prstGeom>
          <a:noFill/>
        </p:spPr>
        <p:txBody>
          <a:bodyPr wrap="square">
            <a:spAutoFit/>
          </a:bodyPr>
          <a:lstStyle/>
          <a:p>
            <a:pPr marL="171450" indent="-171450" algn="just">
              <a:buFont typeface="Arial" panose="020B0604020202020204" pitchFamily="34" charset="0"/>
              <a:buChar char="•"/>
            </a:pPr>
            <a:r>
              <a:rPr lang="en-US" sz="1000" i="1"/>
              <a:t>Help publish data product</a:t>
            </a:r>
          </a:p>
          <a:p>
            <a:pPr marL="171450" indent="-171450" algn="just">
              <a:buFont typeface="Arial" panose="020B0604020202020204" pitchFamily="34" charset="0"/>
              <a:buChar char="•"/>
            </a:pPr>
            <a:r>
              <a:rPr lang="en-US" sz="1000" i="1"/>
              <a:t>Manage data catalog</a:t>
            </a:r>
          </a:p>
        </p:txBody>
      </p:sp>
      <p:grpSp>
        <p:nvGrpSpPr>
          <p:cNvPr id="106" name="Groupe 105">
            <a:extLst>
              <a:ext uri="{FF2B5EF4-FFF2-40B4-BE49-F238E27FC236}">
                <a16:creationId xmlns:a16="http://schemas.microsoft.com/office/drawing/2014/main" id="{CEA2F1B0-DEBC-5752-451F-E2AA848A12F0}"/>
              </a:ext>
            </a:extLst>
          </p:cNvPr>
          <p:cNvGrpSpPr/>
          <p:nvPr/>
        </p:nvGrpSpPr>
        <p:grpSpPr>
          <a:xfrm>
            <a:off x="2427279" y="4816170"/>
            <a:ext cx="1622908" cy="795567"/>
            <a:chOff x="8753765" y="2009009"/>
            <a:chExt cx="1622908" cy="795567"/>
          </a:xfrm>
        </p:grpSpPr>
        <p:grpSp>
          <p:nvGrpSpPr>
            <p:cNvPr id="104" name="Groupe 103">
              <a:extLst>
                <a:ext uri="{FF2B5EF4-FFF2-40B4-BE49-F238E27FC236}">
                  <a16:creationId xmlns:a16="http://schemas.microsoft.com/office/drawing/2014/main" id="{F7413823-F54E-E4C4-2231-279EFF893403}"/>
                </a:ext>
              </a:extLst>
            </p:cNvPr>
            <p:cNvGrpSpPr/>
            <p:nvPr/>
          </p:nvGrpSpPr>
          <p:grpSpPr>
            <a:xfrm>
              <a:off x="8753765" y="2009009"/>
              <a:ext cx="644441" cy="644441"/>
              <a:chOff x="8753765" y="2009009"/>
              <a:chExt cx="644441" cy="644441"/>
            </a:xfrm>
          </p:grpSpPr>
          <p:sp>
            <p:nvSpPr>
              <p:cNvPr id="83" name="Ellipse 82">
                <a:extLst>
                  <a:ext uri="{FF2B5EF4-FFF2-40B4-BE49-F238E27FC236}">
                    <a16:creationId xmlns:a16="http://schemas.microsoft.com/office/drawing/2014/main" id="{F2E5592C-A915-ABE2-CE2D-3E8AF977EB19}"/>
                  </a:ext>
                </a:extLst>
              </p:cNvPr>
              <p:cNvSpPr/>
              <p:nvPr/>
            </p:nvSpPr>
            <p:spPr>
              <a:xfrm>
                <a:off x="8753765" y="2009009"/>
                <a:ext cx="644441" cy="644441"/>
              </a:xfrm>
              <a:prstGeom prst="ellipse">
                <a:avLst/>
              </a:prstGeom>
              <a:solidFill>
                <a:srgbClr val="FF8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latin typeface="Graphik" panose="020B0503030202060203" pitchFamily="34" charset="0"/>
                </a:endParaRPr>
              </a:p>
            </p:txBody>
          </p:sp>
          <p:pic>
            <p:nvPicPr>
              <p:cNvPr id="84" name="Image 83">
                <a:extLst>
                  <a:ext uri="{FF2B5EF4-FFF2-40B4-BE49-F238E27FC236}">
                    <a16:creationId xmlns:a16="http://schemas.microsoft.com/office/drawing/2014/main" id="{E26B0439-BA78-82E6-EBB9-39382FE60D81}"/>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8815018" y="2067296"/>
                <a:ext cx="521933" cy="527865"/>
              </a:xfrm>
              <a:prstGeom prst="rect">
                <a:avLst/>
              </a:prstGeom>
            </p:spPr>
          </p:pic>
        </p:grpSp>
        <p:grpSp>
          <p:nvGrpSpPr>
            <p:cNvPr id="98" name="Groupe 97">
              <a:extLst>
                <a:ext uri="{FF2B5EF4-FFF2-40B4-BE49-F238E27FC236}">
                  <a16:creationId xmlns:a16="http://schemas.microsoft.com/office/drawing/2014/main" id="{F215AB47-4434-14B8-7E15-0266DA9C096C}"/>
                </a:ext>
              </a:extLst>
            </p:cNvPr>
            <p:cNvGrpSpPr/>
            <p:nvPr/>
          </p:nvGrpSpPr>
          <p:grpSpPr>
            <a:xfrm>
              <a:off x="9332673" y="2009009"/>
              <a:ext cx="1044000" cy="795567"/>
              <a:chOff x="9439767" y="2009009"/>
              <a:chExt cx="1044000" cy="795567"/>
            </a:xfrm>
          </p:grpSpPr>
          <p:sp>
            <p:nvSpPr>
              <p:cNvPr id="81" name="ZoneTexte 80">
                <a:extLst>
                  <a:ext uri="{FF2B5EF4-FFF2-40B4-BE49-F238E27FC236}">
                    <a16:creationId xmlns:a16="http://schemas.microsoft.com/office/drawing/2014/main" id="{1B6DF71D-ED65-0731-0209-DEEBE99BB99C}"/>
                  </a:ext>
                </a:extLst>
              </p:cNvPr>
              <p:cNvSpPr txBox="1"/>
              <p:nvPr/>
            </p:nvSpPr>
            <p:spPr>
              <a:xfrm>
                <a:off x="9439767" y="2009009"/>
                <a:ext cx="1044000" cy="380480"/>
              </a:xfrm>
              <a:prstGeom prst="rect">
                <a:avLst/>
              </a:prstGeom>
              <a:noFill/>
            </p:spPr>
            <p:txBody>
              <a:bodyPr wrap="square" lIns="36000" tIns="36000" rIns="36000" bIns="36000" rtlCol="0">
                <a:spAutoFit/>
              </a:bodyPr>
              <a:lstStyle>
                <a:defPPr>
                  <a:defRPr lang="fr-FR"/>
                </a:defPPr>
                <a:lvl1pPr algn="ctr">
                  <a:spcBef>
                    <a:spcPts val="600"/>
                  </a:spcBef>
                  <a:defRPr sz="1000" b="1" u="sng">
                    <a:uFill>
                      <a:solidFill>
                        <a:srgbClr val="7FD7D6"/>
                      </a:solidFill>
                    </a:uFill>
                  </a:defRPr>
                </a:lvl1pPr>
              </a:lstStyle>
              <a:p>
                <a:pPr algn="ctr"/>
                <a:r>
                  <a:rPr lang="en-US" sz="1000" b="1" u="none">
                    <a:uFill>
                      <a:solidFill>
                        <a:srgbClr val="FF8DA0"/>
                      </a:solidFill>
                    </a:uFill>
                    <a:latin typeface="+mn-lt"/>
                  </a:rPr>
                  <a:t>Data governance facilitator</a:t>
                </a:r>
              </a:p>
            </p:txBody>
          </p:sp>
          <p:sp>
            <p:nvSpPr>
              <p:cNvPr id="82" name="ZoneTexte 81">
                <a:extLst>
                  <a:ext uri="{FF2B5EF4-FFF2-40B4-BE49-F238E27FC236}">
                    <a16:creationId xmlns:a16="http://schemas.microsoft.com/office/drawing/2014/main" id="{3F787C57-33FB-5EE9-7104-CFB91DC7F304}"/>
                  </a:ext>
                </a:extLst>
              </p:cNvPr>
              <p:cNvSpPr txBox="1"/>
              <p:nvPr/>
            </p:nvSpPr>
            <p:spPr>
              <a:xfrm>
                <a:off x="9439767" y="2326560"/>
                <a:ext cx="1044000" cy="478016"/>
              </a:xfrm>
              <a:prstGeom prst="rect">
                <a:avLst/>
              </a:prstGeom>
              <a:noFill/>
            </p:spPr>
            <p:txBody>
              <a:bodyPr wrap="square" rtlCol="0">
                <a:spAutoFit/>
              </a:bodyPr>
              <a:lstStyle/>
              <a:p>
                <a:pPr algn="ctr"/>
                <a:r>
                  <a:rPr lang="en-US" sz="1000" b="1">
                    <a:solidFill>
                      <a:srgbClr val="FF8DA0"/>
                    </a:solidFill>
                  </a:rPr>
                  <a:t>IT</a:t>
                </a:r>
              </a:p>
              <a:p>
                <a:pPr algn="ctr">
                  <a:lnSpc>
                    <a:spcPts val="900"/>
                  </a:lnSpc>
                </a:pPr>
                <a:r>
                  <a:rPr lang="en-US" sz="1000"/>
                  <a:t>Inside data office team</a:t>
                </a:r>
              </a:p>
            </p:txBody>
          </p:sp>
        </p:grpSp>
      </p:grpSp>
      <p:sp>
        <p:nvSpPr>
          <p:cNvPr id="86" name="ZoneTexte 85">
            <a:extLst>
              <a:ext uri="{FF2B5EF4-FFF2-40B4-BE49-F238E27FC236}">
                <a16:creationId xmlns:a16="http://schemas.microsoft.com/office/drawing/2014/main" id="{D288AA91-531D-7D09-F525-763B38F7F3DF}"/>
              </a:ext>
            </a:extLst>
          </p:cNvPr>
          <p:cNvSpPr txBox="1"/>
          <p:nvPr/>
        </p:nvSpPr>
        <p:spPr>
          <a:xfrm>
            <a:off x="4442612" y="5586193"/>
            <a:ext cx="1620000" cy="553998"/>
          </a:xfrm>
          <a:prstGeom prst="rect">
            <a:avLst/>
          </a:prstGeom>
          <a:noFill/>
        </p:spPr>
        <p:txBody>
          <a:bodyPr wrap="square">
            <a:spAutoFit/>
          </a:bodyPr>
          <a:lstStyle/>
          <a:p>
            <a:pPr marL="171450" indent="-171450">
              <a:buFont typeface="Arial" panose="020B0604020202020204" pitchFamily="34" charset="0"/>
              <a:buChar char="•"/>
            </a:pPr>
            <a:r>
              <a:rPr lang="en-US" sz="1000"/>
              <a:t>C</a:t>
            </a:r>
            <a:r>
              <a:rPr lang="en-US" sz="1000">
                <a:solidFill>
                  <a:schemeClr val="tx1"/>
                </a:solidFill>
              </a:rPr>
              <a:t>oach data consumers, </a:t>
            </a:r>
          </a:p>
          <a:p>
            <a:pPr marL="171450" indent="-171450">
              <a:buFont typeface="Arial" panose="020B0604020202020204" pitchFamily="34" charset="0"/>
              <a:buChar char="•"/>
            </a:pPr>
            <a:r>
              <a:rPr lang="en-US" sz="1000">
                <a:solidFill>
                  <a:schemeClr val="tx1"/>
                </a:solidFill>
              </a:rPr>
              <a:t>Monitor data product adoption</a:t>
            </a:r>
          </a:p>
        </p:txBody>
      </p:sp>
      <p:grpSp>
        <p:nvGrpSpPr>
          <p:cNvPr id="111" name="Groupe 110">
            <a:extLst>
              <a:ext uri="{FF2B5EF4-FFF2-40B4-BE49-F238E27FC236}">
                <a16:creationId xmlns:a16="http://schemas.microsoft.com/office/drawing/2014/main" id="{C0864DD1-A9B6-0119-43B4-5C4E49EE1060}"/>
              </a:ext>
            </a:extLst>
          </p:cNvPr>
          <p:cNvGrpSpPr/>
          <p:nvPr/>
        </p:nvGrpSpPr>
        <p:grpSpPr>
          <a:xfrm>
            <a:off x="4447943" y="4816170"/>
            <a:ext cx="1614669" cy="795567"/>
            <a:chOff x="7296782" y="3688702"/>
            <a:chExt cx="1614669" cy="795567"/>
          </a:xfrm>
        </p:grpSpPr>
        <p:grpSp>
          <p:nvGrpSpPr>
            <p:cNvPr id="105" name="Groupe 104">
              <a:extLst>
                <a:ext uri="{FF2B5EF4-FFF2-40B4-BE49-F238E27FC236}">
                  <a16:creationId xmlns:a16="http://schemas.microsoft.com/office/drawing/2014/main" id="{99074089-1C67-7712-92D7-1CFAA3A7B712}"/>
                </a:ext>
              </a:extLst>
            </p:cNvPr>
            <p:cNvGrpSpPr/>
            <p:nvPr/>
          </p:nvGrpSpPr>
          <p:grpSpPr>
            <a:xfrm>
              <a:off x="7296782" y="3688702"/>
              <a:ext cx="644441" cy="644441"/>
              <a:chOff x="7296782" y="3688702"/>
              <a:chExt cx="644441" cy="644441"/>
            </a:xfrm>
          </p:grpSpPr>
          <p:sp>
            <p:nvSpPr>
              <p:cNvPr id="92" name="Ellipse 91">
                <a:extLst>
                  <a:ext uri="{FF2B5EF4-FFF2-40B4-BE49-F238E27FC236}">
                    <a16:creationId xmlns:a16="http://schemas.microsoft.com/office/drawing/2014/main" id="{613ACB7D-C228-429D-5F8D-9360E635C502}"/>
                  </a:ext>
                </a:extLst>
              </p:cNvPr>
              <p:cNvSpPr/>
              <p:nvPr/>
            </p:nvSpPr>
            <p:spPr>
              <a:xfrm>
                <a:off x="7296782" y="3688702"/>
                <a:ext cx="644441" cy="644441"/>
              </a:xfrm>
              <a:prstGeom prst="ellipse">
                <a:avLst/>
              </a:prstGeom>
              <a:solidFill>
                <a:srgbClr val="FF8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latin typeface="Graphik" panose="020B0503030202060203" pitchFamily="34" charset="0"/>
                </a:endParaRPr>
              </a:p>
            </p:txBody>
          </p:sp>
          <p:pic>
            <p:nvPicPr>
              <p:cNvPr id="93" name="Image 92">
                <a:extLst>
                  <a:ext uri="{FF2B5EF4-FFF2-40B4-BE49-F238E27FC236}">
                    <a16:creationId xmlns:a16="http://schemas.microsoft.com/office/drawing/2014/main" id="{9C1642FF-FD5D-9860-7497-1C15FD545FEE}"/>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7358035" y="3749955"/>
                <a:ext cx="521933" cy="521933"/>
              </a:xfrm>
              <a:prstGeom prst="rect">
                <a:avLst/>
              </a:prstGeom>
            </p:spPr>
          </p:pic>
        </p:grpSp>
        <p:grpSp>
          <p:nvGrpSpPr>
            <p:cNvPr id="99" name="Groupe 98">
              <a:extLst>
                <a:ext uri="{FF2B5EF4-FFF2-40B4-BE49-F238E27FC236}">
                  <a16:creationId xmlns:a16="http://schemas.microsoft.com/office/drawing/2014/main" id="{2BF772A8-6F4B-7972-19E4-EF7B918DE87E}"/>
                </a:ext>
              </a:extLst>
            </p:cNvPr>
            <p:cNvGrpSpPr/>
            <p:nvPr/>
          </p:nvGrpSpPr>
          <p:grpSpPr>
            <a:xfrm>
              <a:off x="7867451" y="3688702"/>
              <a:ext cx="1044000" cy="795567"/>
              <a:chOff x="7982783" y="3688702"/>
              <a:chExt cx="1044000" cy="795567"/>
            </a:xfrm>
          </p:grpSpPr>
          <p:sp>
            <p:nvSpPr>
              <p:cNvPr id="90" name="ZoneTexte 89">
                <a:extLst>
                  <a:ext uri="{FF2B5EF4-FFF2-40B4-BE49-F238E27FC236}">
                    <a16:creationId xmlns:a16="http://schemas.microsoft.com/office/drawing/2014/main" id="{EF38B4BA-6A95-94CA-7F26-4E2999820B0B}"/>
                  </a:ext>
                </a:extLst>
              </p:cNvPr>
              <p:cNvSpPr txBox="1"/>
              <p:nvPr/>
            </p:nvSpPr>
            <p:spPr>
              <a:xfrm>
                <a:off x="7982783" y="3688702"/>
                <a:ext cx="1044000" cy="380480"/>
              </a:xfrm>
              <a:prstGeom prst="rect">
                <a:avLst/>
              </a:prstGeom>
              <a:noFill/>
            </p:spPr>
            <p:txBody>
              <a:bodyPr wrap="square" lIns="36000" tIns="36000" rIns="36000" bIns="36000" rtlCol="0">
                <a:spAutoFit/>
              </a:bodyPr>
              <a:lstStyle>
                <a:defPPr>
                  <a:defRPr lang="fr-FR"/>
                </a:defPPr>
                <a:lvl1pPr algn="ctr">
                  <a:spcBef>
                    <a:spcPts val="600"/>
                  </a:spcBef>
                  <a:defRPr sz="1000" b="1" u="sng">
                    <a:uFill>
                      <a:solidFill>
                        <a:srgbClr val="7FD7D6"/>
                      </a:solidFill>
                    </a:uFill>
                  </a:defRPr>
                </a:lvl1pPr>
              </a:lstStyle>
              <a:p>
                <a:pPr algn="ctr"/>
                <a:r>
                  <a:rPr lang="en-US" sz="1000" b="1" u="none">
                    <a:uFill>
                      <a:solidFill>
                        <a:srgbClr val="FF8DA0"/>
                      </a:solidFill>
                    </a:uFill>
                    <a:latin typeface="+mn-lt"/>
                  </a:rPr>
                  <a:t>Data community coordinator</a:t>
                </a:r>
              </a:p>
            </p:txBody>
          </p:sp>
          <p:sp>
            <p:nvSpPr>
              <p:cNvPr id="91" name="ZoneTexte 90">
                <a:extLst>
                  <a:ext uri="{FF2B5EF4-FFF2-40B4-BE49-F238E27FC236}">
                    <a16:creationId xmlns:a16="http://schemas.microsoft.com/office/drawing/2014/main" id="{CBE5DD6B-9EBE-E4F3-9F22-B33E8F4C6F44}"/>
                  </a:ext>
                </a:extLst>
              </p:cNvPr>
              <p:cNvSpPr txBox="1"/>
              <p:nvPr/>
            </p:nvSpPr>
            <p:spPr>
              <a:xfrm>
                <a:off x="7982783" y="4006253"/>
                <a:ext cx="1044000" cy="478016"/>
              </a:xfrm>
              <a:prstGeom prst="rect">
                <a:avLst/>
              </a:prstGeom>
              <a:noFill/>
            </p:spPr>
            <p:txBody>
              <a:bodyPr wrap="square" rtlCol="0">
                <a:spAutoFit/>
              </a:bodyPr>
              <a:lstStyle/>
              <a:p>
                <a:pPr algn="ctr"/>
                <a:r>
                  <a:rPr lang="en-US" sz="1000" b="1">
                    <a:solidFill>
                      <a:srgbClr val="FF8DA0"/>
                    </a:solidFill>
                  </a:rPr>
                  <a:t>IT</a:t>
                </a:r>
              </a:p>
              <a:p>
                <a:pPr algn="ctr">
                  <a:lnSpc>
                    <a:spcPts val="900"/>
                  </a:lnSpc>
                </a:pPr>
                <a:r>
                  <a:rPr lang="en-US" sz="1000"/>
                  <a:t>Inside data office team</a:t>
                </a:r>
              </a:p>
            </p:txBody>
          </p:sp>
        </p:grpSp>
      </p:grpSp>
      <p:grpSp>
        <p:nvGrpSpPr>
          <p:cNvPr id="112" name="Groupe 111">
            <a:extLst>
              <a:ext uri="{FF2B5EF4-FFF2-40B4-BE49-F238E27FC236}">
                <a16:creationId xmlns:a16="http://schemas.microsoft.com/office/drawing/2014/main" id="{AB9C1435-9F89-CE7F-2699-A36FAB56CCA2}"/>
              </a:ext>
            </a:extLst>
          </p:cNvPr>
          <p:cNvGrpSpPr/>
          <p:nvPr/>
        </p:nvGrpSpPr>
        <p:grpSpPr>
          <a:xfrm>
            <a:off x="2364521" y="3901134"/>
            <a:ext cx="774073" cy="766410"/>
            <a:chOff x="5337398" y="1962607"/>
            <a:chExt cx="888240" cy="879447"/>
          </a:xfrm>
        </p:grpSpPr>
        <p:sp>
          <p:nvSpPr>
            <p:cNvPr id="113" name="Ellipse 112">
              <a:extLst>
                <a:ext uri="{FF2B5EF4-FFF2-40B4-BE49-F238E27FC236}">
                  <a16:creationId xmlns:a16="http://schemas.microsoft.com/office/drawing/2014/main" id="{3ACBB0E1-8384-942E-59D2-48835C3661F8}"/>
                </a:ext>
              </a:extLst>
            </p:cNvPr>
            <p:cNvSpPr/>
            <p:nvPr/>
          </p:nvSpPr>
          <p:spPr>
            <a:xfrm>
              <a:off x="5340613" y="1962607"/>
              <a:ext cx="879447" cy="879447"/>
            </a:xfrm>
            <a:prstGeom prst="ellipse">
              <a:avLst/>
            </a:prstGeom>
            <a:solidFill>
              <a:srgbClr val="FF8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Graphik" panose="020B0503030202060203" pitchFamily="34" charset="0"/>
              </a:endParaRPr>
            </a:p>
          </p:txBody>
        </p:sp>
        <p:sp>
          <p:nvSpPr>
            <p:cNvPr id="114" name="ZoneTexte 113">
              <a:extLst>
                <a:ext uri="{FF2B5EF4-FFF2-40B4-BE49-F238E27FC236}">
                  <a16:creationId xmlns:a16="http://schemas.microsoft.com/office/drawing/2014/main" id="{25829D4E-C8C4-6166-A727-A913060BA784}"/>
                </a:ext>
              </a:extLst>
            </p:cNvPr>
            <p:cNvSpPr txBox="1"/>
            <p:nvPr/>
          </p:nvSpPr>
          <p:spPr>
            <a:xfrm>
              <a:off x="5337398" y="2137379"/>
              <a:ext cx="888240" cy="512097"/>
            </a:xfrm>
            <a:prstGeom prst="rect">
              <a:avLst/>
            </a:prstGeom>
            <a:noFill/>
          </p:spPr>
          <p:txBody>
            <a:bodyPr wrap="square" rtlCol="0">
              <a:spAutoFit/>
            </a:bodyPr>
            <a:lstStyle/>
            <a:p>
              <a:pPr algn="ctr">
                <a:spcBef>
                  <a:spcPts val="600"/>
                </a:spcBef>
              </a:pPr>
              <a:r>
                <a:rPr lang="en-US" sz="900" b="1"/>
                <a:t>DATA </a:t>
              </a:r>
            </a:p>
            <a:p>
              <a:pPr algn="ctr">
                <a:spcBef>
                  <a:spcPts val="600"/>
                </a:spcBef>
              </a:pPr>
              <a:r>
                <a:rPr lang="en-US" sz="900" b="1"/>
                <a:t>OFFICE</a:t>
              </a:r>
            </a:p>
          </p:txBody>
        </p:sp>
      </p:grpSp>
      <p:grpSp>
        <p:nvGrpSpPr>
          <p:cNvPr id="236" name="Groupe 235">
            <a:extLst>
              <a:ext uri="{FF2B5EF4-FFF2-40B4-BE49-F238E27FC236}">
                <a16:creationId xmlns:a16="http://schemas.microsoft.com/office/drawing/2014/main" id="{EF00639D-83A3-5A05-55D9-5E28E686CE04}"/>
              </a:ext>
            </a:extLst>
          </p:cNvPr>
          <p:cNvGrpSpPr/>
          <p:nvPr/>
        </p:nvGrpSpPr>
        <p:grpSpPr>
          <a:xfrm>
            <a:off x="7996408" y="3913107"/>
            <a:ext cx="728910" cy="721695"/>
            <a:chOff x="8154230" y="1716459"/>
            <a:chExt cx="1127157" cy="1116000"/>
          </a:xfrm>
        </p:grpSpPr>
        <p:sp>
          <p:nvSpPr>
            <p:cNvPr id="242" name="Rectangle 241">
              <a:extLst>
                <a:ext uri="{FF2B5EF4-FFF2-40B4-BE49-F238E27FC236}">
                  <a16:creationId xmlns:a16="http://schemas.microsoft.com/office/drawing/2014/main" id="{FA63EBE2-A671-0A68-69CD-152FE3E5C2EE}"/>
                </a:ext>
              </a:extLst>
            </p:cNvPr>
            <p:cNvSpPr/>
            <p:nvPr/>
          </p:nvSpPr>
          <p:spPr>
            <a:xfrm>
              <a:off x="8159808" y="1716459"/>
              <a:ext cx="1116000" cy="1116000"/>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43" name="ZoneTexte 242">
              <a:extLst>
                <a:ext uri="{FF2B5EF4-FFF2-40B4-BE49-F238E27FC236}">
                  <a16:creationId xmlns:a16="http://schemas.microsoft.com/office/drawing/2014/main" id="{3096DDF6-E775-5B64-71F5-68C5FA6DADBD}"/>
                </a:ext>
              </a:extLst>
            </p:cNvPr>
            <p:cNvSpPr txBox="1"/>
            <p:nvPr/>
          </p:nvSpPr>
          <p:spPr>
            <a:xfrm>
              <a:off x="8154230" y="1905127"/>
              <a:ext cx="1127157" cy="230832"/>
            </a:xfrm>
            <a:prstGeom prst="rect">
              <a:avLst/>
            </a:prstGeom>
            <a:noFill/>
          </p:spPr>
          <p:txBody>
            <a:bodyPr wrap="square" lIns="0" rIns="0" rtlCol="0">
              <a:spAutoFit/>
            </a:bodyPr>
            <a:lstStyle/>
            <a:p>
              <a:pPr algn="ctr">
                <a:spcBef>
                  <a:spcPts val="600"/>
                </a:spcBef>
              </a:pPr>
              <a:r>
                <a:rPr lang="en-US" sz="900" b="1">
                  <a:latin typeface="+mn-lt"/>
                </a:rPr>
                <a:t>DATA PLATFORM TEAM</a:t>
              </a:r>
              <a:endParaRPr lang="en-US" sz="600">
                <a:latin typeface="+mn-lt"/>
              </a:endParaRPr>
            </a:p>
          </p:txBody>
        </p:sp>
      </p:grpSp>
      <p:grpSp>
        <p:nvGrpSpPr>
          <p:cNvPr id="237" name="Groupe 236">
            <a:extLst>
              <a:ext uri="{FF2B5EF4-FFF2-40B4-BE49-F238E27FC236}">
                <a16:creationId xmlns:a16="http://schemas.microsoft.com/office/drawing/2014/main" id="{81880980-B05D-EEB9-57A7-F51800613AB4}"/>
              </a:ext>
            </a:extLst>
          </p:cNvPr>
          <p:cNvGrpSpPr/>
          <p:nvPr/>
        </p:nvGrpSpPr>
        <p:grpSpPr>
          <a:xfrm>
            <a:off x="8918521" y="3978823"/>
            <a:ext cx="1740661" cy="644441"/>
            <a:chOff x="9581156" y="1955372"/>
            <a:chExt cx="1740661" cy="644441"/>
          </a:xfrm>
        </p:grpSpPr>
        <p:grpSp>
          <p:nvGrpSpPr>
            <p:cNvPr id="238" name="Groupe 237">
              <a:extLst>
                <a:ext uri="{FF2B5EF4-FFF2-40B4-BE49-F238E27FC236}">
                  <a16:creationId xmlns:a16="http://schemas.microsoft.com/office/drawing/2014/main" id="{72EE3CB5-863C-B8C9-DFC2-DF8B1BCD96E5}"/>
                </a:ext>
              </a:extLst>
            </p:cNvPr>
            <p:cNvGrpSpPr/>
            <p:nvPr/>
          </p:nvGrpSpPr>
          <p:grpSpPr>
            <a:xfrm>
              <a:off x="9581156" y="1955372"/>
              <a:ext cx="644441" cy="644441"/>
              <a:chOff x="6889312" y="4258110"/>
              <a:chExt cx="644441" cy="644441"/>
            </a:xfrm>
          </p:grpSpPr>
          <p:sp>
            <p:nvSpPr>
              <p:cNvPr id="240" name="Ellipse 239">
                <a:extLst>
                  <a:ext uri="{FF2B5EF4-FFF2-40B4-BE49-F238E27FC236}">
                    <a16:creationId xmlns:a16="http://schemas.microsoft.com/office/drawing/2014/main" id="{54FABD3F-DD6D-592F-6BB8-3BF1FD2E2EA0}"/>
                  </a:ext>
                </a:extLst>
              </p:cNvPr>
              <p:cNvSpPr/>
              <p:nvPr/>
            </p:nvSpPr>
            <p:spPr>
              <a:xfrm>
                <a:off x="6889312" y="4258110"/>
                <a:ext cx="644441" cy="644441"/>
              </a:xfrm>
              <a:prstGeom prst="ellipse">
                <a:avLst/>
              </a:prstGeom>
              <a:solidFill>
                <a:schemeClr val="tx2">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endParaRPr>
              </a:p>
            </p:txBody>
          </p:sp>
          <p:pic>
            <p:nvPicPr>
              <p:cNvPr id="241" name="Image 240">
                <a:extLst>
                  <a:ext uri="{FF2B5EF4-FFF2-40B4-BE49-F238E27FC236}">
                    <a16:creationId xmlns:a16="http://schemas.microsoft.com/office/drawing/2014/main" id="{870AC799-CF5B-1881-E4EF-F0773F2A247B}"/>
                  </a:ext>
                </a:extLst>
              </p:cNvPr>
              <p:cNvPicPr>
                <a:picLocks noChangeAspect="1"/>
              </p:cNvPicPr>
              <p:nvPr/>
            </p:nvPicPr>
            <p:blipFill>
              <a:blip r:embed="rId10">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941532" y="4310330"/>
                <a:ext cx="540000" cy="540000"/>
              </a:xfrm>
              <a:prstGeom prst="rect">
                <a:avLst/>
              </a:prstGeom>
            </p:spPr>
          </p:pic>
        </p:grpSp>
        <p:sp>
          <p:nvSpPr>
            <p:cNvPr id="239" name="ZoneTexte 238">
              <a:extLst>
                <a:ext uri="{FF2B5EF4-FFF2-40B4-BE49-F238E27FC236}">
                  <a16:creationId xmlns:a16="http://schemas.microsoft.com/office/drawing/2014/main" id="{95D39A5A-6727-55F3-762C-10B5D78CDEBA}"/>
                </a:ext>
              </a:extLst>
            </p:cNvPr>
            <p:cNvSpPr txBox="1"/>
            <p:nvPr/>
          </p:nvSpPr>
          <p:spPr>
            <a:xfrm>
              <a:off x="10277817" y="2200648"/>
              <a:ext cx="1044000" cy="153888"/>
            </a:xfrm>
            <a:prstGeom prst="rect">
              <a:avLst/>
            </a:prstGeom>
            <a:noFill/>
          </p:spPr>
          <p:txBody>
            <a:bodyPr wrap="square" lIns="0" tIns="0" rIns="0" bIns="0" rtlCol="0">
              <a:spAutoFit/>
            </a:bodyPr>
            <a:lstStyle/>
            <a:p>
              <a:pPr algn="ctr"/>
              <a:r>
                <a:rPr lang="en-US" sz="1000" b="1">
                  <a:latin typeface="+mn-lt"/>
                </a:rPr>
                <a:t>Data Platform Owner</a:t>
              </a:r>
            </a:p>
          </p:txBody>
        </p:sp>
      </p:grpSp>
      <p:grpSp>
        <p:nvGrpSpPr>
          <p:cNvPr id="7" name="Groupe 6">
            <a:extLst>
              <a:ext uri="{FF2B5EF4-FFF2-40B4-BE49-F238E27FC236}">
                <a16:creationId xmlns:a16="http://schemas.microsoft.com/office/drawing/2014/main" id="{C99EF243-3EE5-C87F-CDCE-CEFBA17A6D7F}"/>
              </a:ext>
            </a:extLst>
          </p:cNvPr>
          <p:cNvGrpSpPr/>
          <p:nvPr/>
        </p:nvGrpSpPr>
        <p:grpSpPr>
          <a:xfrm>
            <a:off x="5685410" y="1010823"/>
            <a:ext cx="821180" cy="771101"/>
            <a:chOff x="5639835" y="864784"/>
            <a:chExt cx="821180" cy="771101"/>
          </a:xfrm>
        </p:grpSpPr>
        <p:sp>
          <p:nvSpPr>
            <p:cNvPr id="3" name="Pentagone 2">
              <a:extLst>
                <a:ext uri="{FF2B5EF4-FFF2-40B4-BE49-F238E27FC236}">
                  <a16:creationId xmlns:a16="http://schemas.microsoft.com/office/drawing/2014/main" id="{AECAFCAA-EB08-CF74-C6CD-C5D4984C77AB}"/>
                </a:ext>
              </a:extLst>
            </p:cNvPr>
            <p:cNvSpPr/>
            <p:nvPr/>
          </p:nvSpPr>
          <p:spPr>
            <a:xfrm>
              <a:off x="5664875" y="864784"/>
              <a:ext cx="771101" cy="771101"/>
            </a:xfrm>
            <a:prstGeom prst="pentagon">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ZoneTexte 5">
              <a:extLst>
                <a:ext uri="{FF2B5EF4-FFF2-40B4-BE49-F238E27FC236}">
                  <a16:creationId xmlns:a16="http://schemas.microsoft.com/office/drawing/2014/main" id="{0B92E33C-59BB-84B8-982B-C72AEA7F4C02}"/>
                </a:ext>
              </a:extLst>
            </p:cNvPr>
            <p:cNvSpPr txBox="1"/>
            <p:nvPr/>
          </p:nvSpPr>
          <p:spPr>
            <a:xfrm>
              <a:off x="5639835" y="1065668"/>
              <a:ext cx="821180" cy="369332"/>
            </a:xfrm>
            <a:prstGeom prst="rect">
              <a:avLst/>
            </a:prstGeom>
            <a:noFill/>
          </p:spPr>
          <p:txBody>
            <a:bodyPr wrap="square" rtlCol="0">
              <a:spAutoFit/>
            </a:bodyPr>
            <a:lstStyle/>
            <a:p>
              <a:pPr algn="ctr">
                <a:spcBef>
                  <a:spcPts val="600"/>
                </a:spcBef>
              </a:pPr>
              <a:r>
                <a:rPr lang="en-US" sz="900" b="1"/>
                <a:t>DATA PRODUCERS</a:t>
              </a:r>
            </a:p>
          </p:txBody>
        </p:sp>
      </p:grpSp>
      <p:sp>
        <p:nvSpPr>
          <p:cNvPr id="10" name="ZoneTexte 9">
            <a:extLst>
              <a:ext uri="{FF2B5EF4-FFF2-40B4-BE49-F238E27FC236}">
                <a16:creationId xmlns:a16="http://schemas.microsoft.com/office/drawing/2014/main" id="{0381905E-1329-9591-F5D1-A22A2A5EF6A8}"/>
              </a:ext>
            </a:extLst>
          </p:cNvPr>
          <p:cNvSpPr txBox="1"/>
          <p:nvPr/>
        </p:nvSpPr>
        <p:spPr>
          <a:xfrm>
            <a:off x="7346636" y="5586193"/>
            <a:ext cx="1620000" cy="400110"/>
          </a:xfrm>
          <a:prstGeom prst="rect">
            <a:avLst/>
          </a:prstGeom>
          <a:noFill/>
        </p:spPr>
        <p:txBody>
          <a:bodyPr wrap="square">
            <a:spAutoFit/>
          </a:bodyPr>
          <a:lstStyle/>
          <a:p>
            <a:pPr marL="171450" indent="-171450">
              <a:buFont typeface="Arial" panose="020B0604020202020204" pitchFamily="34" charset="0"/>
              <a:buChar char="•"/>
            </a:pPr>
            <a:r>
              <a:rPr lang="en-US" sz="1000"/>
              <a:t>Build technical template for data products</a:t>
            </a:r>
            <a:endParaRPr lang="en-US" sz="1000">
              <a:solidFill>
                <a:schemeClr val="tx1"/>
              </a:solidFill>
            </a:endParaRPr>
          </a:p>
        </p:txBody>
      </p:sp>
      <p:grpSp>
        <p:nvGrpSpPr>
          <p:cNvPr id="14" name="Groupe 13">
            <a:extLst>
              <a:ext uri="{FF2B5EF4-FFF2-40B4-BE49-F238E27FC236}">
                <a16:creationId xmlns:a16="http://schemas.microsoft.com/office/drawing/2014/main" id="{FEB5B50C-15AD-94E1-014F-9BCD11733C05}"/>
              </a:ext>
            </a:extLst>
          </p:cNvPr>
          <p:cNvGrpSpPr/>
          <p:nvPr/>
        </p:nvGrpSpPr>
        <p:grpSpPr>
          <a:xfrm>
            <a:off x="7351967" y="4816170"/>
            <a:ext cx="1614669" cy="644441"/>
            <a:chOff x="7296782" y="3688702"/>
            <a:chExt cx="1614669" cy="644441"/>
          </a:xfrm>
        </p:grpSpPr>
        <p:grpSp>
          <p:nvGrpSpPr>
            <p:cNvPr id="15" name="Groupe 14">
              <a:extLst>
                <a:ext uri="{FF2B5EF4-FFF2-40B4-BE49-F238E27FC236}">
                  <a16:creationId xmlns:a16="http://schemas.microsoft.com/office/drawing/2014/main" id="{37A16DDC-35DF-FB42-C9F1-740FFE35D9DC}"/>
                </a:ext>
              </a:extLst>
            </p:cNvPr>
            <p:cNvGrpSpPr/>
            <p:nvPr/>
          </p:nvGrpSpPr>
          <p:grpSpPr>
            <a:xfrm>
              <a:off x="7296782" y="3688702"/>
              <a:ext cx="644441" cy="644441"/>
              <a:chOff x="7296782" y="3688702"/>
              <a:chExt cx="644441" cy="644441"/>
            </a:xfrm>
          </p:grpSpPr>
          <p:sp>
            <p:nvSpPr>
              <p:cNvPr id="29" name="Ellipse 28">
                <a:extLst>
                  <a:ext uri="{FF2B5EF4-FFF2-40B4-BE49-F238E27FC236}">
                    <a16:creationId xmlns:a16="http://schemas.microsoft.com/office/drawing/2014/main" id="{1045009F-1E86-C54F-48D2-0E335A55E0A0}"/>
                  </a:ext>
                </a:extLst>
              </p:cNvPr>
              <p:cNvSpPr/>
              <p:nvPr/>
            </p:nvSpPr>
            <p:spPr>
              <a:xfrm>
                <a:off x="7296782" y="3688702"/>
                <a:ext cx="644441" cy="644441"/>
              </a:xfrm>
              <a:prstGeom prst="ellipse">
                <a:avLst/>
              </a:prstGeom>
              <a:solidFill>
                <a:srgbClr val="A6D5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latin typeface="Graphik" panose="020B0503030202060203" pitchFamily="34" charset="0"/>
                </a:endParaRPr>
              </a:p>
            </p:txBody>
          </p:sp>
          <p:pic>
            <p:nvPicPr>
              <p:cNvPr id="30" name="Image 29">
                <a:extLst>
                  <a:ext uri="{FF2B5EF4-FFF2-40B4-BE49-F238E27FC236}">
                    <a16:creationId xmlns:a16="http://schemas.microsoft.com/office/drawing/2014/main" id="{62BB0745-600A-9ECF-C0C9-94B942816EAF}"/>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7360967" y="3749955"/>
                <a:ext cx="516068" cy="521933"/>
              </a:xfrm>
              <a:prstGeom prst="rect">
                <a:avLst/>
              </a:prstGeom>
            </p:spPr>
          </p:pic>
        </p:grpSp>
        <p:grpSp>
          <p:nvGrpSpPr>
            <p:cNvPr id="18" name="Groupe 17">
              <a:extLst>
                <a:ext uri="{FF2B5EF4-FFF2-40B4-BE49-F238E27FC236}">
                  <a16:creationId xmlns:a16="http://schemas.microsoft.com/office/drawing/2014/main" id="{7923130F-94B1-53B4-9D36-F9E41CDFC2C3}"/>
                </a:ext>
              </a:extLst>
            </p:cNvPr>
            <p:cNvGrpSpPr/>
            <p:nvPr/>
          </p:nvGrpSpPr>
          <p:grpSpPr>
            <a:xfrm>
              <a:off x="7867451" y="3688702"/>
              <a:ext cx="1044000" cy="563772"/>
              <a:chOff x="7982783" y="3688702"/>
              <a:chExt cx="1044000" cy="563772"/>
            </a:xfrm>
          </p:grpSpPr>
          <p:sp>
            <p:nvSpPr>
              <p:cNvPr id="21" name="ZoneTexte 20">
                <a:extLst>
                  <a:ext uri="{FF2B5EF4-FFF2-40B4-BE49-F238E27FC236}">
                    <a16:creationId xmlns:a16="http://schemas.microsoft.com/office/drawing/2014/main" id="{9230F5C0-72F7-6470-FD17-78C1B839BFBB}"/>
                  </a:ext>
                </a:extLst>
              </p:cNvPr>
              <p:cNvSpPr txBox="1"/>
              <p:nvPr/>
            </p:nvSpPr>
            <p:spPr>
              <a:xfrm>
                <a:off x="7982783" y="3688702"/>
                <a:ext cx="1044000" cy="380480"/>
              </a:xfrm>
              <a:prstGeom prst="rect">
                <a:avLst/>
              </a:prstGeom>
              <a:noFill/>
            </p:spPr>
            <p:txBody>
              <a:bodyPr wrap="square" lIns="36000" tIns="36000" rIns="36000" bIns="36000" rtlCol="0">
                <a:spAutoFit/>
              </a:bodyPr>
              <a:lstStyle>
                <a:defPPr>
                  <a:defRPr lang="fr-FR"/>
                </a:defPPr>
                <a:lvl1pPr algn="ctr">
                  <a:spcBef>
                    <a:spcPts val="600"/>
                  </a:spcBef>
                  <a:defRPr sz="1000" b="1" u="sng">
                    <a:uFill>
                      <a:solidFill>
                        <a:srgbClr val="7FD7D6"/>
                      </a:solidFill>
                    </a:uFill>
                  </a:defRPr>
                </a:lvl1pPr>
              </a:lstStyle>
              <a:p>
                <a:pPr algn="ctr"/>
                <a:r>
                  <a:rPr lang="en-US" sz="1000" b="1" u="none">
                    <a:uFill>
                      <a:solidFill>
                        <a:srgbClr val="FF8DA0"/>
                      </a:solidFill>
                    </a:uFill>
                    <a:latin typeface="+mn-lt"/>
                  </a:rPr>
                  <a:t>Data Platform engineer</a:t>
                </a:r>
              </a:p>
            </p:txBody>
          </p:sp>
          <p:sp>
            <p:nvSpPr>
              <p:cNvPr id="22" name="ZoneTexte 21">
                <a:extLst>
                  <a:ext uri="{FF2B5EF4-FFF2-40B4-BE49-F238E27FC236}">
                    <a16:creationId xmlns:a16="http://schemas.microsoft.com/office/drawing/2014/main" id="{AF6A8780-231F-8B16-77D5-F2126DADD87A}"/>
                  </a:ext>
                </a:extLst>
              </p:cNvPr>
              <p:cNvSpPr txBox="1"/>
              <p:nvPr/>
            </p:nvSpPr>
            <p:spPr>
              <a:xfrm>
                <a:off x="7982783" y="4006253"/>
                <a:ext cx="1044000" cy="246221"/>
              </a:xfrm>
              <a:prstGeom prst="rect">
                <a:avLst/>
              </a:prstGeom>
              <a:noFill/>
            </p:spPr>
            <p:txBody>
              <a:bodyPr wrap="square" rtlCol="0">
                <a:spAutoFit/>
              </a:bodyPr>
              <a:lstStyle/>
              <a:p>
                <a:pPr algn="ctr"/>
                <a:r>
                  <a:rPr lang="en-US" sz="1000" b="1">
                    <a:solidFill>
                      <a:srgbClr val="A6D5F0"/>
                    </a:solidFill>
                  </a:rPr>
                  <a:t>IT</a:t>
                </a:r>
              </a:p>
            </p:txBody>
          </p:sp>
        </p:grpSp>
      </p:grpSp>
      <p:sp>
        <p:nvSpPr>
          <p:cNvPr id="40" name="ZoneTexte 39">
            <a:extLst>
              <a:ext uri="{FF2B5EF4-FFF2-40B4-BE49-F238E27FC236}">
                <a16:creationId xmlns:a16="http://schemas.microsoft.com/office/drawing/2014/main" id="{A3D46A94-0441-0506-957B-88B0AB4FB0C3}"/>
              </a:ext>
            </a:extLst>
          </p:cNvPr>
          <p:cNvSpPr txBox="1"/>
          <p:nvPr/>
        </p:nvSpPr>
        <p:spPr>
          <a:xfrm>
            <a:off x="9586479" y="5560649"/>
            <a:ext cx="1620000" cy="707886"/>
          </a:xfrm>
          <a:prstGeom prst="rect">
            <a:avLst/>
          </a:prstGeom>
          <a:noFill/>
        </p:spPr>
        <p:txBody>
          <a:bodyPr wrap="square">
            <a:spAutoFit/>
          </a:bodyPr>
          <a:lstStyle/>
          <a:p>
            <a:pPr marL="171450" indent="-171450">
              <a:buFont typeface="Arial" panose="020B0604020202020204" pitchFamily="34" charset="0"/>
              <a:buChar char="•"/>
            </a:pPr>
            <a:r>
              <a:rPr lang="en-US" sz="1000"/>
              <a:t>Design Data platform</a:t>
            </a:r>
          </a:p>
          <a:p>
            <a:pPr marL="171450" indent="-171450">
              <a:buFont typeface="Arial" panose="020B0604020202020204" pitchFamily="34" charset="0"/>
              <a:buChar char="•"/>
            </a:pPr>
            <a:r>
              <a:rPr lang="en-US" sz="1000"/>
              <a:t>Design technical template for data products</a:t>
            </a:r>
            <a:endParaRPr lang="en-US" sz="1000">
              <a:solidFill>
                <a:schemeClr val="tx1"/>
              </a:solidFill>
            </a:endParaRPr>
          </a:p>
        </p:txBody>
      </p:sp>
      <p:grpSp>
        <p:nvGrpSpPr>
          <p:cNvPr id="41" name="Groupe 40">
            <a:extLst>
              <a:ext uri="{FF2B5EF4-FFF2-40B4-BE49-F238E27FC236}">
                <a16:creationId xmlns:a16="http://schemas.microsoft.com/office/drawing/2014/main" id="{7DA4522D-D08B-E18A-E523-74CF33DDBB43}"/>
              </a:ext>
            </a:extLst>
          </p:cNvPr>
          <p:cNvGrpSpPr/>
          <p:nvPr/>
        </p:nvGrpSpPr>
        <p:grpSpPr>
          <a:xfrm>
            <a:off x="9591810" y="4790626"/>
            <a:ext cx="1614669" cy="644441"/>
            <a:chOff x="7296782" y="3688702"/>
            <a:chExt cx="1614669" cy="644441"/>
          </a:xfrm>
        </p:grpSpPr>
        <p:grpSp>
          <p:nvGrpSpPr>
            <p:cNvPr id="42" name="Groupe 41">
              <a:extLst>
                <a:ext uri="{FF2B5EF4-FFF2-40B4-BE49-F238E27FC236}">
                  <a16:creationId xmlns:a16="http://schemas.microsoft.com/office/drawing/2014/main" id="{73485C0A-C83C-4959-8CF5-162D2F5178C3}"/>
                </a:ext>
              </a:extLst>
            </p:cNvPr>
            <p:cNvGrpSpPr/>
            <p:nvPr/>
          </p:nvGrpSpPr>
          <p:grpSpPr>
            <a:xfrm>
              <a:off x="7296782" y="3688702"/>
              <a:ext cx="644441" cy="644441"/>
              <a:chOff x="7296782" y="3688702"/>
              <a:chExt cx="644441" cy="644441"/>
            </a:xfrm>
          </p:grpSpPr>
          <p:sp>
            <p:nvSpPr>
              <p:cNvPr id="51" name="Ellipse 50">
                <a:extLst>
                  <a:ext uri="{FF2B5EF4-FFF2-40B4-BE49-F238E27FC236}">
                    <a16:creationId xmlns:a16="http://schemas.microsoft.com/office/drawing/2014/main" id="{C80F13A8-AF77-69D0-5985-B1F5FFB437E9}"/>
                  </a:ext>
                </a:extLst>
              </p:cNvPr>
              <p:cNvSpPr/>
              <p:nvPr/>
            </p:nvSpPr>
            <p:spPr>
              <a:xfrm>
                <a:off x="7296782" y="3688702"/>
                <a:ext cx="644441" cy="644441"/>
              </a:xfrm>
              <a:prstGeom prst="ellipse">
                <a:avLst/>
              </a:prstGeom>
              <a:solidFill>
                <a:srgbClr val="A6D5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latin typeface="Graphik" panose="020B0503030202060203" pitchFamily="34" charset="0"/>
                </a:endParaRPr>
              </a:p>
            </p:txBody>
          </p:sp>
          <p:pic>
            <p:nvPicPr>
              <p:cNvPr id="52" name="Image 51">
                <a:extLst>
                  <a:ext uri="{FF2B5EF4-FFF2-40B4-BE49-F238E27FC236}">
                    <a16:creationId xmlns:a16="http://schemas.microsoft.com/office/drawing/2014/main" id="{B93A4FCE-B612-199F-DA72-91DADF0634D0}"/>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7360967" y="3749955"/>
                <a:ext cx="516068" cy="521933"/>
              </a:xfrm>
              <a:prstGeom prst="rect">
                <a:avLst/>
              </a:prstGeom>
            </p:spPr>
          </p:pic>
        </p:grpSp>
        <p:grpSp>
          <p:nvGrpSpPr>
            <p:cNvPr id="43" name="Groupe 42">
              <a:extLst>
                <a:ext uri="{FF2B5EF4-FFF2-40B4-BE49-F238E27FC236}">
                  <a16:creationId xmlns:a16="http://schemas.microsoft.com/office/drawing/2014/main" id="{D455981E-A0A0-38EE-6EB3-0246D2A1209C}"/>
                </a:ext>
              </a:extLst>
            </p:cNvPr>
            <p:cNvGrpSpPr/>
            <p:nvPr/>
          </p:nvGrpSpPr>
          <p:grpSpPr>
            <a:xfrm>
              <a:off x="7867451" y="3688702"/>
              <a:ext cx="1044000" cy="563772"/>
              <a:chOff x="7982783" y="3688702"/>
              <a:chExt cx="1044000" cy="563772"/>
            </a:xfrm>
          </p:grpSpPr>
          <p:sp>
            <p:nvSpPr>
              <p:cNvPr id="44" name="ZoneTexte 43">
                <a:extLst>
                  <a:ext uri="{FF2B5EF4-FFF2-40B4-BE49-F238E27FC236}">
                    <a16:creationId xmlns:a16="http://schemas.microsoft.com/office/drawing/2014/main" id="{A9705FD3-CEE3-C8F2-7B76-E1ECA29BEDE2}"/>
                  </a:ext>
                </a:extLst>
              </p:cNvPr>
              <p:cNvSpPr txBox="1"/>
              <p:nvPr/>
            </p:nvSpPr>
            <p:spPr>
              <a:xfrm>
                <a:off x="7982783" y="3688702"/>
                <a:ext cx="1044000" cy="226591"/>
              </a:xfrm>
              <a:prstGeom prst="rect">
                <a:avLst/>
              </a:prstGeom>
              <a:noFill/>
            </p:spPr>
            <p:txBody>
              <a:bodyPr wrap="square" lIns="36000" tIns="36000" rIns="36000" bIns="36000" rtlCol="0">
                <a:spAutoFit/>
              </a:bodyPr>
              <a:lstStyle>
                <a:defPPr>
                  <a:defRPr lang="fr-FR"/>
                </a:defPPr>
                <a:lvl1pPr algn="ctr">
                  <a:spcBef>
                    <a:spcPts val="600"/>
                  </a:spcBef>
                  <a:defRPr sz="1000" b="1" u="sng">
                    <a:uFill>
                      <a:solidFill>
                        <a:srgbClr val="7FD7D6"/>
                      </a:solidFill>
                    </a:uFill>
                  </a:defRPr>
                </a:lvl1pPr>
              </a:lstStyle>
              <a:p>
                <a:pPr algn="ctr"/>
                <a:r>
                  <a:rPr lang="en-US" sz="1000" b="1" u="none">
                    <a:uFill>
                      <a:solidFill>
                        <a:srgbClr val="FF8DA0"/>
                      </a:solidFill>
                    </a:uFill>
                    <a:latin typeface="+mn-lt"/>
                  </a:rPr>
                  <a:t>Enterprise architect</a:t>
                </a:r>
              </a:p>
            </p:txBody>
          </p:sp>
          <p:sp>
            <p:nvSpPr>
              <p:cNvPr id="45" name="ZoneTexte 44">
                <a:extLst>
                  <a:ext uri="{FF2B5EF4-FFF2-40B4-BE49-F238E27FC236}">
                    <a16:creationId xmlns:a16="http://schemas.microsoft.com/office/drawing/2014/main" id="{CCF04CEF-AFAC-0736-3741-3E80537DC4E1}"/>
                  </a:ext>
                </a:extLst>
              </p:cNvPr>
              <p:cNvSpPr txBox="1"/>
              <p:nvPr/>
            </p:nvSpPr>
            <p:spPr>
              <a:xfrm>
                <a:off x="7982783" y="4006253"/>
                <a:ext cx="1044000" cy="246221"/>
              </a:xfrm>
              <a:prstGeom prst="rect">
                <a:avLst/>
              </a:prstGeom>
              <a:noFill/>
            </p:spPr>
            <p:txBody>
              <a:bodyPr wrap="square" rtlCol="0">
                <a:spAutoFit/>
              </a:bodyPr>
              <a:lstStyle/>
              <a:p>
                <a:pPr algn="ctr"/>
                <a:r>
                  <a:rPr lang="en-US" sz="1000" b="1">
                    <a:solidFill>
                      <a:srgbClr val="A6D5F0"/>
                    </a:solidFill>
                  </a:rPr>
                  <a:t>IT</a:t>
                </a:r>
              </a:p>
            </p:txBody>
          </p:sp>
        </p:grpSp>
      </p:grpSp>
    </p:spTree>
    <p:extLst>
      <p:ext uri="{BB962C8B-B14F-4D97-AF65-F5344CB8AC3E}">
        <p14:creationId xmlns:p14="http://schemas.microsoft.com/office/powerpoint/2010/main" val="309551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9BB7040-9C76-46B1-DA65-E2E41AD27371}"/>
              </a:ext>
            </a:extLst>
          </p:cNvPr>
          <p:cNvSpPr>
            <a:spLocks noGrp="1"/>
          </p:cNvSpPr>
          <p:nvPr>
            <p:ph type="title"/>
          </p:nvPr>
        </p:nvSpPr>
        <p:spPr/>
        <p:txBody>
          <a:bodyPr/>
          <a:lstStyle/>
          <a:p>
            <a:r>
              <a:rPr lang="en-US">
                <a:highlight>
                  <a:srgbClr val="FFFF00"/>
                </a:highlight>
              </a:rPr>
              <a:t>Data Program activities</a:t>
            </a:r>
          </a:p>
        </p:txBody>
      </p:sp>
      <p:sp>
        <p:nvSpPr>
          <p:cNvPr id="8" name="Rectangle 7">
            <a:extLst>
              <a:ext uri="{FF2B5EF4-FFF2-40B4-BE49-F238E27FC236}">
                <a16:creationId xmlns:a16="http://schemas.microsoft.com/office/drawing/2014/main" id="{411FCFE9-6507-0081-B352-679B61800DA6}"/>
              </a:ext>
            </a:extLst>
          </p:cNvPr>
          <p:cNvSpPr/>
          <p:nvPr/>
        </p:nvSpPr>
        <p:spPr>
          <a:xfrm>
            <a:off x="4399569" y="1522414"/>
            <a:ext cx="3600000" cy="468000"/>
          </a:xfrm>
          <a:prstGeom prst="rect">
            <a:avLst/>
          </a:prstGeom>
          <a:solidFill>
            <a:schemeClr val="bg2"/>
          </a:solidFill>
          <a:ln w="6350">
            <a:solidFill>
              <a:schemeClr val="accent6"/>
            </a:solid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a:t>Data Product Build</a:t>
            </a:r>
          </a:p>
        </p:txBody>
      </p:sp>
      <p:sp>
        <p:nvSpPr>
          <p:cNvPr id="10" name="Rectangle 9">
            <a:extLst>
              <a:ext uri="{FF2B5EF4-FFF2-40B4-BE49-F238E27FC236}">
                <a16:creationId xmlns:a16="http://schemas.microsoft.com/office/drawing/2014/main" id="{E5481EF4-15F3-BB39-5252-EDFE7EAA53CD}"/>
              </a:ext>
            </a:extLst>
          </p:cNvPr>
          <p:cNvSpPr/>
          <p:nvPr/>
        </p:nvSpPr>
        <p:spPr>
          <a:xfrm>
            <a:off x="576000" y="1517221"/>
            <a:ext cx="3600000" cy="468000"/>
          </a:xfrm>
          <a:prstGeom prst="rect">
            <a:avLst/>
          </a:prstGeom>
          <a:solidFill>
            <a:srgbClr val="002C6F"/>
          </a:solidFill>
          <a:ln w="6350">
            <a:solidFill>
              <a:schemeClr val="accent6"/>
            </a:solid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2000" b="1"/>
              <a:t>Use case qualification</a:t>
            </a:r>
            <a:endParaRPr lang="en-US" sz="2000" b="1"/>
          </a:p>
        </p:txBody>
      </p:sp>
      <p:sp>
        <p:nvSpPr>
          <p:cNvPr id="15" name="Rectangle 14">
            <a:extLst>
              <a:ext uri="{FF2B5EF4-FFF2-40B4-BE49-F238E27FC236}">
                <a16:creationId xmlns:a16="http://schemas.microsoft.com/office/drawing/2014/main" id="{A10D2F83-3A6C-E949-5B24-3B47F9112B34}"/>
              </a:ext>
            </a:extLst>
          </p:cNvPr>
          <p:cNvSpPr/>
          <p:nvPr/>
        </p:nvSpPr>
        <p:spPr>
          <a:xfrm>
            <a:off x="8233171" y="1517221"/>
            <a:ext cx="3600000" cy="468000"/>
          </a:xfrm>
          <a:prstGeom prst="rect">
            <a:avLst/>
          </a:prstGeom>
          <a:solidFill>
            <a:srgbClr val="002C6F"/>
          </a:solidFill>
          <a:ln w="6350">
            <a:solidFill>
              <a:schemeClr val="accent6"/>
            </a:solid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a:t> Data Product Publication</a:t>
            </a:r>
          </a:p>
        </p:txBody>
      </p:sp>
      <p:sp>
        <p:nvSpPr>
          <p:cNvPr id="4" name="Rectangle 3">
            <a:extLst>
              <a:ext uri="{FF2B5EF4-FFF2-40B4-BE49-F238E27FC236}">
                <a16:creationId xmlns:a16="http://schemas.microsoft.com/office/drawing/2014/main" id="{5C641019-A71F-8990-CC39-819E03385F26}"/>
              </a:ext>
            </a:extLst>
          </p:cNvPr>
          <p:cNvSpPr/>
          <p:nvPr/>
        </p:nvSpPr>
        <p:spPr>
          <a:xfrm>
            <a:off x="576001" y="2110612"/>
            <a:ext cx="3599998" cy="1584000"/>
          </a:xfrm>
          <a:prstGeom prst="rect">
            <a:avLst/>
          </a:prstGeom>
          <a:solidFill>
            <a:schemeClr val="bg1"/>
          </a:solidFill>
          <a:ln w="6350">
            <a:solidFill>
              <a:schemeClr val="accent6"/>
            </a:solid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a:solidFill>
                  <a:schemeClr val="tx1"/>
                </a:solidFill>
              </a:rPr>
              <a:t>Activity:</a:t>
            </a:r>
          </a:p>
          <a:p>
            <a:pPr marL="171450" indent="-171450">
              <a:buFont typeface="Arial" panose="020B0604020202020204" pitchFamily="34" charset="0"/>
              <a:buChar char="•"/>
            </a:pPr>
            <a:r>
              <a:rPr lang="en-US" sz="1200">
                <a:solidFill>
                  <a:schemeClr val="tx1"/>
                </a:solidFill>
              </a:rPr>
              <a:t>Collect &amp; challenge business needs, </a:t>
            </a:r>
          </a:p>
          <a:p>
            <a:pPr marL="171450" indent="-171450">
              <a:buFont typeface="Arial" panose="020B0604020202020204" pitchFamily="34" charset="0"/>
              <a:buChar char="•"/>
            </a:pPr>
            <a:r>
              <a:rPr lang="en-US" sz="1200">
                <a:solidFill>
                  <a:schemeClr val="tx1"/>
                </a:solidFill>
              </a:rPr>
              <a:t>Analyze data sources</a:t>
            </a:r>
          </a:p>
          <a:p>
            <a:pPr marL="171450" indent="-171450">
              <a:buFont typeface="Arial" panose="020B0604020202020204" pitchFamily="34" charset="0"/>
              <a:buChar char="•"/>
            </a:pPr>
            <a:r>
              <a:rPr lang="en-US" sz="1200">
                <a:solidFill>
                  <a:schemeClr val="tx1"/>
                </a:solidFill>
              </a:rPr>
              <a:t>Initial project quote and planning</a:t>
            </a:r>
          </a:p>
          <a:p>
            <a:pPr marL="171450" indent="-171450">
              <a:buFont typeface="Arial" panose="020B0604020202020204" pitchFamily="34" charset="0"/>
              <a:buChar char="•"/>
            </a:pPr>
            <a:endParaRPr lang="en-US" sz="1200">
              <a:solidFill>
                <a:schemeClr val="tx1"/>
              </a:solidFill>
            </a:endParaRPr>
          </a:p>
          <a:p>
            <a:r>
              <a:rPr lang="en-US" sz="1200" b="1">
                <a:solidFill>
                  <a:schemeClr val="tx1"/>
                </a:solidFill>
              </a:rPr>
              <a:t>Metrics:</a:t>
            </a:r>
            <a:endParaRPr lang="en-US" sz="1200" i="1">
              <a:solidFill>
                <a:schemeClr val="tx1"/>
              </a:solidFill>
            </a:endParaRPr>
          </a:p>
          <a:p>
            <a:pPr marL="171450" indent="-171450">
              <a:buFont typeface="Arial" panose="020B0604020202020204" pitchFamily="34" charset="0"/>
              <a:buChar char="•"/>
            </a:pPr>
            <a:r>
              <a:rPr lang="en-US" sz="1200">
                <a:solidFill>
                  <a:schemeClr val="tx1"/>
                </a:solidFill>
              </a:rPr>
              <a:t>Assessment time ( from ask date to quote date)</a:t>
            </a:r>
          </a:p>
          <a:p>
            <a:pPr marL="171450" indent="-171450">
              <a:buFont typeface="Arial" panose="020B0604020202020204" pitchFamily="34" charset="0"/>
              <a:buChar char="•"/>
            </a:pPr>
            <a:r>
              <a:rPr lang="en-US" sz="1200">
                <a:solidFill>
                  <a:schemeClr val="tx1"/>
                </a:solidFill>
              </a:rPr>
              <a:t>Number of use cases in the backlog (in and out)</a:t>
            </a:r>
          </a:p>
        </p:txBody>
      </p:sp>
      <p:sp>
        <p:nvSpPr>
          <p:cNvPr id="21" name="Ellipse 4">
            <a:extLst>
              <a:ext uri="{FF2B5EF4-FFF2-40B4-BE49-F238E27FC236}">
                <a16:creationId xmlns:a16="http://schemas.microsoft.com/office/drawing/2014/main" id="{318FAE45-D1CB-0C16-73FD-81BCEDBEC258}"/>
              </a:ext>
            </a:extLst>
          </p:cNvPr>
          <p:cNvSpPr/>
          <p:nvPr/>
        </p:nvSpPr>
        <p:spPr>
          <a:xfrm>
            <a:off x="3473694" y="1575604"/>
            <a:ext cx="325337" cy="324000"/>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2" name="Rectangle 21">
            <a:extLst>
              <a:ext uri="{FF2B5EF4-FFF2-40B4-BE49-F238E27FC236}">
                <a16:creationId xmlns:a16="http://schemas.microsoft.com/office/drawing/2014/main" id="{BAAACD1D-3266-AEBB-6FF5-501DFFF0F81C}"/>
              </a:ext>
            </a:extLst>
          </p:cNvPr>
          <p:cNvSpPr/>
          <p:nvPr/>
        </p:nvSpPr>
        <p:spPr>
          <a:xfrm>
            <a:off x="4399569" y="2114086"/>
            <a:ext cx="3599998" cy="1584000"/>
          </a:xfrm>
          <a:prstGeom prst="rect">
            <a:avLst/>
          </a:prstGeom>
          <a:solidFill>
            <a:schemeClr val="bg1"/>
          </a:solidFill>
          <a:ln w="6350">
            <a:solidFill>
              <a:schemeClr val="accent6"/>
            </a:solid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a:solidFill>
                  <a:schemeClr val="tx1"/>
                </a:solidFill>
              </a:rPr>
              <a:t>Activity:</a:t>
            </a:r>
          </a:p>
          <a:p>
            <a:pPr marL="171450" indent="-171450">
              <a:buFont typeface="Arial" panose="020B0604020202020204" pitchFamily="34" charset="0"/>
              <a:buChar char="•"/>
            </a:pPr>
            <a:r>
              <a:rPr lang="en-US" sz="1200">
                <a:solidFill>
                  <a:schemeClr val="tx1"/>
                </a:solidFill>
              </a:rPr>
              <a:t>Design and dev data product</a:t>
            </a:r>
          </a:p>
          <a:p>
            <a:pPr marL="171450" indent="-171450">
              <a:buFont typeface="Arial" panose="020B0604020202020204" pitchFamily="34" charset="0"/>
              <a:buChar char="•"/>
            </a:pPr>
            <a:r>
              <a:rPr lang="en-US" sz="1200">
                <a:solidFill>
                  <a:schemeClr val="tx1"/>
                </a:solidFill>
              </a:rPr>
              <a:t>Deploy and maintain data product</a:t>
            </a:r>
          </a:p>
          <a:p>
            <a:endParaRPr lang="en-US" sz="1200">
              <a:solidFill>
                <a:schemeClr val="tx1"/>
              </a:solidFill>
            </a:endParaRPr>
          </a:p>
          <a:p>
            <a:r>
              <a:rPr lang="en-US" sz="1200" b="1">
                <a:solidFill>
                  <a:schemeClr val="tx1"/>
                </a:solidFill>
              </a:rPr>
              <a:t>Metrics:</a:t>
            </a:r>
            <a:endParaRPr lang="en-US" sz="1200" i="1">
              <a:solidFill>
                <a:schemeClr val="tx1"/>
              </a:solidFill>
            </a:endParaRPr>
          </a:p>
          <a:p>
            <a:pPr marL="171450" indent="-171450">
              <a:buFont typeface="Arial" panose="020B0604020202020204" pitchFamily="34" charset="0"/>
              <a:buChar char="•"/>
            </a:pPr>
            <a:r>
              <a:rPr lang="en-US" sz="1200">
                <a:solidFill>
                  <a:schemeClr val="tx1"/>
                </a:solidFill>
              </a:rPr>
              <a:t>Time to market ( from kick off date to go live date)</a:t>
            </a:r>
          </a:p>
          <a:p>
            <a:pPr marL="171450" indent="-171450">
              <a:buFont typeface="Arial" panose="020B0604020202020204" pitchFamily="34" charset="0"/>
              <a:buChar char="•"/>
            </a:pPr>
            <a:r>
              <a:rPr lang="en-US" sz="1200">
                <a:solidFill>
                  <a:schemeClr val="tx1"/>
                </a:solidFill>
              </a:rPr>
              <a:t>Number of data products delivered</a:t>
            </a:r>
          </a:p>
        </p:txBody>
      </p:sp>
      <p:sp>
        <p:nvSpPr>
          <p:cNvPr id="24" name="Rectangle 23">
            <a:extLst>
              <a:ext uri="{FF2B5EF4-FFF2-40B4-BE49-F238E27FC236}">
                <a16:creationId xmlns:a16="http://schemas.microsoft.com/office/drawing/2014/main" id="{6C51B2ED-E9C6-4938-3B6F-55029F4D21CA}"/>
              </a:ext>
            </a:extLst>
          </p:cNvPr>
          <p:cNvSpPr/>
          <p:nvPr/>
        </p:nvSpPr>
        <p:spPr>
          <a:xfrm>
            <a:off x="8223137" y="2110613"/>
            <a:ext cx="3599998" cy="1584000"/>
          </a:xfrm>
          <a:prstGeom prst="rect">
            <a:avLst/>
          </a:prstGeom>
          <a:solidFill>
            <a:schemeClr val="bg1"/>
          </a:solidFill>
          <a:ln w="6350">
            <a:solidFill>
              <a:schemeClr val="accent6"/>
            </a:solid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a:solidFill>
                  <a:schemeClr val="tx1"/>
                </a:solidFill>
              </a:rPr>
              <a:t>Activity:</a:t>
            </a:r>
          </a:p>
          <a:p>
            <a:pPr marL="171450" indent="-171450">
              <a:buFont typeface="Arial" panose="020B0604020202020204" pitchFamily="34" charset="0"/>
              <a:buChar char="•"/>
            </a:pPr>
            <a:r>
              <a:rPr lang="en-US" sz="1200">
                <a:solidFill>
                  <a:schemeClr val="tx1"/>
                </a:solidFill>
              </a:rPr>
              <a:t>Help data producers document on data marketplace</a:t>
            </a:r>
          </a:p>
          <a:p>
            <a:pPr marL="171450" indent="-171450">
              <a:buFont typeface="Arial" panose="020B0604020202020204" pitchFamily="34" charset="0"/>
              <a:buChar char="•"/>
            </a:pPr>
            <a:r>
              <a:rPr lang="en-US" sz="1200">
                <a:solidFill>
                  <a:schemeClr val="tx1"/>
                </a:solidFill>
              </a:rPr>
              <a:t>Monitor data marketplace doc quality</a:t>
            </a:r>
          </a:p>
          <a:p>
            <a:pPr marL="171450" indent="-171450">
              <a:buFont typeface="Arial" panose="020B0604020202020204" pitchFamily="34" charset="0"/>
              <a:buChar char="•"/>
            </a:pPr>
            <a:r>
              <a:rPr lang="en-US" sz="1200">
                <a:solidFill>
                  <a:schemeClr val="tx1"/>
                </a:solidFill>
              </a:rPr>
              <a:t>Administer Data Marketplace</a:t>
            </a:r>
          </a:p>
          <a:p>
            <a:pPr marL="171450" indent="-171450">
              <a:buFont typeface="Arial" panose="020B0604020202020204" pitchFamily="34" charset="0"/>
              <a:buChar char="•"/>
            </a:pPr>
            <a:endParaRPr lang="en-US" sz="1200">
              <a:solidFill>
                <a:schemeClr val="tx1"/>
              </a:solidFill>
            </a:endParaRPr>
          </a:p>
          <a:p>
            <a:r>
              <a:rPr lang="en-US" sz="1200" b="1">
                <a:solidFill>
                  <a:schemeClr val="tx1"/>
                </a:solidFill>
              </a:rPr>
              <a:t>Metrics:</a:t>
            </a:r>
            <a:endParaRPr lang="en-US" sz="1200" i="1">
              <a:solidFill>
                <a:schemeClr val="tx1"/>
              </a:solidFill>
            </a:endParaRPr>
          </a:p>
          <a:p>
            <a:pPr marL="171450" indent="-171450">
              <a:buFont typeface="Arial" panose="020B0604020202020204" pitchFamily="34" charset="0"/>
              <a:buChar char="•"/>
            </a:pPr>
            <a:r>
              <a:rPr lang="en-US" sz="1200">
                <a:solidFill>
                  <a:schemeClr val="tx1"/>
                </a:solidFill>
              </a:rPr>
              <a:t>Number of data products documented &amp; published</a:t>
            </a:r>
          </a:p>
          <a:p>
            <a:pPr marL="171450" indent="-171450">
              <a:buFont typeface="Arial" panose="020B0604020202020204" pitchFamily="34" charset="0"/>
              <a:buChar char="•"/>
            </a:pPr>
            <a:r>
              <a:rPr lang="en-US" sz="1200" i="1">
                <a:solidFill>
                  <a:schemeClr val="tx1"/>
                </a:solidFill>
              </a:rPr>
              <a:t>Quality indicator to be defined</a:t>
            </a:r>
          </a:p>
        </p:txBody>
      </p:sp>
      <p:sp>
        <p:nvSpPr>
          <p:cNvPr id="31" name="Ellipse 4">
            <a:extLst>
              <a:ext uri="{FF2B5EF4-FFF2-40B4-BE49-F238E27FC236}">
                <a16:creationId xmlns:a16="http://schemas.microsoft.com/office/drawing/2014/main" id="{BF8F882B-E06D-7EE8-BC33-EC270CFFBCAE}"/>
              </a:ext>
            </a:extLst>
          </p:cNvPr>
          <p:cNvSpPr/>
          <p:nvPr/>
        </p:nvSpPr>
        <p:spPr>
          <a:xfrm>
            <a:off x="11452137" y="1589221"/>
            <a:ext cx="325337" cy="324000"/>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2" name="ZoneTexte 5">
            <a:extLst>
              <a:ext uri="{FF2B5EF4-FFF2-40B4-BE49-F238E27FC236}">
                <a16:creationId xmlns:a16="http://schemas.microsoft.com/office/drawing/2014/main" id="{AE763DD8-5D07-BDC0-AC26-407BE093C67D}"/>
              </a:ext>
            </a:extLst>
          </p:cNvPr>
          <p:cNvSpPr txBox="1"/>
          <p:nvPr/>
        </p:nvSpPr>
        <p:spPr>
          <a:xfrm>
            <a:off x="1077332" y="6437749"/>
            <a:ext cx="1200825" cy="307777"/>
          </a:xfrm>
          <a:prstGeom prst="rect">
            <a:avLst/>
          </a:prstGeom>
          <a:noFill/>
        </p:spPr>
        <p:txBody>
          <a:bodyPr wrap="square" rtlCol="0">
            <a:spAutoFit/>
          </a:bodyPr>
          <a:lstStyle/>
          <a:p>
            <a:pPr algn="ctr"/>
            <a:r>
              <a:rPr lang="en-US" sz="1400" b="1">
                <a:latin typeface="+mn-lt"/>
              </a:rPr>
              <a:t>DATA OFFICE </a:t>
            </a:r>
          </a:p>
        </p:txBody>
      </p:sp>
      <p:sp>
        <p:nvSpPr>
          <p:cNvPr id="33" name="Ellipse 4">
            <a:extLst>
              <a:ext uri="{FF2B5EF4-FFF2-40B4-BE49-F238E27FC236}">
                <a16:creationId xmlns:a16="http://schemas.microsoft.com/office/drawing/2014/main" id="{EF83CF0E-425B-DED4-ACC0-1BC3FFD20B1C}"/>
              </a:ext>
            </a:extLst>
          </p:cNvPr>
          <p:cNvSpPr/>
          <p:nvPr/>
        </p:nvSpPr>
        <p:spPr>
          <a:xfrm>
            <a:off x="812613" y="6429638"/>
            <a:ext cx="325337" cy="324000"/>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4" name="Pentagone 3">
            <a:extLst>
              <a:ext uri="{FF2B5EF4-FFF2-40B4-BE49-F238E27FC236}">
                <a16:creationId xmlns:a16="http://schemas.microsoft.com/office/drawing/2014/main" id="{CED2FDA7-4877-2396-5489-DF0341ACB183}"/>
              </a:ext>
            </a:extLst>
          </p:cNvPr>
          <p:cNvSpPr/>
          <p:nvPr/>
        </p:nvSpPr>
        <p:spPr>
          <a:xfrm>
            <a:off x="2542876" y="6421526"/>
            <a:ext cx="324000" cy="324000"/>
          </a:xfrm>
          <a:prstGeom prst="pentagon">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5" name="ZoneTexte 5">
            <a:extLst>
              <a:ext uri="{FF2B5EF4-FFF2-40B4-BE49-F238E27FC236}">
                <a16:creationId xmlns:a16="http://schemas.microsoft.com/office/drawing/2014/main" id="{3A0491D2-4517-27EF-F577-497657BECCF5}"/>
              </a:ext>
            </a:extLst>
          </p:cNvPr>
          <p:cNvSpPr txBox="1"/>
          <p:nvPr/>
        </p:nvSpPr>
        <p:spPr>
          <a:xfrm>
            <a:off x="2804094" y="6437749"/>
            <a:ext cx="1486163" cy="307777"/>
          </a:xfrm>
          <a:prstGeom prst="rect">
            <a:avLst/>
          </a:prstGeom>
          <a:noFill/>
        </p:spPr>
        <p:txBody>
          <a:bodyPr wrap="square" rtlCol="0">
            <a:spAutoFit/>
          </a:bodyPr>
          <a:lstStyle/>
          <a:p>
            <a:pPr algn="ctr"/>
            <a:r>
              <a:rPr lang="en-US" sz="1400" b="1">
                <a:latin typeface="+mn-lt"/>
              </a:rPr>
              <a:t>DATA PRODUCERS </a:t>
            </a:r>
          </a:p>
        </p:txBody>
      </p:sp>
      <p:sp>
        <p:nvSpPr>
          <p:cNvPr id="36" name="Rectangle 35">
            <a:extLst>
              <a:ext uri="{FF2B5EF4-FFF2-40B4-BE49-F238E27FC236}">
                <a16:creationId xmlns:a16="http://schemas.microsoft.com/office/drawing/2014/main" id="{65F978CC-D4A6-3FD5-EB5D-554D1813ABE9}"/>
              </a:ext>
            </a:extLst>
          </p:cNvPr>
          <p:cNvSpPr/>
          <p:nvPr/>
        </p:nvSpPr>
        <p:spPr>
          <a:xfrm>
            <a:off x="4780617" y="6421526"/>
            <a:ext cx="324000" cy="324000"/>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7" name="ZoneTexte 5">
            <a:extLst>
              <a:ext uri="{FF2B5EF4-FFF2-40B4-BE49-F238E27FC236}">
                <a16:creationId xmlns:a16="http://schemas.microsoft.com/office/drawing/2014/main" id="{DBDF9741-F7BE-5226-E214-2FE346D0167B}"/>
              </a:ext>
            </a:extLst>
          </p:cNvPr>
          <p:cNvSpPr txBox="1"/>
          <p:nvPr/>
        </p:nvSpPr>
        <p:spPr>
          <a:xfrm>
            <a:off x="5104617" y="6445861"/>
            <a:ext cx="1486163" cy="307777"/>
          </a:xfrm>
          <a:prstGeom prst="rect">
            <a:avLst/>
          </a:prstGeom>
          <a:noFill/>
        </p:spPr>
        <p:txBody>
          <a:bodyPr wrap="square" rtlCol="0">
            <a:spAutoFit/>
          </a:bodyPr>
          <a:lstStyle/>
          <a:p>
            <a:pPr algn="ctr"/>
            <a:r>
              <a:rPr lang="en-US" sz="1400" b="1">
                <a:latin typeface="+mn-lt"/>
              </a:rPr>
              <a:t>DATA PLATFORM </a:t>
            </a:r>
          </a:p>
        </p:txBody>
      </p:sp>
      <p:sp>
        <p:nvSpPr>
          <p:cNvPr id="3" name="Rectangle 2">
            <a:extLst>
              <a:ext uri="{FF2B5EF4-FFF2-40B4-BE49-F238E27FC236}">
                <a16:creationId xmlns:a16="http://schemas.microsoft.com/office/drawing/2014/main" id="{060EDD2A-A752-9F6C-1BAB-83405F37CC87}"/>
              </a:ext>
            </a:extLst>
          </p:cNvPr>
          <p:cNvSpPr/>
          <p:nvPr/>
        </p:nvSpPr>
        <p:spPr>
          <a:xfrm>
            <a:off x="2375998" y="3955388"/>
            <a:ext cx="3600000" cy="468000"/>
          </a:xfrm>
          <a:prstGeom prst="rect">
            <a:avLst/>
          </a:prstGeom>
          <a:solidFill>
            <a:srgbClr val="002C6F"/>
          </a:solidFill>
          <a:ln w="6350">
            <a:solidFill>
              <a:schemeClr val="accent6"/>
            </a:solid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a:t>Data Product Usage</a:t>
            </a:r>
          </a:p>
        </p:txBody>
      </p:sp>
      <p:sp>
        <p:nvSpPr>
          <p:cNvPr id="5" name="Rectangle 4">
            <a:extLst>
              <a:ext uri="{FF2B5EF4-FFF2-40B4-BE49-F238E27FC236}">
                <a16:creationId xmlns:a16="http://schemas.microsoft.com/office/drawing/2014/main" id="{135A47FD-5C55-554F-23DB-A3F92EDB45AF}"/>
              </a:ext>
            </a:extLst>
          </p:cNvPr>
          <p:cNvSpPr/>
          <p:nvPr/>
        </p:nvSpPr>
        <p:spPr>
          <a:xfrm>
            <a:off x="6411682" y="3955388"/>
            <a:ext cx="3600000" cy="468000"/>
          </a:xfrm>
          <a:prstGeom prst="rect">
            <a:avLst/>
          </a:prstGeom>
          <a:solidFill>
            <a:srgbClr val="002C6F"/>
          </a:solidFill>
          <a:ln w="6350">
            <a:solidFill>
              <a:schemeClr val="accent6"/>
            </a:solid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a:t>Data </a:t>
            </a:r>
            <a:r>
              <a:rPr lang="fr-FR" sz="2000" b="1"/>
              <a:t>platform</a:t>
            </a:r>
            <a:endParaRPr lang="en-US" sz="2000" b="1"/>
          </a:p>
        </p:txBody>
      </p:sp>
      <p:sp>
        <p:nvSpPr>
          <p:cNvPr id="6" name="Rectangle 5">
            <a:extLst>
              <a:ext uri="{FF2B5EF4-FFF2-40B4-BE49-F238E27FC236}">
                <a16:creationId xmlns:a16="http://schemas.microsoft.com/office/drawing/2014/main" id="{FC69170B-BC60-D197-8C28-1B2B4F92FB50}"/>
              </a:ext>
            </a:extLst>
          </p:cNvPr>
          <p:cNvSpPr/>
          <p:nvPr/>
        </p:nvSpPr>
        <p:spPr>
          <a:xfrm>
            <a:off x="6411684" y="4506442"/>
            <a:ext cx="3599998" cy="1584000"/>
          </a:xfrm>
          <a:prstGeom prst="rect">
            <a:avLst/>
          </a:prstGeom>
          <a:solidFill>
            <a:schemeClr val="bg1"/>
          </a:solidFill>
          <a:ln w="6350">
            <a:solidFill>
              <a:schemeClr val="accent6"/>
            </a:solid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a:solidFill>
                  <a:schemeClr val="tx1"/>
                </a:solidFill>
              </a:rPr>
              <a:t>Activity:</a:t>
            </a:r>
          </a:p>
          <a:p>
            <a:pPr marL="171450" indent="-171450">
              <a:buFont typeface="Arial" panose="020B0604020202020204" pitchFamily="34" charset="0"/>
              <a:buChar char="•"/>
            </a:pPr>
            <a:r>
              <a:rPr lang="en-US" sz="1200">
                <a:solidFill>
                  <a:schemeClr val="tx1"/>
                </a:solidFill>
              </a:rPr>
              <a:t>Define and implement reference architecture </a:t>
            </a:r>
          </a:p>
          <a:p>
            <a:pPr marL="171450" indent="-171450">
              <a:buFont typeface="Arial" panose="020B0604020202020204" pitchFamily="34" charset="0"/>
              <a:buChar char="•"/>
            </a:pPr>
            <a:r>
              <a:rPr lang="en-US" sz="1200">
                <a:solidFill>
                  <a:schemeClr val="tx1"/>
                </a:solidFill>
              </a:rPr>
              <a:t>Setup, maintain and monitor the data platform</a:t>
            </a:r>
          </a:p>
          <a:p>
            <a:endParaRPr lang="en-US" sz="1200">
              <a:solidFill>
                <a:schemeClr val="tx1"/>
              </a:solidFill>
            </a:endParaRPr>
          </a:p>
          <a:p>
            <a:r>
              <a:rPr lang="en-US" sz="1200" b="1">
                <a:solidFill>
                  <a:schemeClr val="tx1"/>
                </a:solidFill>
              </a:rPr>
              <a:t>Metrics:</a:t>
            </a:r>
            <a:endParaRPr lang="en-US" sz="1200" i="1">
              <a:solidFill>
                <a:schemeClr val="tx1"/>
              </a:solidFill>
            </a:endParaRPr>
          </a:p>
          <a:p>
            <a:pPr marL="171450" indent="-171450">
              <a:buFont typeface="Arial" panose="020B0604020202020204" pitchFamily="34" charset="0"/>
              <a:buChar char="•"/>
            </a:pPr>
            <a:r>
              <a:rPr lang="en-US" sz="1200">
                <a:solidFill>
                  <a:schemeClr val="tx1"/>
                </a:solidFill>
              </a:rPr>
              <a:t>Number of incidents on data product due to data platform</a:t>
            </a:r>
          </a:p>
          <a:p>
            <a:pPr marL="171450" indent="-171450">
              <a:buFont typeface="Arial" panose="020B0604020202020204" pitchFamily="34" charset="0"/>
              <a:buChar char="•"/>
            </a:pPr>
            <a:r>
              <a:rPr lang="en-US" sz="1200">
                <a:solidFill>
                  <a:schemeClr val="tx1"/>
                </a:solidFill>
              </a:rPr>
              <a:t>Number of technical template</a:t>
            </a:r>
          </a:p>
        </p:txBody>
      </p:sp>
      <p:sp>
        <p:nvSpPr>
          <p:cNvPr id="7" name="Rectangle 6">
            <a:extLst>
              <a:ext uri="{FF2B5EF4-FFF2-40B4-BE49-F238E27FC236}">
                <a16:creationId xmlns:a16="http://schemas.microsoft.com/office/drawing/2014/main" id="{E67E3AD7-313D-87B4-2C09-F95BB8BFF19B}"/>
              </a:ext>
            </a:extLst>
          </p:cNvPr>
          <p:cNvSpPr/>
          <p:nvPr/>
        </p:nvSpPr>
        <p:spPr>
          <a:xfrm>
            <a:off x="2376000" y="4506440"/>
            <a:ext cx="3599998" cy="1584000"/>
          </a:xfrm>
          <a:prstGeom prst="rect">
            <a:avLst/>
          </a:prstGeom>
          <a:solidFill>
            <a:schemeClr val="bg1"/>
          </a:solidFill>
          <a:ln w="6350">
            <a:solidFill>
              <a:schemeClr val="accent6"/>
            </a:solid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a:solidFill>
                  <a:schemeClr val="tx1"/>
                </a:solidFill>
              </a:rPr>
              <a:t>Activity:</a:t>
            </a:r>
          </a:p>
          <a:p>
            <a:pPr marL="171450" indent="-171450">
              <a:buFont typeface="Arial" panose="020B0604020202020204" pitchFamily="34" charset="0"/>
              <a:buChar char="•"/>
            </a:pPr>
            <a:r>
              <a:rPr lang="en-US" sz="1200">
                <a:solidFill>
                  <a:schemeClr val="tx1"/>
                </a:solidFill>
              </a:rPr>
              <a:t>Train and coach data consumers, </a:t>
            </a:r>
          </a:p>
          <a:p>
            <a:pPr marL="171450" indent="-171450">
              <a:buFont typeface="Arial" panose="020B0604020202020204" pitchFamily="34" charset="0"/>
              <a:buChar char="•"/>
            </a:pPr>
            <a:r>
              <a:rPr lang="en-US" sz="1200">
                <a:solidFill>
                  <a:schemeClr val="tx1"/>
                </a:solidFill>
              </a:rPr>
              <a:t>Monitor data product adoption</a:t>
            </a:r>
          </a:p>
          <a:p>
            <a:endParaRPr lang="en-US" sz="1200">
              <a:solidFill>
                <a:schemeClr val="tx1"/>
              </a:solidFill>
            </a:endParaRPr>
          </a:p>
          <a:p>
            <a:r>
              <a:rPr lang="en-US" sz="1200" b="1">
                <a:solidFill>
                  <a:schemeClr val="tx1"/>
                </a:solidFill>
              </a:rPr>
              <a:t>Metrics:</a:t>
            </a:r>
            <a:endParaRPr lang="en-US" sz="1200" i="1">
              <a:solidFill>
                <a:schemeClr val="tx1"/>
              </a:solidFill>
            </a:endParaRPr>
          </a:p>
          <a:p>
            <a:pPr marL="171450" indent="-171450">
              <a:buFont typeface="Arial" panose="020B0604020202020204" pitchFamily="34" charset="0"/>
              <a:buChar char="•"/>
            </a:pPr>
            <a:r>
              <a:rPr lang="en-US" sz="1200">
                <a:solidFill>
                  <a:schemeClr val="tx1"/>
                </a:solidFill>
              </a:rPr>
              <a:t>Number of end user coached</a:t>
            </a:r>
          </a:p>
          <a:p>
            <a:pPr marL="171450" indent="-171450">
              <a:buFont typeface="Arial" panose="020B0604020202020204" pitchFamily="34" charset="0"/>
              <a:buChar char="•"/>
            </a:pPr>
            <a:r>
              <a:rPr lang="en-US" sz="1200">
                <a:solidFill>
                  <a:schemeClr val="tx1"/>
                </a:solidFill>
              </a:rPr>
              <a:t>Number of data product consumed (report or self-service)</a:t>
            </a:r>
          </a:p>
        </p:txBody>
      </p:sp>
      <p:sp>
        <p:nvSpPr>
          <p:cNvPr id="11" name="Ellipse 4">
            <a:extLst>
              <a:ext uri="{FF2B5EF4-FFF2-40B4-BE49-F238E27FC236}">
                <a16:creationId xmlns:a16="http://schemas.microsoft.com/office/drawing/2014/main" id="{72E8D491-CCD5-DB3B-CFD2-4D309C70514E}"/>
              </a:ext>
            </a:extLst>
          </p:cNvPr>
          <p:cNvSpPr/>
          <p:nvPr/>
        </p:nvSpPr>
        <p:spPr>
          <a:xfrm>
            <a:off x="5598643" y="4027388"/>
            <a:ext cx="325337" cy="324000"/>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Rectangle 12">
            <a:extLst>
              <a:ext uri="{FF2B5EF4-FFF2-40B4-BE49-F238E27FC236}">
                <a16:creationId xmlns:a16="http://schemas.microsoft.com/office/drawing/2014/main" id="{3E40DE1F-5C70-4A7D-E86F-51B3F3DC19F5}"/>
              </a:ext>
            </a:extLst>
          </p:cNvPr>
          <p:cNvSpPr/>
          <p:nvPr/>
        </p:nvSpPr>
        <p:spPr>
          <a:xfrm>
            <a:off x="9566704" y="4024974"/>
            <a:ext cx="324000" cy="324000"/>
          </a:xfrm>
          <a:prstGeom prst="rect">
            <a:avLst/>
          </a:prstGeom>
          <a:solidFill>
            <a:srgbClr val="A6D5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Isosceles Triangle 13">
            <a:extLst>
              <a:ext uri="{FF2B5EF4-FFF2-40B4-BE49-F238E27FC236}">
                <a16:creationId xmlns:a16="http://schemas.microsoft.com/office/drawing/2014/main" id="{41BC74D5-1FC8-689C-37A4-1AE2A32761BA}"/>
              </a:ext>
            </a:extLst>
          </p:cNvPr>
          <p:cNvSpPr/>
          <p:nvPr/>
        </p:nvSpPr>
        <p:spPr>
          <a:xfrm rot="5400000">
            <a:off x="3916905" y="2772878"/>
            <a:ext cx="746705" cy="123884"/>
          </a:xfrm>
          <a:prstGeom prst="triangle">
            <a:avLst>
              <a:gd name="adj" fmla="val 50000"/>
            </a:avLst>
          </a:prstGeom>
          <a:solidFill>
            <a:schemeClr val="accent1"/>
          </a:solidFill>
          <a:ln w="6350">
            <a:solidFill>
              <a:schemeClr val="accent6"/>
            </a:solid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p>
        </p:txBody>
      </p:sp>
      <p:sp>
        <p:nvSpPr>
          <p:cNvPr id="16" name="Isosceles Triangle 15">
            <a:extLst>
              <a:ext uri="{FF2B5EF4-FFF2-40B4-BE49-F238E27FC236}">
                <a16:creationId xmlns:a16="http://schemas.microsoft.com/office/drawing/2014/main" id="{60018158-F7F6-D609-83E5-F915DFAF5455}"/>
              </a:ext>
            </a:extLst>
          </p:cNvPr>
          <p:cNvSpPr/>
          <p:nvPr/>
        </p:nvSpPr>
        <p:spPr>
          <a:xfrm rot="5400000">
            <a:off x="7754277" y="2772879"/>
            <a:ext cx="746705" cy="123884"/>
          </a:xfrm>
          <a:prstGeom prst="triangle">
            <a:avLst>
              <a:gd name="adj" fmla="val 50000"/>
            </a:avLst>
          </a:prstGeom>
          <a:solidFill>
            <a:schemeClr val="accent1"/>
          </a:solidFill>
          <a:ln w="6350">
            <a:solidFill>
              <a:schemeClr val="accent6"/>
            </a:solid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p>
        </p:txBody>
      </p:sp>
      <p:sp>
        <p:nvSpPr>
          <p:cNvPr id="18" name="Rectangle 17">
            <a:extLst>
              <a:ext uri="{FF2B5EF4-FFF2-40B4-BE49-F238E27FC236}">
                <a16:creationId xmlns:a16="http://schemas.microsoft.com/office/drawing/2014/main" id="{90F0869D-3EAC-D480-F89C-EFEF1D6CA09B}"/>
              </a:ext>
            </a:extLst>
          </p:cNvPr>
          <p:cNvSpPr/>
          <p:nvPr/>
        </p:nvSpPr>
        <p:spPr>
          <a:xfrm>
            <a:off x="6824763" y="6325339"/>
            <a:ext cx="1557237" cy="420187"/>
          </a:xfrm>
          <a:prstGeom prst="rect">
            <a:avLst/>
          </a:prstGeom>
          <a:solidFill>
            <a:srgbClr val="002C6F"/>
          </a:solidFill>
          <a:ln w="6350">
            <a:solidFill>
              <a:schemeClr val="accent6"/>
            </a:solid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200" b="1"/>
              <a:t>Budget data program</a:t>
            </a:r>
            <a:endParaRPr lang="en-US" sz="1200" b="1"/>
          </a:p>
        </p:txBody>
      </p:sp>
      <p:sp>
        <p:nvSpPr>
          <p:cNvPr id="19" name="Rectangle 18">
            <a:extLst>
              <a:ext uri="{FF2B5EF4-FFF2-40B4-BE49-F238E27FC236}">
                <a16:creationId xmlns:a16="http://schemas.microsoft.com/office/drawing/2014/main" id="{DB8D359B-28C5-7988-3276-A0552E3F5CBF}"/>
              </a:ext>
            </a:extLst>
          </p:cNvPr>
          <p:cNvSpPr/>
          <p:nvPr/>
        </p:nvSpPr>
        <p:spPr>
          <a:xfrm>
            <a:off x="8638621" y="6325338"/>
            <a:ext cx="1557237" cy="420187"/>
          </a:xfrm>
          <a:prstGeom prst="rect">
            <a:avLst/>
          </a:prstGeom>
          <a:solidFill>
            <a:schemeClr val="bg2"/>
          </a:solidFill>
          <a:ln w="6350">
            <a:solidFill>
              <a:schemeClr val="accent6"/>
            </a:solid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200" b="1"/>
              <a:t>Budget Data </a:t>
            </a:r>
            <a:r>
              <a:rPr lang="fr-FR" sz="1200" b="1" err="1"/>
              <a:t>factory</a:t>
            </a:r>
            <a:endParaRPr lang="en-US" sz="1200" b="1"/>
          </a:p>
        </p:txBody>
      </p:sp>
      <p:sp>
        <p:nvSpPr>
          <p:cNvPr id="12" name="Pentagone 3">
            <a:extLst>
              <a:ext uri="{FF2B5EF4-FFF2-40B4-BE49-F238E27FC236}">
                <a16:creationId xmlns:a16="http://schemas.microsoft.com/office/drawing/2014/main" id="{B9E6D1AF-BBB0-A287-9C43-46B3A5E8C6E7}"/>
              </a:ext>
            </a:extLst>
          </p:cNvPr>
          <p:cNvSpPr/>
          <p:nvPr/>
        </p:nvSpPr>
        <p:spPr>
          <a:xfrm>
            <a:off x="3825515" y="1562018"/>
            <a:ext cx="324000" cy="324000"/>
          </a:xfrm>
          <a:prstGeom prst="pentagon">
            <a:avLst/>
          </a:prstGeom>
          <a:solidFill>
            <a:srgbClr val="7FD7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Pentagone 3">
            <a:extLst>
              <a:ext uri="{FF2B5EF4-FFF2-40B4-BE49-F238E27FC236}">
                <a16:creationId xmlns:a16="http://schemas.microsoft.com/office/drawing/2014/main" id="{B086384D-7779-82BF-7A18-97153CE59B37}"/>
              </a:ext>
            </a:extLst>
          </p:cNvPr>
          <p:cNvSpPr/>
          <p:nvPr/>
        </p:nvSpPr>
        <p:spPr>
          <a:xfrm>
            <a:off x="7599160" y="1589221"/>
            <a:ext cx="324000" cy="324000"/>
          </a:xfrm>
          <a:prstGeom prst="pentagon">
            <a:avLst/>
          </a:prstGeom>
          <a:solidFill>
            <a:srgbClr val="7FD7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516795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AFFCED1-0EEB-5418-AA8F-D3269C8E5C35}"/>
              </a:ext>
            </a:extLst>
          </p:cNvPr>
          <p:cNvSpPr/>
          <p:nvPr/>
        </p:nvSpPr>
        <p:spPr>
          <a:xfrm>
            <a:off x="878682" y="1771360"/>
            <a:ext cx="10395829" cy="727508"/>
          </a:xfrm>
          <a:prstGeom prst="rect">
            <a:avLst/>
          </a:prstGeom>
          <a:solidFill>
            <a:srgbClr val="EAF0FA"/>
          </a:solidFill>
          <a:ln w="6350">
            <a:noFill/>
          </a:ln>
          <a:effectLst>
            <a:outerShdw sx="0" sy="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a:ln>
                  <a:noFill/>
                </a:ln>
                <a:solidFill>
                  <a:srgbClr val="004489"/>
                </a:solidFill>
                <a:effectLst/>
                <a:uLnTx/>
                <a:uFillTx/>
                <a:latin typeface="Vinci Sans Light"/>
                <a:ea typeface="+mn-ea"/>
                <a:cs typeface="+mn-cs"/>
              </a:rPr>
              <a:t>PROJECT LEADS</a:t>
            </a:r>
          </a:p>
        </p:txBody>
      </p:sp>
      <p:sp>
        <p:nvSpPr>
          <p:cNvPr id="27" name="Rectangle : coins arrondis 26">
            <a:extLst>
              <a:ext uri="{FF2B5EF4-FFF2-40B4-BE49-F238E27FC236}">
                <a16:creationId xmlns:a16="http://schemas.microsoft.com/office/drawing/2014/main" id="{6FB9A367-45AB-CABB-2D53-B748FB5D3440}"/>
              </a:ext>
            </a:extLst>
          </p:cNvPr>
          <p:cNvSpPr/>
          <p:nvPr/>
        </p:nvSpPr>
        <p:spPr>
          <a:xfrm>
            <a:off x="9779726" y="113115"/>
            <a:ext cx="1719214" cy="604633"/>
          </a:xfrm>
          <a:prstGeom prst="roundRect">
            <a:avLst>
              <a:gd name="adj" fmla="val 7257"/>
            </a:avLst>
          </a:prstGeom>
          <a:solidFill>
            <a:schemeClr val="bg1"/>
          </a:solidFill>
          <a:ln w="12700">
            <a:solidFill>
              <a:schemeClr val="accent6"/>
            </a:solidFill>
            <a:prstDash val="lgDash"/>
          </a:ln>
          <a:effectLst>
            <a:outerShdw sx="0" sy="0" algn="ctr" rotWithShape="0">
              <a:prstClr val="black">
                <a:alpha val="40000"/>
              </a:prstClr>
            </a:outerShdw>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bevelT w="0" h="0"/>
                <a:bevelB w="0" h="0"/>
              </a14:hiddenSp3d>
            </a:ext>
          </a:extLst>
        </p:spPr>
        <p:style>
          <a:lnRef idx="1">
            <a:schemeClr val="accent1"/>
          </a:lnRef>
          <a:fillRef idx="3">
            <a:schemeClr val="accent1"/>
          </a:fillRef>
          <a:effectRef idx="2">
            <a:schemeClr val="accent1"/>
          </a:effectRef>
          <a:fontRef idx="minor">
            <a:schemeClr val="lt1"/>
          </a:fontRef>
        </p:style>
        <p:txBody>
          <a:bodyPr vert="horz" lIns="3600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a:ln>
                <a:noFill/>
              </a:ln>
              <a:solidFill>
                <a:prstClr val="white"/>
              </a:solidFill>
              <a:effectLst/>
              <a:uLnTx/>
              <a:uFillTx/>
              <a:latin typeface="Vinci Sans" panose="02000000000000000000" pitchFamily="50" charset="0"/>
              <a:ea typeface="+mn-ea"/>
              <a:cs typeface="+mn-cs"/>
            </a:endParaRPr>
          </a:p>
        </p:txBody>
      </p:sp>
      <p:sp>
        <p:nvSpPr>
          <p:cNvPr id="28" name="ZoneTexte 27">
            <a:extLst>
              <a:ext uri="{FF2B5EF4-FFF2-40B4-BE49-F238E27FC236}">
                <a16:creationId xmlns:a16="http://schemas.microsoft.com/office/drawing/2014/main" id="{1C23EBA6-0D46-D0B1-D52C-14C8B4566B28}"/>
              </a:ext>
            </a:extLst>
          </p:cNvPr>
          <p:cNvSpPr txBox="1"/>
          <p:nvPr/>
        </p:nvSpPr>
        <p:spPr>
          <a:xfrm>
            <a:off x="9873839" y="169099"/>
            <a:ext cx="585417" cy="261610"/>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a:ln>
                  <a:noFill/>
                </a:ln>
                <a:solidFill>
                  <a:srgbClr val="3F3F3F"/>
                </a:solidFill>
                <a:effectLst/>
                <a:uLnTx/>
                <a:uFillTx/>
                <a:latin typeface="Vinci Sans Light"/>
                <a:ea typeface="+mn-ea"/>
                <a:cs typeface="+mn-cs"/>
              </a:rPr>
              <a:t>Legend</a:t>
            </a:r>
          </a:p>
        </p:txBody>
      </p:sp>
      <p:sp>
        <p:nvSpPr>
          <p:cNvPr id="29" name="Rectangle : coins arrondis 28">
            <a:extLst>
              <a:ext uri="{FF2B5EF4-FFF2-40B4-BE49-F238E27FC236}">
                <a16:creationId xmlns:a16="http://schemas.microsoft.com/office/drawing/2014/main" id="{0ADBC98C-2097-FE09-BC65-DD0799B5FA32}"/>
              </a:ext>
            </a:extLst>
          </p:cNvPr>
          <p:cNvSpPr/>
          <p:nvPr/>
        </p:nvSpPr>
        <p:spPr>
          <a:xfrm>
            <a:off x="10738559" y="434905"/>
            <a:ext cx="681819" cy="207967"/>
          </a:xfrm>
          <a:prstGeom prst="roundRect">
            <a:avLst/>
          </a:prstGeom>
          <a:solidFill>
            <a:schemeClr val="bg1"/>
          </a:solidFill>
          <a:ln w="6350">
            <a:solidFill>
              <a:schemeClr val="accent6"/>
            </a:solidFill>
          </a:ln>
          <a:effectLst>
            <a:outerShdw sx="0" sy="0" algn="ctr" rotWithShape="0">
              <a:prstClr val="black">
                <a:alpha val="40000"/>
              </a:prstClr>
            </a:outerShdw>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bevelT w="0" h="0"/>
                <a:bevelB w="0" h="0"/>
              </a14:hiddenSp3d>
            </a:ext>
          </a:extLst>
        </p:spPr>
        <p:style>
          <a:lnRef idx="1">
            <a:schemeClr val="accent1"/>
          </a:lnRef>
          <a:fillRef idx="3">
            <a:schemeClr val="accent1"/>
          </a:fillRef>
          <a:effectRef idx="2">
            <a:schemeClr val="accent1"/>
          </a:effectRef>
          <a:fontRef idx="minor">
            <a:schemeClr val="lt1"/>
          </a:fontRef>
        </p:style>
        <p:txBody>
          <a:bodyPr vert="horz" lIns="3600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a:ln>
                  <a:noFill/>
                </a:ln>
                <a:solidFill>
                  <a:srgbClr val="30638E"/>
                </a:solidFill>
                <a:effectLst/>
                <a:uLnTx/>
                <a:uFillTx/>
                <a:latin typeface="Vinci Sans" panose="02000000000000000000" pitchFamily="50" charset="0"/>
                <a:ea typeface="+mn-ea"/>
                <a:cs typeface="+mn-cs"/>
              </a:rPr>
              <a:t>IT Team</a:t>
            </a:r>
          </a:p>
        </p:txBody>
      </p:sp>
      <p:sp>
        <p:nvSpPr>
          <p:cNvPr id="30" name="Rectangle : coins arrondis 29">
            <a:extLst>
              <a:ext uri="{FF2B5EF4-FFF2-40B4-BE49-F238E27FC236}">
                <a16:creationId xmlns:a16="http://schemas.microsoft.com/office/drawing/2014/main" id="{FF81AFB7-33B5-56E9-484E-2642D0A05B7E}"/>
              </a:ext>
            </a:extLst>
          </p:cNvPr>
          <p:cNvSpPr/>
          <p:nvPr/>
        </p:nvSpPr>
        <p:spPr>
          <a:xfrm>
            <a:off x="9832260" y="436265"/>
            <a:ext cx="858524" cy="223495"/>
          </a:xfrm>
          <a:prstGeom prst="roundRect">
            <a:avLst/>
          </a:prstGeom>
          <a:solidFill>
            <a:schemeClr val="bg1"/>
          </a:solidFill>
          <a:ln w="6350">
            <a:solidFill>
              <a:schemeClr val="accent6"/>
            </a:solidFill>
          </a:ln>
          <a:effectLst>
            <a:outerShdw sx="0" sy="0" algn="ctr" rotWithShape="0">
              <a:prstClr val="black">
                <a:alpha val="40000"/>
              </a:prstClr>
            </a:outerShdw>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bevelT w="0" h="0"/>
                <a:bevelB w="0" h="0"/>
              </a14:hiddenSp3d>
            </a:ext>
          </a:extLst>
        </p:spPr>
        <p:style>
          <a:lnRef idx="1">
            <a:schemeClr val="accent1"/>
          </a:lnRef>
          <a:fillRef idx="3">
            <a:schemeClr val="accent1"/>
          </a:fillRef>
          <a:effectRef idx="2">
            <a:schemeClr val="accent1"/>
          </a:effectRef>
          <a:fontRef idx="minor">
            <a:schemeClr val="lt1"/>
          </a:fontRef>
        </p:style>
        <p:txBody>
          <a:bodyPr vert="horz" lIns="3600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a:ln>
                  <a:noFill/>
                </a:ln>
                <a:solidFill>
                  <a:srgbClr val="D1495B"/>
                </a:solidFill>
                <a:effectLst/>
                <a:uLnTx/>
                <a:uFillTx/>
                <a:latin typeface="Vinci Sans" panose="02000000000000000000" pitchFamily="50" charset="0"/>
                <a:ea typeface="+mn-ea"/>
                <a:cs typeface="+mn-cs"/>
              </a:rPr>
              <a:t>Business Team </a:t>
            </a:r>
          </a:p>
        </p:txBody>
      </p:sp>
      <p:sp>
        <p:nvSpPr>
          <p:cNvPr id="31" name="Rectangle 30">
            <a:extLst>
              <a:ext uri="{FF2B5EF4-FFF2-40B4-BE49-F238E27FC236}">
                <a16:creationId xmlns:a16="http://schemas.microsoft.com/office/drawing/2014/main" id="{5EA3E734-4B11-A5BF-3765-502EC52BE575}"/>
              </a:ext>
            </a:extLst>
          </p:cNvPr>
          <p:cNvSpPr/>
          <p:nvPr/>
        </p:nvSpPr>
        <p:spPr>
          <a:xfrm>
            <a:off x="896826" y="5621017"/>
            <a:ext cx="10397088" cy="220472"/>
          </a:xfrm>
          <a:prstGeom prst="rect">
            <a:avLst/>
          </a:prstGeom>
          <a:solidFill>
            <a:srgbClr val="EAF0FA"/>
          </a:solidFill>
          <a:ln w="6350">
            <a:noFill/>
          </a:ln>
          <a:effectLst>
            <a:outerShdw sx="0" sy="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a:ln>
                  <a:noFill/>
                </a:ln>
                <a:solidFill>
                  <a:srgbClr val="7F7F7F"/>
                </a:solidFill>
                <a:effectLst/>
                <a:uLnTx/>
                <a:uFillTx/>
                <a:latin typeface="Vinci Sans Light"/>
                <a:ea typeface="+mn-ea"/>
                <a:cs typeface="+mn-cs"/>
              </a:rPr>
              <a:t>ENTERPRISE ARCHITECTURE</a:t>
            </a:r>
          </a:p>
        </p:txBody>
      </p:sp>
      <p:sp>
        <p:nvSpPr>
          <p:cNvPr id="23" name="Rectangle 22">
            <a:extLst>
              <a:ext uri="{FF2B5EF4-FFF2-40B4-BE49-F238E27FC236}">
                <a16:creationId xmlns:a16="http://schemas.microsoft.com/office/drawing/2014/main" id="{44CC402F-6F51-3C94-0855-E56E22403CAF}"/>
              </a:ext>
            </a:extLst>
          </p:cNvPr>
          <p:cNvSpPr/>
          <p:nvPr/>
        </p:nvSpPr>
        <p:spPr>
          <a:xfrm>
            <a:off x="896826" y="2600182"/>
            <a:ext cx="3420000" cy="1922626"/>
          </a:xfrm>
          <a:prstGeom prst="rect">
            <a:avLst/>
          </a:prstGeom>
          <a:solidFill>
            <a:srgbClr val="EAF0FA"/>
          </a:solidFill>
          <a:ln w="6350">
            <a:noFill/>
          </a:ln>
          <a:effectLst>
            <a:outerShdw sx="0" sy="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a:ln>
                  <a:noFill/>
                </a:ln>
                <a:solidFill>
                  <a:srgbClr val="004489"/>
                </a:solidFill>
                <a:effectLst/>
                <a:uLnTx/>
                <a:uFillTx/>
                <a:latin typeface="Vinci Sans Light"/>
                <a:ea typeface="+mn-ea"/>
                <a:cs typeface="+mn-cs"/>
              </a:rPr>
              <a:t>DATA FACTORIES</a:t>
            </a:r>
          </a:p>
        </p:txBody>
      </p:sp>
      <p:sp>
        <p:nvSpPr>
          <p:cNvPr id="21" name="Rectangle 20">
            <a:extLst>
              <a:ext uri="{FF2B5EF4-FFF2-40B4-BE49-F238E27FC236}">
                <a16:creationId xmlns:a16="http://schemas.microsoft.com/office/drawing/2014/main" id="{1B0B08ED-D740-1DB6-8C6B-A3358AF4C978}"/>
              </a:ext>
            </a:extLst>
          </p:cNvPr>
          <p:cNvSpPr/>
          <p:nvPr/>
        </p:nvSpPr>
        <p:spPr>
          <a:xfrm>
            <a:off x="1103084" y="3786927"/>
            <a:ext cx="1928216" cy="305414"/>
          </a:xfrm>
          <a:prstGeom prst="rect">
            <a:avLst/>
          </a:prstGeom>
          <a:solidFill>
            <a:srgbClr val="DAE5F6"/>
          </a:solidFill>
          <a:ln w="6350">
            <a:solidFill>
              <a:schemeClr val="accent6"/>
            </a:solidFill>
          </a:ln>
          <a:effectLst>
            <a:outerShdw blurRad="50800" algn="ctr" rotWithShape="0">
              <a:schemeClr val="accent1">
                <a:lumMod val="50000"/>
                <a:alpha val="4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rgbClr val="3F3F3F"/>
                </a:solidFill>
                <a:effectLst/>
                <a:highlight>
                  <a:srgbClr val="FFFF00"/>
                </a:highlight>
                <a:uLnTx/>
                <a:uFillTx/>
                <a:latin typeface="Vinci Sans Light"/>
                <a:ea typeface="+mn-ea"/>
                <a:cs typeface="+mn-cs"/>
              </a:rPr>
              <a:t>DATA PRODUCT BUILD</a:t>
            </a:r>
            <a:endParaRPr kumimoji="0" lang="en-US" sz="1800" b="0" i="0" u="none" strike="noStrike" kern="1200" cap="none" spc="0" normalizeH="0" baseline="0">
              <a:ln>
                <a:noFill/>
              </a:ln>
              <a:solidFill>
                <a:srgbClr val="3F3F3F"/>
              </a:solidFill>
              <a:effectLst/>
              <a:highlight>
                <a:srgbClr val="FFFF00"/>
              </a:highlight>
              <a:uLnTx/>
              <a:uFillTx/>
              <a:latin typeface="Vinci Sans Light"/>
              <a:ea typeface="+mn-ea"/>
              <a:cs typeface="+mn-cs"/>
            </a:endParaRPr>
          </a:p>
        </p:txBody>
      </p:sp>
      <p:sp>
        <p:nvSpPr>
          <p:cNvPr id="25" name="Rectangle 24">
            <a:extLst>
              <a:ext uri="{FF2B5EF4-FFF2-40B4-BE49-F238E27FC236}">
                <a16:creationId xmlns:a16="http://schemas.microsoft.com/office/drawing/2014/main" id="{136F9F6A-A6A7-EAB1-2739-F7FB9651FFE1}"/>
              </a:ext>
            </a:extLst>
          </p:cNvPr>
          <p:cNvSpPr/>
          <p:nvPr/>
        </p:nvSpPr>
        <p:spPr>
          <a:xfrm>
            <a:off x="1103083" y="2885777"/>
            <a:ext cx="1382996" cy="426235"/>
          </a:xfrm>
          <a:prstGeom prst="rect">
            <a:avLst/>
          </a:prstGeom>
          <a:solidFill>
            <a:schemeClr val="bg1"/>
          </a:solidFill>
          <a:ln w="12700">
            <a:noFill/>
          </a:ln>
          <a:effectLst>
            <a:outerShdw sx="0" sy="0" algn="ctr" rotWithShape="0">
              <a:prstClr val="black">
                <a:alpha val="40000"/>
              </a:prstClr>
            </a:outerShdw>
            <a:softEdge rad="25400"/>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bevelT w="0" h="0"/>
                <a:bevelB w="0" h="0"/>
              </a14:hiddenSp3d>
            </a:ext>
          </a:extLst>
        </p:spPr>
        <p:style>
          <a:lnRef idx="1">
            <a:schemeClr val="accent1"/>
          </a:lnRef>
          <a:fillRef idx="3">
            <a:schemeClr val="accent1"/>
          </a:fillRef>
          <a:effectRef idx="2">
            <a:schemeClr val="accent1"/>
          </a:effectRef>
          <a:fontRef idx="minor">
            <a:schemeClr val="lt1"/>
          </a:fontRef>
        </p:style>
        <p:txBody>
          <a:bodyPr vert="horz" lIns="3600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dirty="0">
                <a:ln>
                  <a:noFill/>
                </a:ln>
                <a:solidFill>
                  <a:srgbClr val="30638E"/>
                </a:solidFill>
                <a:effectLst/>
                <a:highlight>
                  <a:srgbClr val="FFFF00"/>
                </a:highlight>
                <a:uLnTx/>
                <a:uFillTx/>
                <a:latin typeface="Vinci Sans" panose="02000000000000000000" pitchFamily="50" charset="0"/>
                <a:ea typeface="+mn-ea"/>
                <a:cs typeface="+mn-cs"/>
              </a:rPr>
              <a:t>XXX</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1" u="none" strike="noStrike" kern="0" cap="none" spc="0" normalizeH="0" baseline="0" dirty="0">
                <a:ln>
                  <a:noFill/>
                </a:ln>
                <a:solidFill>
                  <a:srgbClr val="30638E"/>
                </a:solidFill>
                <a:effectLst/>
                <a:uLnTx/>
                <a:uFillTx/>
                <a:latin typeface="Vinci Sans" panose="02000000000000000000" pitchFamily="50" charset="0"/>
                <a:ea typeface="+mn-ea"/>
                <a:cs typeface="+mn-cs"/>
              </a:rPr>
              <a:t>Data Factory Lead – MS Techno</a:t>
            </a:r>
          </a:p>
        </p:txBody>
      </p:sp>
      <p:sp>
        <p:nvSpPr>
          <p:cNvPr id="26" name="Rectangle 25">
            <a:extLst>
              <a:ext uri="{FF2B5EF4-FFF2-40B4-BE49-F238E27FC236}">
                <a16:creationId xmlns:a16="http://schemas.microsoft.com/office/drawing/2014/main" id="{E3C87FB0-B2C8-8642-24EF-30DEAEFF4615}"/>
              </a:ext>
            </a:extLst>
          </p:cNvPr>
          <p:cNvSpPr/>
          <p:nvPr/>
        </p:nvSpPr>
        <p:spPr>
          <a:xfrm>
            <a:off x="2744817" y="2885777"/>
            <a:ext cx="1382997" cy="426235"/>
          </a:xfrm>
          <a:prstGeom prst="rect">
            <a:avLst/>
          </a:prstGeom>
          <a:solidFill>
            <a:schemeClr val="bg1"/>
          </a:solidFill>
          <a:ln w="12700">
            <a:noFill/>
          </a:ln>
          <a:effectLst>
            <a:outerShdw sx="0" sy="0" algn="ctr" rotWithShape="0">
              <a:prstClr val="black">
                <a:alpha val="40000"/>
              </a:prstClr>
            </a:outerShdw>
            <a:softEdge rad="25400"/>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bevelT w="0" h="0"/>
                <a:bevelB w="0" h="0"/>
              </a14:hiddenSp3d>
            </a:ext>
          </a:extLst>
        </p:spPr>
        <p:style>
          <a:lnRef idx="1">
            <a:schemeClr val="accent1"/>
          </a:lnRef>
          <a:fillRef idx="3">
            <a:schemeClr val="accent1"/>
          </a:fillRef>
          <a:effectRef idx="2">
            <a:schemeClr val="accent1"/>
          </a:effectRef>
          <a:fontRef idx="minor">
            <a:schemeClr val="lt1"/>
          </a:fontRef>
        </p:style>
        <p:txBody>
          <a:bodyPr vert="horz" lIns="3600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a:ln>
                  <a:noFill/>
                </a:ln>
                <a:solidFill>
                  <a:srgbClr val="30638E"/>
                </a:solidFill>
                <a:effectLst/>
                <a:uLnTx/>
                <a:uFillTx/>
                <a:latin typeface="Vinci Sans" panose="02000000000000000000" pitchFamily="50" charset="0"/>
                <a:ea typeface="+mn-ea"/>
                <a:cs typeface="+mn-cs"/>
              </a:rPr>
              <a:t>Dominique POLVERELLI</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1" u="none" strike="noStrike" kern="0" cap="none" spc="0" normalizeH="0" baseline="0">
                <a:ln>
                  <a:noFill/>
                </a:ln>
                <a:solidFill>
                  <a:srgbClr val="30638E"/>
                </a:solidFill>
                <a:effectLst/>
                <a:uLnTx/>
                <a:uFillTx/>
                <a:latin typeface="Vinci Sans" panose="02000000000000000000" pitchFamily="50" charset="0"/>
                <a:ea typeface="+mn-ea"/>
                <a:cs typeface="+mn-cs"/>
              </a:rPr>
              <a:t>Data Factory Lead – SAP BW Techno</a:t>
            </a:r>
          </a:p>
        </p:txBody>
      </p:sp>
      <p:sp>
        <p:nvSpPr>
          <p:cNvPr id="40" name="Rectangle 39">
            <a:extLst>
              <a:ext uri="{FF2B5EF4-FFF2-40B4-BE49-F238E27FC236}">
                <a16:creationId xmlns:a16="http://schemas.microsoft.com/office/drawing/2014/main" id="{59334AA8-56EB-969E-6CF5-73F04762A7BD}"/>
              </a:ext>
            </a:extLst>
          </p:cNvPr>
          <p:cNvSpPr/>
          <p:nvPr/>
        </p:nvSpPr>
        <p:spPr>
          <a:xfrm>
            <a:off x="1103084" y="4159680"/>
            <a:ext cx="1928216" cy="305414"/>
          </a:xfrm>
          <a:prstGeom prst="rect">
            <a:avLst/>
          </a:prstGeom>
          <a:solidFill>
            <a:srgbClr val="DAE5F6"/>
          </a:solidFill>
          <a:ln w="6350">
            <a:solidFill>
              <a:schemeClr val="accent6"/>
            </a:solidFill>
          </a:ln>
          <a:effectLst>
            <a:outerShdw blurRad="50800" algn="ctr" rotWithShape="0">
              <a:schemeClr val="accent1">
                <a:lumMod val="50000"/>
                <a:alpha val="4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rgbClr val="3F3F3F"/>
                </a:solidFill>
                <a:effectLst/>
                <a:highlight>
                  <a:srgbClr val="FFFF00"/>
                </a:highlight>
                <a:uLnTx/>
                <a:uFillTx/>
                <a:latin typeface="Vinci Sans Light"/>
                <a:ea typeface="+mn-ea"/>
                <a:cs typeface="+mn-cs"/>
              </a:rPr>
              <a:t>BI BUILD</a:t>
            </a:r>
            <a:endParaRPr kumimoji="0" lang="en-US" sz="1800" b="0" i="0" u="none" strike="noStrike" kern="1200" cap="none" spc="0" normalizeH="0" baseline="0">
              <a:ln>
                <a:noFill/>
              </a:ln>
              <a:solidFill>
                <a:srgbClr val="3F3F3F"/>
              </a:solidFill>
              <a:effectLst/>
              <a:highlight>
                <a:srgbClr val="FFFF00"/>
              </a:highlight>
              <a:uLnTx/>
              <a:uFillTx/>
              <a:latin typeface="Vinci Sans Light"/>
              <a:ea typeface="+mn-ea"/>
              <a:cs typeface="+mn-cs"/>
            </a:endParaRPr>
          </a:p>
        </p:txBody>
      </p:sp>
      <p:sp>
        <p:nvSpPr>
          <p:cNvPr id="49" name="Rectangle 48">
            <a:extLst>
              <a:ext uri="{FF2B5EF4-FFF2-40B4-BE49-F238E27FC236}">
                <a16:creationId xmlns:a16="http://schemas.microsoft.com/office/drawing/2014/main" id="{D04275E0-A2DD-B9EF-5B9F-509785014010}"/>
              </a:ext>
            </a:extLst>
          </p:cNvPr>
          <p:cNvSpPr/>
          <p:nvPr/>
        </p:nvSpPr>
        <p:spPr>
          <a:xfrm>
            <a:off x="896826" y="4592065"/>
            <a:ext cx="3420000" cy="957120"/>
          </a:xfrm>
          <a:prstGeom prst="rect">
            <a:avLst/>
          </a:prstGeom>
          <a:solidFill>
            <a:srgbClr val="EAF0FA"/>
          </a:solidFill>
          <a:ln w="6350">
            <a:noFill/>
          </a:ln>
          <a:effectLst>
            <a:outerShdw sx="0" sy="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a:ln>
                  <a:noFill/>
                </a:ln>
                <a:solidFill>
                  <a:srgbClr val="004489"/>
                </a:solidFill>
                <a:effectLst/>
                <a:uLnTx/>
                <a:uFillTx/>
                <a:latin typeface="Vinci Sans Light"/>
                <a:ea typeface="+mn-ea"/>
                <a:cs typeface="+mn-cs"/>
              </a:rPr>
              <a:t>AI MAKERS</a:t>
            </a:r>
          </a:p>
        </p:txBody>
      </p:sp>
      <p:sp>
        <p:nvSpPr>
          <p:cNvPr id="50" name="Rectangle 49">
            <a:extLst>
              <a:ext uri="{FF2B5EF4-FFF2-40B4-BE49-F238E27FC236}">
                <a16:creationId xmlns:a16="http://schemas.microsoft.com/office/drawing/2014/main" id="{E50F306E-0301-19C5-10D2-C80861AC4C8B}"/>
              </a:ext>
            </a:extLst>
          </p:cNvPr>
          <p:cNvSpPr/>
          <p:nvPr/>
        </p:nvSpPr>
        <p:spPr>
          <a:xfrm>
            <a:off x="2536682" y="5078785"/>
            <a:ext cx="1599620" cy="316604"/>
          </a:xfrm>
          <a:prstGeom prst="rect">
            <a:avLst/>
          </a:prstGeom>
          <a:solidFill>
            <a:srgbClr val="DAE5F6"/>
          </a:solidFill>
          <a:ln w="6350">
            <a:solidFill>
              <a:schemeClr val="accent6"/>
            </a:solidFill>
          </a:ln>
          <a:effectLst>
            <a:outerShdw blurRad="50800" algn="ctr" rotWithShape="0">
              <a:schemeClr val="accent1">
                <a:lumMod val="50000"/>
                <a:alpha val="4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rgbClr val="3F3F3F"/>
                </a:solidFill>
                <a:effectLst/>
                <a:highlight>
                  <a:srgbClr val="FFFF00"/>
                </a:highlight>
                <a:uLnTx/>
                <a:uFillTx/>
                <a:latin typeface="Vinci Sans Light"/>
                <a:ea typeface="+mn-ea"/>
                <a:cs typeface="+mn-cs"/>
              </a:rPr>
              <a:t>AI BUILD</a:t>
            </a:r>
            <a:endParaRPr kumimoji="0" lang="en-US" sz="1800" b="0" i="0" u="none" strike="noStrike" kern="1200" cap="none" spc="0" normalizeH="0" baseline="0">
              <a:ln>
                <a:noFill/>
              </a:ln>
              <a:solidFill>
                <a:srgbClr val="3F3F3F"/>
              </a:solidFill>
              <a:effectLst/>
              <a:highlight>
                <a:srgbClr val="FFFF00"/>
              </a:highlight>
              <a:uLnTx/>
              <a:uFillTx/>
              <a:latin typeface="Vinci Sans Light"/>
              <a:ea typeface="+mn-ea"/>
              <a:cs typeface="+mn-cs"/>
            </a:endParaRPr>
          </a:p>
        </p:txBody>
      </p:sp>
      <p:sp>
        <p:nvSpPr>
          <p:cNvPr id="51" name="Rectangle 50">
            <a:extLst>
              <a:ext uri="{FF2B5EF4-FFF2-40B4-BE49-F238E27FC236}">
                <a16:creationId xmlns:a16="http://schemas.microsoft.com/office/drawing/2014/main" id="{C3B09381-8360-096C-2639-7E4AEDCA1521}"/>
              </a:ext>
            </a:extLst>
          </p:cNvPr>
          <p:cNvSpPr/>
          <p:nvPr/>
        </p:nvSpPr>
        <p:spPr>
          <a:xfrm>
            <a:off x="1111571" y="5038495"/>
            <a:ext cx="1382996" cy="426235"/>
          </a:xfrm>
          <a:prstGeom prst="rect">
            <a:avLst/>
          </a:prstGeom>
          <a:solidFill>
            <a:schemeClr val="bg1"/>
          </a:solidFill>
          <a:ln w="12700">
            <a:noFill/>
          </a:ln>
          <a:effectLst>
            <a:outerShdw sx="0" sy="0" algn="ctr" rotWithShape="0">
              <a:prstClr val="black">
                <a:alpha val="40000"/>
              </a:prstClr>
            </a:outerShdw>
            <a:softEdge rad="25400"/>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bevelT w="0" h="0"/>
                <a:bevelB w="0" h="0"/>
              </a14:hiddenSp3d>
            </a:ext>
          </a:extLst>
        </p:spPr>
        <p:style>
          <a:lnRef idx="1">
            <a:schemeClr val="accent1"/>
          </a:lnRef>
          <a:fillRef idx="3">
            <a:schemeClr val="accent1"/>
          </a:fillRef>
          <a:effectRef idx="2">
            <a:schemeClr val="accent1"/>
          </a:effectRef>
          <a:fontRef idx="minor">
            <a:schemeClr val="lt1"/>
          </a:fontRef>
        </p:style>
        <p:txBody>
          <a:bodyPr vert="horz" lIns="3600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a:ln>
                  <a:noFill/>
                </a:ln>
                <a:solidFill>
                  <a:srgbClr val="30638E"/>
                </a:solidFill>
                <a:effectLst/>
                <a:uLnTx/>
                <a:uFillTx/>
                <a:latin typeface="Vinci Sans" panose="02000000000000000000" pitchFamily="50" charset="0"/>
                <a:ea typeface="+mn-ea"/>
                <a:cs typeface="+mn-cs"/>
              </a:rPr>
              <a:t>Victorien MELOT</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1" u="none" strike="noStrike" kern="0" cap="none" spc="0" normalizeH="0" baseline="0">
                <a:ln>
                  <a:noFill/>
                </a:ln>
                <a:solidFill>
                  <a:srgbClr val="30638E"/>
                </a:solidFill>
                <a:effectLst/>
                <a:uLnTx/>
                <a:uFillTx/>
                <a:latin typeface="Vinci Sans" panose="02000000000000000000" pitchFamily="50" charset="0"/>
                <a:ea typeface="+mn-ea"/>
                <a:cs typeface="+mn-cs"/>
              </a:rPr>
              <a:t>AI Lead</a:t>
            </a:r>
          </a:p>
        </p:txBody>
      </p:sp>
      <p:sp>
        <p:nvSpPr>
          <p:cNvPr id="37" name="Rectangle 36">
            <a:extLst>
              <a:ext uri="{FF2B5EF4-FFF2-40B4-BE49-F238E27FC236}">
                <a16:creationId xmlns:a16="http://schemas.microsoft.com/office/drawing/2014/main" id="{E9F51B79-0874-C076-D760-B39CDDD678AB}"/>
              </a:ext>
            </a:extLst>
          </p:cNvPr>
          <p:cNvSpPr/>
          <p:nvPr/>
        </p:nvSpPr>
        <p:spPr>
          <a:xfrm>
            <a:off x="4332163" y="2610739"/>
            <a:ext cx="3420000" cy="2946489"/>
          </a:xfrm>
          <a:prstGeom prst="rect">
            <a:avLst/>
          </a:prstGeom>
          <a:solidFill>
            <a:srgbClr val="EAF0FA"/>
          </a:solidFill>
          <a:ln w="6350">
            <a:noFill/>
          </a:ln>
          <a:effectLst>
            <a:outerShdw sx="0" sy="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a:ln>
                  <a:noFill/>
                </a:ln>
                <a:solidFill>
                  <a:srgbClr val="004489"/>
                </a:solidFill>
                <a:effectLst/>
                <a:uLnTx/>
                <a:uFillTx/>
                <a:latin typeface="Vinci Sans Light"/>
                <a:ea typeface="+mn-ea"/>
                <a:cs typeface="+mn-cs"/>
              </a:rPr>
              <a:t>DATA OFFICE</a:t>
            </a:r>
          </a:p>
        </p:txBody>
      </p:sp>
      <p:sp>
        <p:nvSpPr>
          <p:cNvPr id="32" name="Rectangle 31">
            <a:extLst>
              <a:ext uri="{FF2B5EF4-FFF2-40B4-BE49-F238E27FC236}">
                <a16:creationId xmlns:a16="http://schemas.microsoft.com/office/drawing/2014/main" id="{38C7A123-2B0C-38CB-8D8F-704C4F6E6888}"/>
              </a:ext>
            </a:extLst>
          </p:cNvPr>
          <p:cNvSpPr/>
          <p:nvPr/>
        </p:nvSpPr>
        <p:spPr>
          <a:xfrm>
            <a:off x="5322663" y="2899265"/>
            <a:ext cx="1364994" cy="426235"/>
          </a:xfrm>
          <a:prstGeom prst="rect">
            <a:avLst/>
          </a:prstGeom>
          <a:solidFill>
            <a:schemeClr val="bg1"/>
          </a:solidFill>
          <a:ln w="12700">
            <a:noFill/>
          </a:ln>
          <a:effectLst>
            <a:outerShdw sx="0" sy="0" algn="ctr" rotWithShape="0">
              <a:prstClr val="black">
                <a:alpha val="40000"/>
              </a:prstClr>
            </a:outerShdw>
            <a:softEdge rad="25400"/>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bevelT w="0" h="0"/>
                <a:bevelB w="0" h="0"/>
              </a14:hiddenSp3d>
            </a:ext>
          </a:extLst>
        </p:spPr>
        <p:style>
          <a:lnRef idx="1">
            <a:schemeClr val="accent1"/>
          </a:lnRef>
          <a:fillRef idx="3">
            <a:schemeClr val="accent1"/>
          </a:fillRef>
          <a:effectRef idx="2">
            <a:schemeClr val="accent1"/>
          </a:effectRef>
          <a:fontRef idx="minor">
            <a:schemeClr val="lt1"/>
          </a:fontRef>
        </p:style>
        <p:txBody>
          <a:bodyPr vert="horz" lIns="3600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a:ln>
                  <a:noFill/>
                </a:ln>
                <a:solidFill>
                  <a:srgbClr val="30638E"/>
                </a:solidFill>
                <a:effectLst/>
                <a:uLnTx/>
                <a:uFillTx/>
                <a:latin typeface="Vinci Sans" panose="02000000000000000000" pitchFamily="50" charset="0"/>
                <a:ea typeface="+mn-ea"/>
                <a:cs typeface="+mn-cs"/>
              </a:rPr>
              <a:t>Camille VANEENOGE</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1" u="none" strike="noStrike" kern="0" cap="none" spc="0" normalizeH="0" baseline="0">
                <a:ln>
                  <a:noFill/>
                </a:ln>
                <a:solidFill>
                  <a:srgbClr val="30638E"/>
                </a:solidFill>
                <a:effectLst/>
                <a:uLnTx/>
                <a:uFillTx/>
                <a:latin typeface="Vinci Sans" panose="02000000000000000000" pitchFamily="50" charset="0"/>
                <a:ea typeface="+mn-ea"/>
                <a:cs typeface="+mn-cs"/>
              </a:rPr>
              <a:t> Data Officer</a:t>
            </a:r>
          </a:p>
        </p:txBody>
      </p:sp>
      <p:sp>
        <p:nvSpPr>
          <p:cNvPr id="6" name="Ellipse 5">
            <a:extLst>
              <a:ext uri="{FF2B5EF4-FFF2-40B4-BE49-F238E27FC236}">
                <a16:creationId xmlns:a16="http://schemas.microsoft.com/office/drawing/2014/main" id="{AE46592D-02BF-F799-E21F-555C4E92B496}"/>
              </a:ext>
            </a:extLst>
          </p:cNvPr>
          <p:cNvSpPr/>
          <p:nvPr/>
        </p:nvSpPr>
        <p:spPr>
          <a:xfrm>
            <a:off x="6671423" y="2683262"/>
            <a:ext cx="180000" cy="180000"/>
          </a:xfrm>
          <a:prstGeom prst="ellipse">
            <a:avLst/>
          </a:prstGeom>
          <a:solidFill>
            <a:srgbClr val="F46F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a:ln>
                <a:noFill/>
              </a:ln>
              <a:solidFill>
                <a:srgbClr val="3F3F3F"/>
              </a:solidFill>
              <a:effectLst/>
              <a:uLnTx/>
              <a:uFillTx/>
              <a:latin typeface="Vinci Sans Light"/>
              <a:ea typeface="+mn-ea"/>
              <a:cs typeface="+mn-cs"/>
            </a:endParaRPr>
          </a:p>
        </p:txBody>
      </p:sp>
      <p:sp>
        <p:nvSpPr>
          <p:cNvPr id="52" name="Rectangle 51">
            <a:extLst>
              <a:ext uri="{FF2B5EF4-FFF2-40B4-BE49-F238E27FC236}">
                <a16:creationId xmlns:a16="http://schemas.microsoft.com/office/drawing/2014/main" id="{5B575B5A-B64E-A52D-348F-FE67AC2A1D87}"/>
              </a:ext>
            </a:extLst>
          </p:cNvPr>
          <p:cNvSpPr/>
          <p:nvPr/>
        </p:nvSpPr>
        <p:spPr>
          <a:xfrm>
            <a:off x="6024021" y="3339708"/>
            <a:ext cx="1364994" cy="426235"/>
          </a:xfrm>
          <a:prstGeom prst="rect">
            <a:avLst/>
          </a:prstGeom>
          <a:solidFill>
            <a:schemeClr val="bg1"/>
          </a:solidFill>
          <a:ln w="12700">
            <a:noFill/>
          </a:ln>
          <a:effectLst>
            <a:outerShdw sx="0" sy="0" algn="ctr" rotWithShape="0">
              <a:prstClr val="black">
                <a:alpha val="40000"/>
              </a:prstClr>
            </a:outerShdw>
            <a:softEdge rad="25400"/>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bevelT w="0" h="0"/>
                <a:bevelB w="0" h="0"/>
              </a14:hiddenSp3d>
            </a:ext>
          </a:extLst>
        </p:spPr>
        <p:style>
          <a:lnRef idx="1">
            <a:schemeClr val="accent1"/>
          </a:lnRef>
          <a:fillRef idx="3">
            <a:schemeClr val="accent1"/>
          </a:fillRef>
          <a:effectRef idx="2">
            <a:schemeClr val="accent1"/>
          </a:effectRef>
          <a:fontRef idx="minor">
            <a:schemeClr val="lt1"/>
          </a:fontRef>
        </p:style>
        <p:txBody>
          <a:bodyPr vert="horz" lIns="3600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a:ln>
                  <a:noFill/>
                </a:ln>
                <a:solidFill>
                  <a:srgbClr val="30638E"/>
                </a:solidFill>
                <a:effectLst/>
                <a:uLnTx/>
                <a:uFillTx/>
                <a:latin typeface="Vinci Sans" panose="02000000000000000000" pitchFamily="50" charset="0"/>
                <a:ea typeface="+mn-ea"/>
                <a:cs typeface="+mn-cs"/>
              </a:rPr>
              <a:t>Pierre BRET</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1" u="none" strike="noStrike" kern="0" cap="none" spc="0" normalizeH="0" baseline="0">
                <a:ln>
                  <a:noFill/>
                </a:ln>
                <a:solidFill>
                  <a:srgbClr val="30638E"/>
                </a:solidFill>
                <a:effectLst/>
                <a:uLnTx/>
                <a:uFillTx/>
                <a:latin typeface="Vinci Sans" panose="02000000000000000000" pitchFamily="50" charset="0"/>
                <a:ea typeface="+mn-ea"/>
                <a:cs typeface="+mn-cs"/>
              </a:rPr>
              <a:t>Data office lead </a:t>
            </a:r>
          </a:p>
        </p:txBody>
      </p:sp>
      <p:sp>
        <p:nvSpPr>
          <p:cNvPr id="5" name="Rectangle 4">
            <a:extLst>
              <a:ext uri="{FF2B5EF4-FFF2-40B4-BE49-F238E27FC236}">
                <a16:creationId xmlns:a16="http://schemas.microsoft.com/office/drawing/2014/main" id="{9795E040-5F71-E925-015E-6FDA5467A7DE}"/>
              </a:ext>
            </a:extLst>
          </p:cNvPr>
          <p:cNvSpPr/>
          <p:nvPr/>
        </p:nvSpPr>
        <p:spPr>
          <a:xfrm>
            <a:off x="7872655" y="2601439"/>
            <a:ext cx="3420000" cy="2946489"/>
          </a:xfrm>
          <a:prstGeom prst="rect">
            <a:avLst/>
          </a:prstGeom>
          <a:solidFill>
            <a:srgbClr val="EAF0FA"/>
          </a:solidFill>
          <a:ln w="6350">
            <a:noFill/>
          </a:ln>
          <a:effectLst>
            <a:outerShdw sx="0" sy="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a:ln>
                  <a:noFill/>
                </a:ln>
                <a:solidFill>
                  <a:srgbClr val="004489"/>
                </a:solidFill>
                <a:effectLst/>
                <a:uLnTx/>
                <a:uFillTx/>
                <a:latin typeface="Vinci Sans Light"/>
                <a:ea typeface="+mn-ea"/>
                <a:cs typeface="+mn-cs"/>
              </a:rPr>
              <a:t>DATA PLATFORM</a:t>
            </a:r>
          </a:p>
        </p:txBody>
      </p:sp>
      <p:sp>
        <p:nvSpPr>
          <p:cNvPr id="24" name="Rectangle 23">
            <a:extLst>
              <a:ext uri="{FF2B5EF4-FFF2-40B4-BE49-F238E27FC236}">
                <a16:creationId xmlns:a16="http://schemas.microsoft.com/office/drawing/2014/main" id="{C48446BE-479D-43F5-B078-5605B3A5E810}"/>
              </a:ext>
            </a:extLst>
          </p:cNvPr>
          <p:cNvSpPr/>
          <p:nvPr/>
        </p:nvSpPr>
        <p:spPr>
          <a:xfrm>
            <a:off x="8896528" y="2900412"/>
            <a:ext cx="1364994" cy="426235"/>
          </a:xfrm>
          <a:prstGeom prst="rect">
            <a:avLst/>
          </a:prstGeom>
          <a:solidFill>
            <a:schemeClr val="bg1"/>
          </a:solidFill>
          <a:ln w="12700">
            <a:noFill/>
          </a:ln>
          <a:effectLst>
            <a:outerShdw sx="0" sy="0" algn="ctr" rotWithShape="0">
              <a:prstClr val="black">
                <a:alpha val="40000"/>
              </a:prstClr>
            </a:outerShdw>
            <a:softEdge rad="25400"/>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bevelT w="0" h="0"/>
                <a:bevelB w="0" h="0"/>
              </a14:hiddenSp3d>
            </a:ext>
          </a:extLst>
        </p:spPr>
        <p:style>
          <a:lnRef idx="1">
            <a:schemeClr val="accent1"/>
          </a:lnRef>
          <a:fillRef idx="3">
            <a:schemeClr val="accent1"/>
          </a:fillRef>
          <a:effectRef idx="2">
            <a:schemeClr val="accent1"/>
          </a:effectRef>
          <a:fontRef idx="minor">
            <a:schemeClr val="lt1"/>
          </a:fontRef>
        </p:style>
        <p:txBody>
          <a:bodyPr vert="horz" lIns="3600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a:ln>
                  <a:noFill/>
                </a:ln>
                <a:solidFill>
                  <a:srgbClr val="30638E"/>
                </a:solidFill>
                <a:effectLst/>
                <a:uLnTx/>
                <a:uFillTx/>
                <a:latin typeface="Vinci Sans" panose="02000000000000000000" pitchFamily="50" charset="0"/>
                <a:ea typeface="+mn-ea"/>
                <a:cs typeface="+mn-cs"/>
              </a:rPr>
              <a:t>Olivier VERMONT</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1" u="none" strike="noStrike" kern="0" cap="none" spc="0" normalizeH="0" baseline="0">
                <a:ln>
                  <a:noFill/>
                </a:ln>
                <a:solidFill>
                  <a:srgbClr val="30638E"/>
                </a:solidFill>
                <a:effectLst/>
                <a:uLnTx/>
                <a:uFillTx/>
                <a:latin typeface="Vinci Sans" panose="02000000000000000000" pitchFamily="50" charset="0"/>
                <a:ea typeface="+mn-ea"/>
                <a:cs typeface="+mn-cs"/>
              </a:rPr>
              <a:t>Data Platform Lead</a:t>
            </a:r>
          </a:p>
        </p:txBody>
      </p:sp>
      <p:grpSp>
        <p:nvGrpSpPr>
          <p:cNvPr id="55" name="Groupe 54">
            <a:extLst>
              <a:ext uri="{FF2B5EF4-FFF2-40B4-BE49-F238E27FC236}">
                <a16:creationId xmlns:a16="http://schemas.microsoft.com/office/drawing/2014/main" id="{FC5BAE38-C0ED-E398-BA90-F77BF9B17D87}"/>
              </a:ext>
            </a:extLst>
          </p:cNvPr>
          <p:cNvGrpSpPr/>
          <p:nvPr/>
        </p:nvGrpSpPr>
        <p:grpSpPr>
          <a:xfrm>
            <a:off x="435690" y="5912661"/>
            <a:ext cx="11320620" cy="358292"/>
            <a:chOff x="435690" y="5912661"/>
            <a:chExt cx="11320620" cy="358292"/>
          </a:xfrm>
        </p:grpSpPr>
        <p:sp>
          <p:nvSpPr>
            <p:cNvPr id="47" name="Rectangle 46">
              <a:extLst>
                <a:ext uri="{FF2B5EF4-FFF2-40B4-BE49-F238E27FC236}">
                  <a16:creationId xmlns:a16="http://schemas.microsoft.com/office/drawing/2014/main" id="{76C517A6-0998-62C9-C20C-7A518497AF10}"/>
                </a:ext>
              </a:extLst>
            </p:cNvPr>
            <p:cNvSpPr/>
            <p:nvPr/>
          </p:nvSpPr>
          <p:spPr>
            <a:xfrm>
              <a:off x="435690" y="5912661"/>
              <a:ext cx="3744445" cy="358292"/>
            </a:xfrm>
            <a:prstGeom prst="rect">
              <a:avLst/>
            </a:prstGeom>
            <a:solidFill>
              <a:srgbClr val="EAF0FA"/>
            </a:solidFill>
            <a:ln w="6350">
              <a:noFill/>
            </a:ln>
            <a:effectLst>
              <a:outerShdw sx="0" sy="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a:ln>
                    <a:noFill/>
                  </a:ln>
                  <a:solidFill>
                    <a:srgbClr val="004489"/>
                  </a:solidFill>
                  <a:effectLst/>
                  <a:uLnTx/>
                  <a:uFillTx/>
                  <a:latin typeface="Vinci Sans Light"/>
                  <a:ea typeface="+mn-ea"/>
                  <a:cs typeface="+mn-cs"/>
                </a:rPr>
                <a:t>CHIEF INFORMATION SECURITY OFFICER</a:t>
              </a:r>
            </a:p>
          </p:txBody>
        </p:sp>
        <p:sp>
          <p:nvSpPr>
            <p:cNvPr id="38" name="Rectangle 37">
              <a:extLst>
                <a:ext uri="{FF2B5EF4-FFF2-40B4-BE49-F238E27FC236}">
                  <a16:creationId xmlns:a16="http://schemas.microsoft.com/office/drawing/2014/main" id="{CF83D696-EBF1-6086-9CFC-01DE2A2141EE}"/>
                </a:ext>
              </a:extLst>
            </p:cNvPr>
            <p:cNvSpPr/>
            <p:nvPr/>
          </p:nvSpPr>
          <p:spPr>
            <a:xfrm>
              <a:off x="8011865" y="5912661"/>
              <a:ext cx="3744445" cy="358292"/>
            </a:xfrm>
            <a:prstGeom prst="rect">
              <a:avLst/>
            </a:prstGeom>
            <a:solidFill>
              <a:srgbClr val="EAF0FA"/>
            </a:solidFill>
            <a:ln w="6350">
              <a:noFill/>
            </a:ln>
            <a:effectLst>
              <a:outerShdw sx="0" sy="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a:ln>
                    <a:noFill/>
                  </a:ln>
                  <a:solidFill>
                    <a:srgbClr val="004489"/>
                  </a:solidFill>
                  <a:effectLst/>
                  <a:uLnTx/>
                  <a:uFillTx/>
                  <a:latin typeface="Vinci Sans Light"/>
                  <a:ea typeface="+mn-ea"/>
                  <a:cs typeface="+mn-cs"/>
                </a:rPr>
                <a:t>DOIT</a:t>
              </a:r>
            </a:p>
          </p:txBody>
        </p:sp>
        <p:sp>
          <p:nvSpPr>
            <p:cNvPr id="9" name="Rectangle 8">
              <a:extLst>
                <a:ext uri="{FF2B5EF4-FFF2-40B4-BE49-F238E27FC236}">
                  <a16:creationId xmlns:a16="http://schemas.microsoft.com/office/drawing/2014/main" id="{68C83B94-A031-9822-9D2C-D9A701DB8172}"/>
                </a:ext>
              </a:extLst>
            </p:cNvPr>
            <p:cNvSpPr/>
            <p:nvPr/>
          </p:nvSpPr>
          <p:spPr>
            <a:xfrm>
              <a:off x="4223777" y="5912661"/>
              <a:ext cx="3744445" cy="358292"/>
            </a:xfrm>
            <a:prstGeom prst="rect">
              <a:avLst/>
            </a:prstGeom>
            <a:solidFill>
              <a:srgbClr val="EAF0FA"/>
            </a:solidFill>
            <a:ln w="6350">
              <a:noFill/>
            </a:ln>
            <a:effectLst>
              <a:outerShdw sx="0" sy="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a:ln>
                    <a:noFill/>
                  </a:ln>
                  <a:solidFill>
                    <a:srgbClr val="004489"/>
                  </a:solidFill>
                  <a:effectLst/>
                  <a:uLnTx/>
                  <a:uFillTx/>
                  <a:latin typeface="Vinci Sans Light"/>
                  <a:ea typeface="+mn-ea"/>
                  <a:cs typeface="+mn-cs"/>
                </a:rPr>
                <a:t>DATA INTEGRATION</a:t>
              </a:r>
            </a:p>
          </p:txBody>
        </p:sp>
      </p:grpSp>
      <p:grpSp>
        <p:nvGrpSpPr>
          <p:cNvPr id="43" name="Groupe 42">
            <a:extLst>
              <a:ext uri="{FF2B5EF4-FFF2-40B4-BE49-F238E27FC236}">
                <a16:creationId xmlns:a16="http://schemas.microsoft.com/office/drawing/2014/main" id="{EB9216D8-CD18-029A-B3A8-C34B37A273C2}"/>
              </a:ext>
            </a:extLst>
          </p:cNvPr>
          <p:cNvGrpSpPr/>
          <p:nvPr/>
        </p:nvGrpSpPr>
        <p:grpSpPr>
          <a:xfrm>
            <a:off x="882313" y="683718"/>
            <a:ext cx="10388569" cy="996434"/>
            <a:chOff x="859323" y="61340"/>
            <a:chExt cx="10395828" cy="800296"/>
          </a:xfrm>
        </p:grpSpPr>
        <p:sp>
          <p:nvSpPr>
            <p:cNvPr id="3" name="Rectangle 2">
              <a:extLst>
                <a:ext uri="{FF2B5EF4-FFF2-40B4-BE49-F238E27FC236}">
                  <a16:creationId xmlns:a16="http://schemas.microsoft.com/office/drawing/2014/main" id="{93184E39-B641-B13C-0665-0810D9CE90AC}"/>
                </a:ext>
              </a:extLst>
            </p:cNvPr>
            <p:cNvSpPr/>
            <p:nvPr/>
          </p:nvSpPr>
          <p:spPr>
            <a:xfrm>
              <a:off x="859323" y="61340"/>
              <a:ext cx="10395828" cy="800296"/>
            </a:xfrm>
            <a:prstGeom prst="rect">
              <a:avLst/>
            </a:prstGeom>
            <a:solidFill>
              <a:srgbClr val="EAF0FA"/>
            </a:solidFill>
            <a:ln w="6350">
              <a:noFill/>
            </a:ln>
            <a:effectLst>
              <a:outerShdw sx="0" sy="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a:ln>
                    <a:noFill/>
                  </a:ln>
                  <a:solidFill>
                    <a:srgbClr val="004489"/>
                  </a:solidFill>
                  <a:effectLst/>
                  <a:uLnTx/>
                  <a:uFillTx/>
                  <a:latin typeface="Vinci Sans Light"/>
                  <a:ea typeface="+mn-ea"/>
                  <a:cs typeface="+mn-cs"/>
                </a:rPr>
                <a:t>SPONSORS / STEERING COMMITTEE</a:t>
              </a:r>
            </a:p>
          </p:txBody>
        </p:sp>
        <p:grpSp>
          <p:nvGrpSpPr>
            <p:cNvPr id="35" name="Groupe 34">
              <a:extLst>
                <a:ext uri="{FF2B5EF4-FFF2-40B4-BE49-F238E27FC236}">
                  <a16:creationId xmlns:a16="http://schemas.microsoft.com/office/drawing/2014/main" id="{AB8AB463-7D36-92EE-8783-72A3F58DB792}"/>
                </a:ext>
              </a:extLst>
            </p:cNvPr>
            <p:cNvGrpSpPr/>
            <p:nvPr/>
          </p:nvGrpSpPr>
          <p:grpSpPr>
            <a:xfrm>
              <a:off x="4883620" y="303066"/>
              <a:ext cx="2624826" cy="345594"/>
              <a:chOff x="4883620" y="303066"/>
              <a:chExt cx="2624826" cy="345594"/>
            </a:xfrm>
          </p:grpSpPr>
          <p:sp>
            <p:nvSpPr>
              <p:cNvPr id="17" name="Rectangle 16">
                <a:extLst>
                  <a:ext uri="{FF2B5EF4-FFF2-40B4-BE49-F238E27FC236}">
                    <a16:creationId xmlns:a16="http://schemas.microsoft.com/office/drawing/2014/main" id="{F359AC7A-2050-7483-CBCD-A5F7B16F6686}"/>
                  </a:ext>
                </a:extLst>
              </p:cNvPr>
              <p:cNvSpPr/>
              <p:nvPr/>
            </p:nvSpPr>
            <p:spPr>
              <a:xfrm>
                <a:off x="6289246" y="313932"/>
                <a:ext cx="1219200" cy="334728"/>
              </a:xfrm>
              <a:prstGeom prst="rect">
                <a:avLst/>
              </a:prstGeom>
              <a:solidFill>
                <a:schemeClr val="bg1"/>
              </a:solidFill>
              <a:ln w="12700">
                <a:noFill/>
              </a:ln>
              <a:effectLst>
                <a:outerShdw sx="0" sy="0" algn="ctr" rotWithShape="0">
                  <a:prstClr val="black">
                    <a:alpha val="40000"/>
                  </a:prstClr>
                </a:outerShdw>
                <a:softEdge rad="25400"/>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bevelT w="0" h="0"/>
                    <a:bevelB w="0" h="0"/>
                  </a14:hiddenSp3d>
                </a:ext>
              </a:extLst>
            </p:spPr>
            <p:style>
              <a:lnRef idx="1">
                <a:schemeClr val="accent1"/>
              </a:lnRef>
              <a:fillRef idx="3">
                <a:schemeClr val="accent1"/>
              </a:fillRef>
              <a:effectRef idx="2">
                <a:schemeClr val="accent1"/>
              </a:effectRef>
              <a:fontRef idx="minor">
                <a:schemeClr val="lt1"/>
              </a:fontRef>
            </p:style>
            <p:txBody>
              <a:bodyPr vert="horz" lIns="3600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a:ln>
                      <a:noFill/>
                    </a:ln>
                    <a:solidFill>
                      <a:srgbClr val="30638E"/>
                    </a:solidFill>
                    <a:effectLst/>
                    <a:uLnTx/>
                    <a:uFillTx/>
                    <a:latin typeface="Vinci Sans" panose="02000000000000000000" pitchFamily="50" charset="0"/>
                    <a:ea typeface="+mn-ea"/>
                    <a:cs typeface="+mn-cs"/>
                  </a:rPr>
                  <a:t>Olivier PELLET</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1" u="none" strike="noStrike" kern="0" cap="none" spc="0" normalizeH="0" baseline="0">
                    <a:ln>
                      <a:noFill/>
                    </a:ln>
                    <a:solidFill>
                      <a:srgbClr val="30638E"/>
                    </a:solidFill>
                    <a:effectLst/>
                    <a:uLnTx/>
                    <a:uFillTx/>
                    <a:latin typeface="Vinci Sans" panose="02000000000000000000" pitchFamily="50" charset="0"/>
                    <a:ea typeface="+mn-ea"/>
                    <a:cs typeface="+mn-cs"/>
                  </a:rPr>
                  <a:t>VCSI Director</a:t>
                </a:r>
              </a:p>
            </p:txBody>
          </p:sp>
          <p:sp>
            <p:nvSpPr>
              <p:cNvPr id="20" name="Rectangle 19">
                <a:extLst>
                  <a:ext uri="{FF2B5EF4-FFF2-40B4-BE49-F238E27FC236}">
                    <a16:creationId xmlns:a16="http://schemas.microsoft.com/office/drawing/2014/main" id="{A2D64DA7-EF30-2A6A-CED3-AB163FBA5554}"/>
                  </a:ext>
                </a:extLst>
              </p:cNvPr>
              <p:cNvSpPr/>
              <p:nvPr/>
            </p:nvSpPr>
            <p:spPr>
              <a:xfrm>
                <a:off x="4883620" y="303066"/>
                <a:ext cx="1299340" cy="334728"/>
              </a:xfrm>
              <a:prstGeom prst="rect">
                <a:avLst/>
              </a:prstGeom>
              <a:solidFill>
                <a:schemeClr val="bg1"/>
              </a:solidFill>
              <a:ln w="12700">
                <a:noFill/>
              </a:ln>
              <a:effectLst>
                <a:outerShdw sx="0" sy="0" algn="ctr" rotWithShape="0">
                  <a:prstClr val="black">
                    <a:alpha val="40000"/>
                  </a:prstClr>
                </a:outerShdw>
                <a:softEdge rad="25400"/>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bevelT w="0" h="0"/>
                    <a:bevelB w="0" h="0"/>
                  </a14:hiddenSp3d>
                </a:ext>
              </a:extLst>
            </p:spPr>
            <p:style>
              <a:lnRef idx="1">
                <a:schemeClr val="accent1"/>
              </a:lnRef>
              <a:fillRef idx="3">
                <a:schemeClr val="accent1"/>
              </a:fillRef>
              <a:effectRef idx="2">
                <a:schemeClr val="accent1"/>
              </a:effectRef>
              <a:fontRef idx="minor">
                <a:schemeClr val="lt1"/>
              </a:fontRef>
            </p:style>
            <p:txBody>
              <a:bodyPr vert="horz" lIns="3600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a:ln>
                      <a:noFill/>
                    </a:ln>
                    <a:solidFill>
                      <a:srgbClr val="D1495B"/>
                    </a:solidFill>
                    <a:effectLst/>
                    <a:uLnTx/>
                    <a:uFillTx/>
                    <a:latin typeface="Vinci Sans" panose="02000000000000000000" pitchFamily="50" charset="0"/>
                    <a:ea typeface="+mn-ea"/>
                    <a:cs typeface="+mn-cs"/>
                  </a:rPr>
                  <a:t>Gilles GODARD</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1" u="none" strike="noStrike" kern="0" cap="none" spc="0" normalizeH="0" baseline="0">
                    <a:ln>
                      <a:noFill/>
                    </a:ln>
                    <a:solidFill>
                      <a:srgbClr val="D1495B"/>
                    </a:solidFill>
                    <a:effectLst/>
                    <a:uLnTx/>
                    <a:uFillTx/>
                    <a:latin typeface="Vinci Sans" panose="02000000000000000000" pitchFamily="50" charset="0"/>
                    <a:ea typeface="+mn-ea"/>
                    <a:cs typeface="+mn-cs"/>
                  </a:rPr>
                  <a:t>Digital Transformation Director</a:t>
                </a:r>
              </a:p>
            </p:txBody>
          </p:sp>
        </p:grpSp>
      </p:grpSp>
      <p:sp>
        <p:nvSpPr>
          <p:cNvPr id="33" name="Rectangle 32">
            <a:extLst>
              <a:ext uri="{FF2B5EF4-FFF2-40B4-BE49-F238E27FC236}">
                <a16:creationId xmlns:a16="http://schemas.microsoft.com/office/drawing/2014/main" id="{F33D2A34-3647-05BC-4F90-7157CA566C2F}"/>
              </a:ext>
            </a:extLst>
          </p:cNvPr>
          <p:cNvSpPr/>
          <p:nvPr/>
        </p:nvSpPr>
        <p:spPr>
          <a:xfrm>
            <a:off x="3693469" y="1210417"/>
            <a:ext cx="1219200" cy="426235"/>
          </a:xfrm>
          <a:prstGeom prst="rect">
            <a:avLst/>
          </a:prstGeom>
          <a:solidFill>
            <a:schemeClr val="bg1"/>
          </a:solidFill>
          <a:ln w="12700">
            <a:noFill/>
          </a:ln>
          <a:effectLst>
            <a:outerShdw sx="0" sy="0" algn="ctr" rotWithShape="0">
              <a:prstClr val="black">
                <a:alpha val="40000"/>
              </a:prstClr>
            </a:outerShdw>
            <a:softEdge rad="25400"/>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bevelT w="0" h="0"/>
                <a:bevelB w="0" h="0"/>
              </a14:hiddenSp3d>
            </a:ext>
          </a:extLst>
        </p:spPr>
        <p:style>
          <a:lnRef idx="1">
            <a:schemeClr val="accent1"/>
          </a:lnRef>
          <a:fillRef idx="3">
            <a:schemeClr val="accent1"/>
          </a:fillRef>
          <a:effectRef idx="2">
            <a:schemeClr val="accent1"/>
          </a:effectRef>
          <a:fontRef idx="minor">
            <a:schemeClr val="lt1"/>
          </a:fontRef>
        </p:style>
        <p:txBody>
          <a:bodyPr vert="horz" lIns="3600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a:ln>
                  <a:noFill/>
                </a:ln>
                <a:solidFill>
                  <a:srgbClr val="D1495B"/>
                </a:solidFill>
                <a:effectLst/>
                <a:uLnTx/>
                <a:uFillTx/>
                <a:latin typeface="Vinci Sans" panose="02000000000000000000" pitchFamily="50" charset="0"/>
                <a:ea typeface="+mn-ea"/>
                <a:cs typeface="+mn-cs"/>
              </a:rPr>
              <a:t>Christophe PERSOZ</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1" u="none" strike="noStrike" kern="0" cap="none" spc="0" normalizeH="0" baseline="0">
                <a:ln>
                  <a:noFill/>
                </a:ln>
                <a:solidFill>
                  <a:srgbClr val="D1495B"/>
                </a:solidFill>
                <a:effectLst/>
                <a:uLnTx/>
                <a:uFillTx/>
                <a:latin typeface="Vinci Sans" panose="02000000000000000000" pitchFamily="50" charset="0"/>
                <a:ea typeface="+mn-ea"/>
                <a:cs typeface="+mn-cs"/>
              </a:rPr>
              <a:t>Connect Performance Director</a:t>
            </a:r>
          </a:p>
        </p:txBody>
      </p:sp>
      <p:sp>
        <p:nvSpPr>
          <p:cNvPr id="41" name="Rectangle 40">
            <a:extLst>
              <a:ext uri="{FF2B5EF4-FFF2-40B4-BE49-F238E27FC236}">
                <a16:creationId xmlns:a16="http://schemas.microsoft.com/office/drawing/2014/main" id="{E443768F-E7A5-F47D-891C-101DECE02C2D}"/>
              </a:ext>
            </a:extLst>
          </p:cNvPr>
          <p:cNvSpPr/>
          <p:nvPr/>
        </p:nvSpPr>
        <p:spPr>
          <a:xfrm>
            <a:off x="7564691" y="1197493"/>
            <a:ext cx="1219200" cy="426235"/>
          </a:xfrm>
          <a:prstGeom prst="rect">
            <a:avLst/>
          </a:prstGeom>
          <a:solidFill>
            <a:schemeClr val="bg1"/>
          </a:solidFill>
          <a:ln w="12700">
            <a:noFill/>
          </a:ln>
          <a:effectLst>
            <a:outerShdw sx="0" sy="0" algn="ctr" rotWithShape="0">
              <a:prstClr val="black">
                <a:alpha val="40000"/>
              </a:prstClr>
            </a:outerShdw>
            <a:softEdge rad="25400"/>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bevelT w="0" h="0"/>
                <a:bevelB w="0" h="0"/>
              </a14:hiddenSp3d>
            </a:ext>
          </a:extLst>
        </p:spPr>
        <p:style>
          <a:lnRef idx="1">
            <a:schemeClr val="accent1"/>
          </a:lnRef>
          <a:fillRef idx="3">
            <a:schemeClr val="accent1"/>
          </a:fillRef>
          <a:effectRef idx="2">
            <a:schemeClr val="accent1"/>
          </a:effectRef>
          <a:fontRef idx="minor">
            <a:schemeClr val="lt1"/>
          </a:fontRef>
        </p:style>
        <p:txBody>
          <a:bodyPr vert="horz" lIns="3600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a:ln>
                  <a:noFill/>
                </a:ln>
                <a:solidFill>
                  <a:srgbClr val="30638E"/>
                </a:solidFill>
                <a:effectLst/>
                <a:uLnTx/>
                <a:uFillTx/>
                <a:latin typeface="Vinci Sans" panose="02000000000000000000" pitchFamily="50" charset="0"/>
                <a:ea typeface="+mn-ea"/>
                <a:cs typeface="+mn-cs"/>
              </a:rPr>
              <a:t>Didier DESMONS</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1" u="none" strike="noStrike" kern="0" cap="none" spc="0" normalizeH="0" baseline="0">
                <a:ln>
                  <a:noFill/>
                </a:ln>
                <a:solidFill>
                  <a:srgbClr val="30638E"/>
                </a:solidFill>
                <a:effectLst/>
                <a:uLnTx/>
                <a:uFillTx/>
                <a:latin typeface="Vinci Sans" panose="02000000000000000000" pitchFamily="50" charset="0"/>
                <a:ea typeface="+mn-ea"/>
                <a:cs typeface="+mn-cs"/>
              </a:rPr>
              <a:t>VCSI Department Director</a:t>
            </a:r>
          </a:p>
        </p:txBody>
      </p:sp>
      <p:sp>
        <p:nvSpPr>
          <p:cNvPr id="59" name="Rectangle 58">
            <a:extLst>
              <a:ext uri="{FF2B5EF4-FFF2-40B4-BE49-F238E27FC236}">
                <a16:creationId xmlns:a16="http://schemas.microsoft.com/office/drawing/2014/main" id="{A7D23CDB-AB9C-A9AE-0832-F1F10CE298E6}"/>
              </a:ext>
            </a:extLst>
          </p:cNvPr>
          <p:cNvSpPr/>
          <p:nvPr/>
        </p:nvSpPr>
        <p:spPr>
          <a:xfrm>
            <a:off x="4677169" y="2026898"/>
            <a:ext cx="1364994" cy="397984"/>
          </a:xfrm>
          <a:prstGeom prst="rect">
            <a:avLst/>
          </a:prstGeom>
          <a:solidFill>
            <a:schemeClr val="bg1"/>
          </a:solidFill>
          <a:ln w="12700">
            <a:noFill/>
          </a:ln>
          <a:effectLst>
            <a:outerShdw sx="0" sy="0" algn="ctr" rotWithShape="0">
              <a:prstClr val="black">
                <a:alpha val="40000"/>
              </a:prstClr>
            </a:outerShdw>
            <a:softEdge rad="25400"/>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bevelT w="0" h="0"/>
                <a:bevelB w="0" h="0"/>
              </a14:hiddenSp3d>
            </a:ext>
          </a:extLst>
        </p:spPr>
        <p:style>
          <a:lnRef idx="1">
            <a:schemeClr val="accent1"/>
          </a:lnRef>
          <a:fillRef idx="3">
            <a:schemeClr val="accent1"/>
          </a:fillRef>
          <a:effectRef idx="2">
            <a:schemeClr val="accent1"/>
          </a:effectRef>
          <a:fontRef idx="minor">
            <a:schemeClr val="lt1"/>
          </a:fontRef>
        </p:style>
        <p:txBody>
          <a:bodyPr vert="horz" lIns="3600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a:ln>
                  <a:noFill/>
                </a:ln>
                <a:solidFill>
                  <a:srgbClr val="30638E"/>
                </a:solidFill>
                <a:effectLst/>
                <a:uLnTx/>
                <a:uFillTx/>
                <a:latin typeface="Vinci Sans" panose="02000000000000000000" pitchFamily="50" charset="0"/>
                <a:ea typeface="+mn-ea"/>
                <a:cs typeface="+mn-cs"/>
              </a:rPr>
              <a:t>Camille VANEENOGE</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1" u="none" strike="noStrike" kern="0" cap="none" spc="0" normalizeH="0" baseline="0">
                <a:ln>
                  <a:noFill/>
                </a:ln>
                <a:solidFill>
                  <a:srgbClr val="30638E"/>
                </a:solidFill>
                <a:effectLst/>
                <a:uLnTx/>
                <a:uFillTx/>
                <a:latin typeface="Vinci Sans" panose="02000000000000000000" pitchFamily="50" charset="0"/>
                <a:ea typeface="+mn-ea"/>
                <a:cs typeface="+mn-cs"/>
              </a:rPr>
              <a:t>Project Manager</a:t>
            </a:r>
          </a:p>
        </p:txBody>
      </p:sp>
      <p:sp>
        <p:nvSpPr>
          <p:cNvPr id="60" name="Rectangle 59">
            <a:extLst>
              <a:ext uri="{FF2B5EF4-FFF2-40B4-BE49-F238E27FC236}">
                <a16:creationId xmlns:a16="http://schemas.microsoft.com/office/drawing/2014/main" id="{683F6AC2-7E0E-15AC-1560-8765EF1A131C}"/>
              </a:ext>
            </a:extLst>
          </p:cNvPr>
          <p:cNvSpPr/>
          <p:nvPr/>
        </p:nvSpPr>
        <p:spPr>
          <a:xfrm>
            <a:off x="6221503" y="2032553"/>
            <a:ext cx="1364994" cy="392330"/>
          </a:xfrm>
          <a:prstGeom prst="rect">
            <a:avLst/>
          </a:prstGeom>
          <a:solidFill>
            <a:schemeClr val="bg1"/>
          </a:solidFill>
          <a:ln w="12700">
            <a:noFill/>
          </a:ln>
          <a:effectLst>
            <a:outerShdw sx="0" sy="0" algn="ctr" rotWithShape="0">
              <a:prstClr val="black">
                <a:alpha val="40000"/>
              </a:prstClr>
            </a:outerShdw>
            <a:softEdge rad="25400"/>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bevelT w="0" h="0"/>
                <a:bevelB w="0" h="0"/>
              </a14:hiddenSp3d>
            </a:ext>
          </a:extLst>
        </p:spPr>
        <p:style>
          <a:lnRef idx="1">
            <a:schemeClr val="accent1"/>
          </a:lnRef>
          <a:fillRef idx="3">
            <a:schemeClr val="accent1"/>
          </a:fillRef>
          <a:effectRef idx="2">
            <a:schemeClr val="accent1"/>
          </a:effectRef>
          <a:fontRef idx="minor">
            <a:schemeClr val="lt1"/>
          </a:fontRef>
        </p:style>
        <p:txBody>
          <a:bodyPr vert="horz" lIns="3600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a:ln>
                  <a:noFill/>
                </a:ln>
                <a:solidFill>
                  <a:srgbClr val="30638E"/>
                </a:solidFill>
                <a:effectLst/>
                <a:uLnTx/>
                <a:uFillTx/>
                <a:latin typeface="Vinci Sans" panose="02000000000000000000" pitchFamily="50" charset="0"/>
                <a:ea typeface="+mn-ea"/>
                <a:cs typeface="+mn-cs"/>
              </a:rPr>
              <a:t>Olivier VERMONT</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700" b="0" i="1" u="none" strike="noStrike" kern="0" cap="none" spc="0" normalizeH="0" baseline="0">
                <a:ln>
                  <a:noFill/>
                </a:ln>
                <a:solidFill>
                  <a:srgbClr val="30638E"/>
                </a:solidFill>
                <a:effectLst/>
                <a:uLnTx/>
                <a:uFillTx/>
                <a:latin typeface="Vinci Sans" panose="02000000000000000000" pitchFamily="50" charset="0"/>
                <a:ea typeface="+mn-ea"/>
                <a:cs typeface="+mn-cs"/>
              </a:rPr>
              <a:t>Data Platform Lead</a:t>
            </a:r>
          </a:p>
        </p:txBody>
      </p:sp>
      <p:sp>
        <p:nvSpPr>
          <p:cNvPr id="2" name="Rectangle 1">
            <a:extLst>
              <a:ext uri="{FF2B5EF4-FFF2-40B4-BE49-F238E27FC236}">
                <a16:creationId xmlns:a16="http://schemas.microsoft.com/office/drawing/2014/main" id="{1A425188-6714-B8A2-7B46-BD64B5B0F04D}"/>
              </a:ext>
            </a:extLst>
          </p:cNvPr>
          <p:cNvSpPr/>
          <p:nvPr/>
        </p:nvSpPr>
        <p:spPr>
          <a:xfrm>
            <a:off x="1915328" y="3330407"/>
            <a:ext cx="1382996" cy="426235"/>
          </a:xfrm>
          <a:prstGeom prst="rect">
            <a:avLst/>
          </a:prstGeom>
          <a:solidFill>
            <a:schemeClr val="bg1"/>
          </a:solidFill>
          <a:ln w="12700">
            <a:noFill/>
          </a:ln>
          <a:effectLst>
            <a:outerShdw sx="0" sy="0" algn="ctr" rotWithShape="0">
              <a:prstClr val="black">
                <a:alpha val="40000"/>
              </a:prstClr>
            </a:outerShdw>
            <a:softEdge rad="25400"/>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bevelT w="0" h="0"/>
                <a:bevelB w="0" h="0"/>
              </a14:hiddenSp3d>
            </a:ext>
          </a:extLst>
        </p:spPr>
        <p:style>
          <a:lnRef idx="1">
            <a:schemeClr val="accent1"/>
          </a:lnRef>
          <a:fillRef idx="3">
            <a:schemeClr val="accent1"/>
          </a:fillRef>
          <a:effectRef idx="2">
            <a:schemeClr val="accent1"/>
          </a:effectRef>
          <a:fontRef idx="minor">
            <a:schemeClr val="lt1"/>
          </a:fontRef>
        </p:style>
        <p:txBody>
          <a:bodyPr vert="horz" lIns="3600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a:ln>
                  <a:noFill/>
                </a:ln>
                <a:solidFill>
                  <a:srgbClr val="30638E"/>
                </a:solidFill>
                <a:effectLst/>
                <a:uLnTx/>
                <a:uFillTx/>
                <a:latin typeface="Vinci Sans" panose="02000000000000000000" pitchFamily="50" charset="0"/>
                <a:ea typeface="+mn-ea"/>
                <a:cs typeface="+mn-cs"/>
              </a:rPr>
              <a:t>+ Division</a:t>
            </a:r>
            <a:r>
              <a:rPr lang="en-US" sz="900" b="1" kern="0">
                <a:solidFill>
                  <a:srgbClr val="30638E"/>
                </a:solidFill>
                <a:latin typeface="Vinci Sans" panose="02000000000000000000" pitchFamily="50" charset="0"/>
              </a:rPr>
              <a:t>s </a:t>
            </a:r>
            <a:r>
              <a:rPr kumimoji="0" lang="en-US" sz="900" b="1" i="0" u="none" strike="noStrike" kern="0" cap="none" spc="0" normalizeH="0" baseline="0">
                <a:ln>
                  <a:noFill/>
                </a:ln>
                <a:solidFill>
                  <a:srgbClr val="30638E"/>
                </a:solidFill>
                <a:effectLst/>
                <a:uLnTx/>
                <a:uFillTx/>
                <a:latin typeface="Vinci Sans" panose="02000000000000000000" pitchFamily="50" charset="0"/>
                <a:ea typeface="+mn-ea"/>
                <a:cs typeface="+mn-cs"/>
              </a:rPr>
              <a:t>/ Delegations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a:ln>
                  <a:noFill/>
                </a:ln>
                <a:solidFill>
                  <a:srgbClr val="30638E"/>
                </a:solidFill>
                <a:effectLst/>
                <a:uLnTx/>
                <a:uFillTx/>
                <a:latin typeface="Vinci Sans" panose="02000000000000000000" pitchFamily="50" charset="0"/>
                <a:ea typeface="+mn-ea"/>
                <a:cs typeface="+mn-cs"/>
              </a:rPr>
              <a:t>Data factories</a:t>
            </a:r>
            <a:endParaRPr kumimoji="0" lang="en-US" sz="700" b="0" i="1" u="none" strike="noStrike" kern="0" cap="none" spc="0" normalizeH="0" baseline="0">
              <a:ln>
                <a:noFill/>
              </a:ln>
              <a:solidFill>
                <a:srgbClr val="30638E"/>
              </a:solidFill>
              <a:effectLst/>
              <a:uLnTx/>
              <a:uFillTx/>
              <a:latin typeface="Vinci Sans" panose="02000000000000000000" pitchFamily="50" charset="0"/>
              <a:ea typeface="+mn-ea"/>
              <a:cs typeface="+mn-cs"/>
            </a:endParaRPr>
          </a:p>
        </p:txBody>
      </p:sp>
      <p:sp>
        <p:nvSpPr>
          <p:cNvPr id="19" name="Titre 60">
            <a:extLst>
              <a:ext uri="{FF2B5EF4-FFF2-40B4-BE49-F238E27FC236}">
                <a16:creationId xmlns:a16="http://schemas.microsoft.com/office/drawing/2014/main" id="{83FF211C-24B9-3760-E0B5-1C0B47D6BD60}"/>
              </a:ext>
            </a:extLst>
          </p:cNvPr>
          <p:cNvSpPr txBox="1">
            <a:spLocks/>
          </p:cNvSpPr>
          <p:nvPr/>
        </p:nvSpPr>
        <p:spPr>
          <a:xfrm>
            <a:off x="576000" y="96000"/>
            <a:ext cx="8979691" cy="684292"/>
          </a:xfrm>
          <a:prstGeom prst="rect">
            <a:avLst/>
          </a:prstGeom>
        </p:spPr>
        <p:txBody>
          <a:bodyPr lIns="0" tIns="0" rIns="0" bIns="72000" anchor="b" anchorCtr="0"/>
          <a:lstStyle>
            <a:lvl1pPr algn="l" defTabSz="609585" rtl="0" eaLnBrk="1" fontAlgn="auto" hangingPunct="1">
              <a:spcBef>
                <a:spcPts val="0"/>
              </a:spcBef>
              <a:spcAft>
                <a:spcPts val="0"/>
              </a:spcAft>
              <a:defRPr lang="fr-FR" sz="3200" kern="1200" cap="none" baseline="0">
                <a:solidFill>
                  <a:schemeClr val="accent1"/>
                </a:solidFill>
                <a:latin typeface="+mn-lt"/>
                <a:ea typeface="+mn-ea"/>
                <a:cs typeface="Arial" pitchFamily="34" charset="0"/>
              </a:defRPr>
            </a:lvl1pPr>
            <a:lvl2pPr algn="l" defTabSz="609585" rtl="0" eaLnBrk="1" fontAlgn="base" hangingPunct="1">
              <a:spcBef>
                <a:spcPct val="0"/>
              </a:spcBef>
              <a:spcAft>
                <a:spcPct val="0"/>
              </a:spcAft>
              <a:defRPr sz="1867">
                <a:solidFill>
                  <a:schemeClr val="bg1"/>
                </a:solidFill>
                <a:latin typeface="Arial" charset="0"/>
                <a:cs typeface="Arial" charset="0"/>
              </a:defRPr>
            </a:lvl2pPr>
            <a:lvl3pPr algn="l" defTabSz="609585" rtl="0" eaLnBrk="1" fontAlgn="base" hangingPunct="1">
              <a:spcBef>
                <a:spcPct val="0"/>
              </a:spcBef>
              <a:spcAft>
                <a:spcPct val="0"/>
              </a:spcAft>
              <a:defRPr sz="1867">
                <a:solidFill>
                  <a:schemeClr val="bg1"/>
                </a:solidFill>
                <a:latin typeface="Arial" charset="0"/>
                <a:cs typeface="Arial" charset="0"/>
              </a:defRPr>
            </a:lvl3pPr>
            <a:lvl4pPr algn="l" defTabSz="609585" rtl="0" eaLnBrk="1" fontAlgn="base" hangingPunct="1">
              <a:spcBef>
                <a:spcPct val="0"/>
              </a:spcBef>
              <a:spcAft>
                <a:spcPct val="0"/>
              </a:spcAft>
              <a:defRPr sz="1867">
                <a:solidFill>
                  <a:schemeClr val="bg1"/>
                </a:solidFill>
                <a:latin typeface="Arial" charset="0"/>
                <a:cs typeface="Arial" charset="0"/>
              </a:defRPr>
            </a:lvl4pPr>
            <a:lvl5pPr algn="l" defTabSz="609585" rtl="0" eaLnBrk="1" fontAlgn="base" hangingPunct="1">
              <a:spcBef>
                <a:spcPct val="0"/>
              </a:spcBef>
              <a:spcAft>
                <a:spcPct val="0"/>
              </a:spcAft>
              <a:defRPr sz="1867">
                <a:solidFill>
                  <a:schemeClr val="bg1"/>
                </a:solidFill>
                <a:latin typeface="Arial" charset="0"/>
                <a:cs typeface="Arial" charset="0"/>
              </a:defRPr>
            </a:lvl5pPr>
            <a:lvl6pPr marL="609585" algn="l" defTabSz="609585" rtl="0" eaLnBrk="1" fontAlgn="base" hangingPunct="1">
              <a:spcBef>
                <a:spcPct val="0"/>
              </a:spcBef>
              <a:spcAft>
                <a:spcPct val="0"/>
              </a:spcAft>
              <a:defRPr sz="1867">
                <a:solidFill>
                  <a:schemeClr val="bg1"/>
                </a:solidFill>
                <a:latin typeface="Arial" charset="0"/>
                <a:cs typeface="Arial" charset="0"/>
              </a:defRPr>
            </a:lvl6pPr>
            <a:lvl7pPr marL="1219170" algn="l" defTabSz="609585" rtl="0" eaLnBrk="1" fontAlgn="base" hangingPunct="1">
              <a:spcBef>
                <a:spcPct val="0"/>
              </a:spcBef>
              <a:spcAft>
                <a:spcPct val="0"/>
              </a:spcAft>
              <a:defRPr sz="1867">
                <a:solidFill>
                  <a:schemeClr val="bg1"/>
                </a:solidFill>
                <a:latin typeface="Arial" charset="0"/>
                <a:cs typeface="Arial" charset="0"/>
              </a:defRPr>
            </a:lvl7pPr>
            <a:lvl8pPr marL="1828754" algn="l" defTabSz="609585" rtl="0" eaLnBrk="1" fontAlgn="base" hangingPunct="1">
              <a:spcBef>
                <a:spcPct val="0"/>
              </a:spcBef>
              <a:spcAft>
                <a:spcPct val="0"/>
              </a:spcAft>
              <a:defRPr sz="1867">
                <a:solidFill>
                  <a:schemeClr val="bg1"/>
                </a:solidFill>
                <a:latin typeface="Arial" charset="0"/>
                <a:cs typeface="Arial" charset="0"/>
              </a:defRPr>
            </a:lvl8pPr>
            <a:lvl9pPr marL="2438339" algn="l" defTabSz="609585" rtl="0" eaLnBrk="1" fontAlgn="base" hangingPunct="1">
              <a:spcBef>
                <a:spcPct val="0"/>
              </a:spcBef>
              <a:spcAft>
                <a:spcPct val="0"/>
              </a:spcAft>
              <a:defRPr sz="1867">
                <a:solidFill>
                  <a:schemeClr val="bg1"/>
                </a:solidFill>
                <a:latin typeface="Arial" charset="0"/>
                <a:cs typeface="Arial" charset="0"/>
              </a:defRPr>
            </a:lvl9pPr>
          </a:lstStyle>
          <a:p>
            <a:endParaRPr lang="en-US" b="1" kern="0">
              <a:latin typeface="Vinci Sans Light" panose="02000000000000000000"/>
            </a:endParaRPr>
          </a:p>
          <a:p>
            <a:r>
              <a:rPr lang="en-US" b="1" kern="0">
                <a:latin typeface="Vinci Sans Light" panose="02000000000000000000"/>
              </a:rPr>
              <a:t>Data Program stakeholders</a:t>
            </a:r>
            <a:endParaRPr lang="en-US"/>
          </a:p>
        </p:txBody>
      </p:sp>
      <p:sp>
        <p:nvSpPr>
          <p:cNvPr id="14" name="Rectangle : coins arrondis 13">
            <a:extLst>
              <a:ext uri="{FF2B5EF4-FFF2-40B4-BE49-F238E27FC236}">
                <a16:creationId xmlns:a16="http://schemas.microsoft.com/office/drawing/2014/main" id="{9CB8713B-C583-FC50-22BB-142B363068F3}"/>
              </a:ext>
            </a:extLst>
          </p:cNvPr>
          <p:cNvSpPr/>
          <p:nvPr/>
        </p:nvSpPr>
        <p:spPr>
          <a:xfrm>
            <a:off x="4342559" y="2565024"/>
            <a:ext cx="6950096" cy="2979285"/>
          </a:xfrm>
          <a:prstGeom prst="roundRect">
            <a:avLst/>
          </a:prstGeom>
          <a:noFill/>
          <a:ln w="38100">
            <a:solidFill>
              <a:schemeClr val="accent1"/>
            </a:solid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Vinci Sans Light"/>
              <a:ea typeface="+mn-ea"/>
              <a:cs typeface="+mn-cs"/>
            </a:endParaRPr>
          </a:p>
        </p:txBody>
      </p:sp>
      <p:sp>
        <p:nvSpPr>
          <p:cNvPr id="18" name="ZoneTexte 17">
            <a:extLst>
              <a:ext uri="{FF2B5EF4-FFF2-40B4-BE49-F238E27FC236}">
                <a16:creationId xmlns:a16="http://schemas.microsoft.com/office/drawing/2014/main" id="{C008E4EE-4521-7E17-37F4-4A17E2F45257}"/>
              </a:ext>
            </a:extLst>
          </p:cNvPr>
          <p:cNvSpPr txBox="1"/>
          <p:nvPr/>
        </p:nvSpPr>
        <p:spPr>
          <a:xfrm>
            <a:off x="11285395" y="3144253"/>
            <a:ext cx="997760"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4489"/>
                </a:solidFill>
                <a:effectLst/>
                <a:uLnTx/>
                <a:uFillTx/>
                <a:latin typeface="Vinci Sans Light"/>
                <a:ea typeface="+mn-ea"/>
                <a:cs typeface="+mn-cs"/>
              </a:rPr>
              <a:t>Budget Data program</a:t>
            </a:r>
          </a:p>
        </p:txBody>
      </p:sp>
      <p:sp>
        <p:nvSpPr>
          <p:cNvPr id="11" name="Rectangle 10">
            <a:extLst>
              <a:ext uri="{FF2B5EF4-FFF2-40B4-BE49-F238E27FC236}">
                <a16:creationId xmlns:a16="http://schemas.microsoft.com/office/drawing/2014/main" id="{FAF00FEE-BD18-43B6-FB7C-6032703B1235}"/>
              </a:ext>
            </a:extLst>
          </p:cNvPr>
          <p:cNvSpPr/>
          <p:nvPr/>
        </p:nvSpPr>
        <p:spPr>
          <a:xfrm>
            <a:off x="3391434" y="3800028"/>
            <a:ext cx="3024731" cy="292393"/>
          </a:xfrm>
          <a:prstGeom prst="rect">
            <a:avLst/>
          </a:prstGeom>
          <a:solidFill>
            <a:srgbClr val="DAE5F6"/>
          </a:solidFill>
          <a:ln w="6350">
            <a:solidFill>
              <a:schemeClr val="accent6"/>
            </a:solidFill>
          </a:ln>
          <a:effectLst>
            <a:outerShdw blurRad="50800" algn="ctr" rotWithShape="0">
              <a:schemeClr val="accent1">
                <a:lumMod val="50000"/>
                <a:alpha val="4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rgbClr val="3F3F3F"/>
                </a:solidFill>
                <a:effectLst/>
                <a:highlight>
                  <a:srgbClr val="FFFF00"/>
                </a:highlight>
                <a:uLnTx/>
                <a:uFillTx/>
                <a:latin typeface="Vinci Sans Light"/>
                <a:ea typeface="+mn-ea"/>
                <a:cs typeface="+mn-cs"/>
              </a:rPr>
              <a:t>USE CASE QUALIFICATION</a:t>
            </a:r>
          </a:p>
        </p:txBody>
      </p:sp>
      <p:sp>
        <p:nvSpPr>
          <p:cNvPr id="39" name="Rectangle 38">
            <a:extLst>
              <a:ext uri="{FF2B5EF4-FFF2-40B4-BE49-F238E27FC236}">
                <a16:creationId xmlns:a16="http://schemas.microsoft.com/office/drawing/2014/main" id="{030827DA-595E-7284-3233-C1000A12BA52}"/>
              </a:ext>
            </a:extLst>
          </p:cNvPr>
          <p:cNvSpPr/>
          <p:nvPr/>
        </p:nvSpPr>
        <p:spPr>
          <a:xfrm>
            <a:off x="4561766" y="4339732"/>
            <a:ext cx="3024731" cy="292393"/>
          </a:xfrm>
          <a:prstGeom prst="rect">
            <a:avLst/>
          </a:prstGeom>
          <a:solidFill>
            <a:srgbClr val="DAE5F6"/>
          </a:solidFill>
          <a:ln w="6350">
            <a:solidFill>
              <a:schemeClr val="accent6"/>
            </a:solidFill>
          </a:ln>
          <a:effectLst>
            <a:outerShdw blurRad="50800" algn="ctr" rotWithShape="0">
              <a:schemeClr val="accent1">
                <a:lumMod val="50000"/>
                <a:alpha val="4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rgbClr val="3F3F3F"/>
                </a:solidFill>
                <a:effectLst/>
                <a:highlight>
                  <a:srgbClr val="FFFF00"/>
                </a:highlight>
                <a:uLnTx/>
                <a:uFillTx/>
                <a:latin typeface="Vinci Sans Light"/>
                <a:ea typeface="+mn-ea"/>
                <a:cs typeface="+mn-cs"/>
              </a:rPr>
              <a:t>DATA PRODUCT PUBLICATION</a:t>
            </a:r>
          </a:p>
        </p:txBody>
      </p:sp>
      <p:sp>
        <p:nvSpPr>
          <p:cNvPr id="44" name="Rectangle 43">
            <a:extLst>
              <a:ext uri="{FF2B5EF4-FFF2-40B4-BE49-F238E27FC236}">
                <a16:creationId xmlns:a16="http://schemas.microsoft.com/office/drawing/2014/main" id="{01EDA3EB-064D-A12F-0F86-F6F0D560F5CD}"/>
              </a:ext>
            </a:extLst>
          </p:cNvPr>
          <p:cNvSpPr/>
          <p:nvPr/>
        </p:nvSpPr>
        <p:spPr>
          <a:xfrm>
            <a:off x="4561766" y="4741288"/>
            <a:ext cx="3024731" cy="292393"/>
          </a:xfrm>
          <a:prstGeom prst="rect">
            <a:avLst/>
          </a:prstGeom>
          <a:solidFill>
            <a:srgbClr val="DAE5F6"/>
          </a:solidFill>
          <a:ln w="6350">
            <a:solidFill>
              <a:schemeClr val="accent6"/>
            </a:solidFill>
          </a:ln>
          <a:effectLst>
            <a:outerShdw blurRad="50800" algn="ctr" rotWithShape="0">
              <a:schemeClr val="accent1">
                <a:lumMod val="50000"/>
                <a:alpha val="4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rgbClr val="3F3F3F"/>
                </a:solidFill>
                <a:effectLst/>
                <a:highlight>
                  <a:srgbClr val="FFFF00"/>
                </a:highlight>
                <a:uLnTx/>
                <a:uFillTx/>
                <a:latin typeface="Vinci Sans Light"/>
                <a:ea typeface="+mn-ea"/>
                <a:cs typeface="+mn-cs"/>
              </a:rPr>
              <a:t>DATA PRODUCT USAGE</a:t>
            </a:r>
          </a:p>
        </p:txBody>
      </p:sp>
      <p:sp>
        <p:nvSpPr>
          <p:cNvPr id="53" name="Rectangle 52">
            <a:extLst>
              <a:ext uri="{FF2B5EF4-FFF2-40B4-BE49-F238E27FC236}">
                <a16:creationId xmlns:a16="http://schemas.microsoft.com/office/drawing/2014/main" id="{480405D7-3822-FF43-8755-65637B795688}"/>
              </a:ext>
            </a:extLst>
          </p:cNvPr>
          <p:cNvSpPr/>
          <p:nvPr/>
        </p:nvSpPr>
        <p:spPr>
          <a:xfrm>
            <a:off x="8125338" y="3942793"/>
            <a:ext cx="3024731" cy="292393"/>
          </a:xfrm>
          <a:prstGeom prst="rect">
            <a:avLst/>
          </a:prstGeom>
          <a:solidFill>
            <a:srgbClr val="DAE5F6"/>
          </a:solidFill>
          <a:ln w="6350">
            <a:solidFill>
              <a:schemeClr val="accent6"/>
            </a:solidFill>
          </a:ln>
          <a:effectLst>
            <a:outerShdw blurRad="50800" algn="ctr" rotWithShape="0">
              <a:schemeClr val="accent1">
                <a:lumMod val="50000"/>
                <a:alpha val="4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rgbClr val="3F3F3F"/>
                </a:solidFill>
                <a:effectLst/>
                <a:highlight>
                  <a:srgbClr val="FFFF00"/>
                </a:highlight>
                <a:uLnTx/>
                <a:uFillTx/>
                <a:latin typeface="Vinci Sans Light"/>
                <a:ea typeface="+mn-ea"/>
                <a:cs typeface="+mn-cs"/>
              </a:rPr>
              <a:t>DATA PLATFORM</a:t>
            </a:r>
          </a:p>
        </p:txBody>
      </p:sp>
      <p:sp>
        <p:nvSpPr>
          <p:cNvPr id="61" name="Pentagone 3">
            <a:extLst>
              <a:ext uri="{FF2B5EF4-FFF2-40B4-BE49-F238E27FC236}">
                <a16:creationId xmlns:a16="http://schemas.microsoft.com/office/drawing/2014/main" id="{CF4ADDEC-F02B-460A-347C-FE6D4A5D4552}"/>
              </a:ext>
            </a:extLst>
          </p:cNvPr>
          <p:cNvSpPr/>
          <p:nvPr/>
        </p:nvSpPr>
        <p:spPr>
          <a:xfrm>
            <a:off x="3418897" y="2671503"/>
            <a:ext cx="203518" cy="203518"/>
          </a:xfrm>
          <a:prstGeom prst="pentagon">
            <a:avLst/>
          </a:prstGeom>
          <a:solidFill>
            <a:srgbClr val="7FD7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Rectangle 61">
            <a:extLst>
              <a:ext uri="{FF2B5EF4-FFF2-40B4-BE49-F238E27FC236}">
                <a16:creationId xmlns:a16="http://schemas.microsoft.com/office/drawing/2014/main" id="{58F75B9A-72C7-1F92-E686-7818B4CB4FB7}"/>
              </a:ext>
            </a:extLst>
          </p:cNvPr>
          <p:cNvSpPr/>
          <p:nvPr/>
        </p:nvSpPr>
        <p:spPr>
          <a:xfrm>
            <a:off x="10391836" y="2642577"/>
            <a:ext cx="261370" cy="261370"/>
          </a:xfrm>
          <a:prstGeom prst="rect">
            <a:avLst/>
          </a:prstGeom>
          <a:solidFill>
            <a:srgbClr val="A6D5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691075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1BADC8-4F65-E4A8-DEE8-C1CD6234CE56}"/>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8ACC4143-9229-1B46-AE73-FCC92C114EDC}"/>
              </a:ext>
            </a:extLst>
          </p:cNvPr>
          <p:cNvSpPr>
            <a:spLocks noGrp="1"/>
          </p:cNvSpPr>
          <p:nvPr>
            <p:ph type="title"/>
          </p:nvPr>
        </p:nvSpPr>
        <p:spPr/>
        <p:txBody>
          <a:bodyPr/>
          <a:lstStyle/>
          <a:p>
            <a:r>
              <a:rPr lang="en-US"/>
              <a:t>Data Factories across VINCI Construction</a:t>
            </a:r>
          </a:p>
        </p:txBody>
      </p:sp>
      <p:grpSp>
        <p:nvGrpSpPr>
          <p:cNvPr id="48" name="POWER_USER_DATA_MAP" descr="{&quot;IsGrandientColor&quot;:true,&quot;GradientColor&quot;:&quot;#D9D9D9&quot;,&quot;IsRangesColor&quot;:false,&quot;RangesSettings&quot;:null,&quot;RangeName&quot;:&quot;POWER_USER_EXCEL_MAP_0F420D3D_A316_4D81_BE9D_38DD61B4C2BC&quot;,&quot;Version&quot;:&quot;1.7.20.107&quot;}">
            <a:extLst>
              <a:ext uri="{FF2B5EF4-FFF2-40B4-BE49-F238E27FC236}">
                <a16:creationId xmlns:a16="http://schemas.microsoft.com/office/drawing/2014/main" id="{319E17FF-1557-3064-DB2A-2FE1FEB8E9E3}"/>
              </a:ext>
            </a:extLst>
          </p:cNvPr>
          <p:cNvGrpSpPr>
            <a:grpSpLocks noChangeAspect="1"/>
          </p:cNvGrpSpPr>
          <p:nvPr/>
        </p:nvGrpSpPr>
        <p:grpSpPr>
          <a:xfrm>
            <a:off x="3523957" y="2142469"/>
            <a:ext cx="5127584" cy="3096416"/>
            <a:chOff x="1892976" y="1913125"/>
            <a:chExt cx="7906326" cy="4774427"/>
          </a:xfrm>
        </p:grpSpPr>
        <p:grpSp>
          <p:nvGrpSpPr>
            <p:cNvPr id="5" name="World_continents_1">
              <a:extLst>
                <a:ext uri="{FF2B5EF4-FFF2-40B4-BE49-F238E27FC236}">
                  <a16:creationId xmlns:a16="http://schemas.microsoft.com/office/drawing/2014/main" id="{D015E920-4AFD-FFBF-BF75-BBC5BB0CA4F5}"/>
                </a:ext>
              </a:extLst>
            </p:cNvPr>
            <p:cNvGrpSpPr>
              <a:grpSpLocks noChangeAspect="1"/>
            </p:cNvGrpSpPr>
            <p:nvPr/>
          </p:nvGrpSpPr>
          <p:grpSpPr>
            <a:xfrm>
              <a:off x="1892976" y="1913125"/>
              <a:ext cx="7906326" cy="4774427"/>
              <a:chOff x="1892976" y="1278125"/>
              <a:chExt cx="7906326" cy="4774427"/>
            </a:xfrm>
          </p:grpSpPr>
          <p:grpSp>
            <p:nvGrpSpPr>
              <p:cNvPr id="32" name="Map">
                <a:extLst>
                  <a:ext uri="{FF2B5EF4-FFF2-40B4-BE49-F238E27FC236}">
                    <a16:creationId xmlns:a16="http://schemas.microsoft.com/office/drawing/2014/main" id="{0EEB9E51-4AD2-299B-D80C-02C44D6CD969}"/>
                  </a:ext>
                </a:extLst>
              </p:cNvPr>
              <p:cNvGrpSpPr>
                <a:grpSpLocks noChangeAspect="1"/>
              </p:cNvGrpSpPr>
              <p:nvPr/>
            </p:nvGrpSpPr>
            <p:grpSpPr bwMode="auto">
              <a:xfrm>
                <a:off x="2418800" y="1278125"/>
                <a:ext cx="7380502" cy="4774427"/>
                <a:chOff x="1691" y="0"/>
                <a:chExt cx="6188" cy="4003"/>
              </a:xfrm>
            </p:grpSpPr>
            <p:sp>
              <p:nvSpPr>
                <p:cNvPr id="40" name="South America" descr="{&quot;Key&quot;:&quot;south america&quot;,&quot;Name&quot;:&quot;South America&quot;,&quot;Value&quot;:1.0,&quot;Formula&quot;:&quot;&quot;,&quot;Text&quot;:&quot;1&quot;,&quot;HasValue&quot;:true}">
                  <a:extLst>
                    <a:ext uri="{FF2B5EF4-FFF2-40B4-BE49-F238E27FC236}">
                      <a16:creationId xmlns:a16="http://schemas.microsoft.com/office/drawing/2014/main" id="{F4C913E0-E79B-35AD-59CA-6B1275018910}"/>
                    </a:ext>
                  </a:extLst>
                </p:cNvPr>
                <p:cNvSpPr>
                  <a:spLocks noEditPoints="1"/>
                </p:cNvSpPr>
                <p:nvPr/>
              </p:nvSpPr>
              <p:spPr bwMode="auto">
                <a:xfrm>
                  <a:off x="3206" y="2635"/>
                  <a:ext cx="803" cy="1368"/>
                </a:xfrm>
                <a:custGeom>
                  <a:avLst/>
                  <a:gdLst>
                    <a:gd name="T0" fmla="*/ 353 w 803"/>
                    <a:gd name="T1" fmla="*/ 40 h 1368"/>
                    <a:gd name="T2" fmla="*/ 369 w 803"/>
                    <a:gd name="T3" fmla="*/ 1242 h 1368"/>
                    <a:gd name="T4" fmla="*/ 402 w 803"/>
                    <a:gd name="T5" fmla="*/ 1259 h 1368"/>
                    <a:gd name="T6" fmla="*/ 795 w 803"/>
                    <a:gd name="T7" fmla="*/ 309 h 1368"/>
                    <a:gd name="T8" fmla="*/ 714 w 803"/>
                    <a:gd name="T9" fmla="*/ 264 h 1368"/>
                    <a:gd name="T10" fmla="*/ 628 w 803"/>
                    <a:gd name="T11" fmla="*/ 241 h 1368"/>
                    <a:gd name="T12" fmla="*/ 534 w 803"/>
                    <a:gd name="T13" fmla="*/ 215 h 1368"/>
                    <a:gd name="T14" fmla="*/ 522 w 803"/>
                    <a:gd name="T15" fmla="*/ 152 h 1368"/>
                    <a:gd name="T16" fmla="*/ 479 w 803"/>
                    <a:gd name="T17" fmla="*/ 118 h 1368"/>
                    <a:gd name="T18" fmla="*/ 418 w 803"/>
                    <a:gd name="T19" fmla="*/ 112 h 1368"/>
                    <a:gd name="T20" fmla="*/ 384 w 803"/>
                    <a:gd name="T21" fmla="*/ 77 h 1368"/>
                    <a:gd name="T22" fmla="*/ 341 w 803"/>
                    <a:gd name="T23" fmla="*/ 44 h 1368"/>
                    <a:gd name="T24" fmla="*/ 295 w 803"/>
                    <a:gd name="T25" fmla="*/ 31 h 1368"/>
                    <a:gd name="T26" fmla="*/ 243 w 803"/>
                    <a:gd name="T27" fmla="*/ 32 h 1368"/>
                    <a:gd name="T28" fmla="*/ 198 w 803"/>
                    <a:gd name="T29" fmla="*/ 5 h 1368"/>
                    <a:gd name="T30" fmla="*/ 178 w 803"/>
                    <a:gd name="T31" fmla="*/ 44 h 1368"/>
                    <a:gd name="T32" fmla="*/ 169 w 803"/>
                    <a:gd name="T33" fmla="*/ 26 h 1368"/>
                    <a:gd name="T34" fmla="*/ 172 w 803"/>
                    <a:gd name="T35" fmla="*/ 1 h 1368"/>
                    <a:gd name="T36" fmla="*/ 125 w 803"/>
                    <a:gd name="T37" fmla="*/ 20 h 1368"/>
                    <a:gd name="T38" fmla="*/ 99 w 803"/>
                    <a:gd name="T39" fmla="*/ 52 h 1368"/>
                    <a:gd name="T40" fmla="*/ 73 w 803"/>
                    <a:gd name="T41" fmla="*/ 78 h 1368"/>
                    <a:gd name="T42" fmla="*/ 71 w 803"/>
                    <a:gd name="T43" fmla="*/ 114 h 1368"/>
                    <a:gd name="T44" fmla="*/ 68 w 803"/>
                    <a:gd name="T45" fmla="*/ 157 h 1368"/>
                    <a:gd name="T46" fmla="*/ 42 w 803"/>
                    <a:gd name="T47" fmla="*/ 186 h 1368"/>
                    <a:gd name="T48" fmla="*/ 17 w 803"/>
                    <a:gd name="T49" fmla="*/ 220 h 1368"/>
                    <a:gd name="T50" fmla="*/ 19 w 803"/>
                    <a:gd name="T51" fmla="*/ 261 h 1368"/>
                    <a:gd name="T52" fmla="*/ 0 w 803"/>
                    <a:gd name="T53" fmla="*/ 295 h 1368"/>
                    <a:gd name="T54" fmla="*/ 34 w 803"/>
                    <a:gd name="T55" fmla="*/ 350 h 1368"/>
                    <a:gd name="T56" fmla="*/ 86 w 803"/>
                    <a:gd name="T57" fmla="*/ 453 h 1368"/>
                    <a:gd name="T58" fmla="*/ 172 w 803"/>
                    <a:gd name="T59" fmla="*/ 524 h 1368"/>
                    <a:gd name="T60" fmla="*/ 184 w 803"/>
                    <a:gd name="T61" fmla="*/ 670 h 1368"/>
                    <a:gd name="T62" fmla="*/ 172 w 803"/>
                    <a:gd name="T63" fmla="*/ 802 h 1368"/>
                    <a:gd name="T64" fmla="*/ 135 w 803"/>
                    <a:gd name="T65" fmla="*/ 925 h 1368"/>
                    <a:gd name="T66" fmla="*/ 132 w 803"/>
                    <a:gd name="T67" fmla="*/ 1041 h 1368"/>
                    <a:gd name="T68" fmla="*/ 115 w 803"/>
                    <a:gd name="T69" fmla="*/ 1099 h 1368"/>
                    <a:gd name="T70" fmla="*/ 102 w 803"/>
                    <a:gd name="T71" fmla="*/ 1217 h 1368"/>
                    <a:gd name="T72" fmla="*/ 152 w 803"/>
                    <a:gd name="T73" fmla="*/ 1307 h 1368"/>
                    <a:gd name="T74" fmla="*/ 206 w 803"/>
                    <a:gd name="T75" fmla="*/ 1271 h 1368"/>
                    <a:gd name="T76" fmla="*/ 218 w 803"/>
                    <a:gd name="T77" fmla="*/ 1214 h 1368"/>
                    <a:gd name="T78" fmla="*/ 255 w 803"/>
                    <a:gd name="T79" fmla="*/ 1131 h 1368"/>
                    <a:gd name="T80" fmla="*/ 277 w 803"/>
                    <a:gd name="T81" fmla="*/ 1068 h 1368"/>
                    <a:gd name="T82" fmla="*/ 295 w 803"/>
                    <a:gd name="T83" fmla="*/ 1018 h 1368"/>
                    <a:gd name="T84" fmla="*/ 321 w 803"/>
                    <a:gd name="T85" fmla="*/ 987 h 1368"/>
                    <a:gd name="T86" fmla="*/ 347 w 803"/>
                    <a:gd name="T87" fmla="*/ 939 h 1368"/>
                    <a:gd name="T88" fmla="*/ 413 w 803"/>
                    <a:gd name="T89" fmla="*/ 876 h 1368"/>
                    <a:gd name="T90" fmla="*/ 418 w 803"/>
                    <a:gd name="T91" fmla="*/ 844 h 1368"/>
                    <a:gd name="T92" fmla="*/ 482 w 803"/>
                    <a:gd name="T93" fmla="*/ 830 h 1368"/>
                    <a:gd name="T94" fmla="*/ 548 w 803"/>
                    <a:gd name="T95" fmla="*/ 738 h 1368"/>
                    <a:gd name="T96" fmla="*/ 566 w 803"/>
                    <a:gd name="T97" fmla="*/ 673 h 1368"/>
                    <a:gd name="T98" fmla="*/ 660 w 803"/>
                    <a:gd name="T99" fmla="*/ 619 h 1368"/>
                    <a:gd name="T100" fmla="*/ 717 w 803"/>
                    <a:gd name="T101" fmla="*/ 556 h 1368"/>
                    <a:gd name="T102" fmla="*/ 731 w 803"/>
                    <a:gd name="T103" fmla="*/ 453 h 1368"/>
                    <a:gd name="T104" fmla="*/ 787 w 803"/>
                    <a:gd name="T105" fmla="*/ 380 h 1368"/>
                    <a:gd name="T106" fmla="*/ 227 w 803"/>
                    <a:gd name="T107" fmla="*/ 1293 h 1368"/>
                    <a:gd name="T108" fmla="*/ 177 w 803"/>
                    <a:gd name="T109" fmla="*/ 1322 h 1368"/>
                    <a:gd name="T110" fmla="*/ 157 w 803"/>
                    <a:gd name="T111" fmla="*/ 1334 h 1368"/>
                    <a:gd name="T112" fmla="*/ 229 w 803"/>
                    <a:gd name="T113" fmla="*/ 1368 h 1368"/>
                    <a:gd name="T114" fmla="*/ 281 w 803"/>
                    <a:gd name="T115" fmla="*/ 1340 h 1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03" h="1368">
                      <a:moveTo>
                        <a:pt x="339" y="35"/>
                      </a:moveTo>
                      <a:lnTo>
                        <a:pt x="339" y="29"/>
                      </a:lnTo>
                      <a:lnTo>
                        <a:pt x="350" y="26"/>
                      </a:lnTo>
                      <a:lnTo>
                        <a:pt x="353" y="28"/>
                      </a:lnTo>
                      <a:lnTo>
                        <a:pt x="353" y="40"/>
                      </a:lnTo>
                      <a:lnTo>
                        <a:pt x="338" y="43"/>
                      </a:lnTo>
                      <a:lnTo>
                        <a:pt x="335" y="41"/>
                      </a:lnTo>
                      <a:lnTo>
                        <a:pt x="339" y="35"/>
                      </a:lnTo>
                      <a:close/>
                      <a:moveTo>
                        <a:pt x="384" y="1248"/>
                      </a:moveTo>
                      <a:lnTo>
                        <a:pt x="369" y="1242"/>
                      </a:lnTo>
                      <a:lnTo>
                        <a:pt x="349" y="1259"/>
                      </a:lnTo>
                      <a:lnTo>
                        <a:pt x="356" y="1271"/>
                      </a:lnTo>
                      <a:lnTo>
                        <a:pt x="372" y="1259"/>
                      </a:lnTo>
                      <a:lnTo>
                        <a:pt x="379" y="1268"/>
                      </a:lnTo>
                      <a:lnTo>
                        <a:pt x="402" y="1259"/>
                      </a:lnTo>
                      <a:lnTo>
                        <a:pt x="407" y="1250"/>
                      </a:lnTo>
                      <a:lnTo>
                        <a:pt x="393" y="1237"/>
                      </a:lnTo>
                      <a:lnTo>
                        <a:pt x="384" y="1248"/>
                      </a:lnTo>
                      <a:close/>
                      <a:moveTo>
                        <a:pt x="801" y="330"/>
                      </a:moveTo>
                      <a:lnTo>
                        <a:pt x="795" y="309"/>
                      </a:lnTo>
                      <a:lnTo>
                        <a:pt x="789" y="303"/>
                      </a:lnTo>
                      <a:lnTo>
                        <a:pt x="773" y="303"/>
                      </a:lnTo>
                      <a:lnTo>
                        <a:pt x="761" y="297"/>
                      </a:lnTo>
                      <a:lnTo>
                        <a:pt x="738" y="278"/>
                      </a:lnTo>
                      <a:lnTo>
                        <a:pt x="714" y="264"/>
                      </a:lnTo>
                      <a:lnTo>
                        <a:pt x="688" y="264"/>
                      </a:lnTo>
                      <a:lnTo>
                        <a:pt x="654" y="255"/>
                      </a:lnTo>
                      <a:lnTo>
                        <a:pt x="634" y="261"/>
                      </a:lnTo>
                      <a:lnTo>
                        <a:pt x="637" y="250"/>
                      </a:lnTo>
                      <a:lnTo>
                        <a:pt x="628" y="241"/>
                      </a:lnTo>
                      <a:lnTo>
                        <a:pt x="600" y="230"/>
                      </a:lnTo>
                      <a:lnTo>
                        <a:pt x="579" y="224"/>
                      </a:lnTo>
                      <a:lnTo>
                        <a:pt x="565" y="235"/>
                      </a:lnTo>
                      <a:lnTo>
                        <a:pt x="565" y="218"/>
                      </a:lnTo>
                      <a:lnTo>
                        <a:pt x="534" y="215"/>
                      </a:lnTo>
                      <a:lnTo>
                        <a:pt x="528" y="211"/>
                      </a:lnTo>
                      <a:lnTo>
                        <a:pt x="542" y="197"/>
                      </a:lnTo>
                      <a:lnTo>
                        <a:pt x="540" y="184"/>
                      </a:lnTo>
                      <a:lnTo>
                        <a:pt x="531" y="181"/>
                      </a:lnTo>
                      <a:lnTo>
                        <a:pt x="522" y="152"/>
                      </a:lnTo>
                      <a:lnTo>
                        <a:pt x="517" y="143"/>
                      </a:lnTo>
                      <a:lnTo>
                        <a:pt x="513" y="143"/>
                      </a:lnTo>
                      <a:lnTo>
                        <a:pt x="510" y="137"/>
                      </a:lnTo>
                      <a:lnTo>
                        <a:pt x="491" y="121"/>
                      </a:lnTo>
                      <a:lnTo>
                        <a:pt x="479" y="118"/>
                      </a:lnTo>
                      <a:lnTo>
                        <a:pt x="473" y="115"/>
                      </a:lnTo>
                      <a:lnTo>
                        <a:pt x="454" y="111"/>
                      </a:lnTo>
                      <a:lnTo>
                        <a:pt x="441" y="112"/>
                      </a:lnTo>
                      <a:lnTo>
                        <a:pt x="438" y="115"/>
                      </a:lnTo>
                      <a:lnTo>
                        <a:pt x="418" y="112"/>
                      </a:lnTo>
                      <a:lnTo>
                        <a:pt x="412" y="106"/>
                      </a:lnTo>
                      <a:lnTo>
                        <a:pt x="402" y="98"/>
                      </a:lnTo>
                      <a:lnTo>
                        <a:pt x="395" y="97"/>
                      </a:lnTo>
                      <a:lnTo>
                        <a:pt x="395" y="88"/>
                      </a:lnTo>
                      <a:lnTo>
                        <a:pt x="384" y="77"/>
                      </a:lnTo>
                      <a:lnTo>
                        <a:pt x="373" y="71"/>
                      </a:lnTo>
                      <a:lnTo>
                        <a:pt x="365" y="66"/>
                      </a:lnTo>
                      <a:lnTo>
                        <a:pt x="358" y="68"/>
                      </a:lnTo>
                      <a:lnTo>
                        <a:pt x="355" y="54"/>
                      </a:lnTo>
                      <a:lnTo>
                        <a:pt x="341" y="44"/>
                      </a:lnTo>
                      <a:lnTo>
                        <a:pt x="327" y="43"/>
                      </a:lnTo>
                      <a:lnTo>
                        <a:pt x="321" y="35"/>
                      </a:lnTo>
                      <a:lnTo>
                        <a:pt x="336" y="29"/>
                      </a:lnTo>
                      <a:lnTo>
                        <a:pt x="316" y="31"/>
                      </a:lnTo>
                      <a:lnTo>
                        <a:pt x="295" y="31"/>
                      </a:lnTo>
                      <a:lnTo>
                        <a:pt x="295" y="35"/>
                      </a:lnTo>
                      <a:lnTo>
                        <a:pt x="284" y="41"/>
                      </a:lnTo>
                      <a:lnTo>
                        <a:pt x="272" y="38"/>
                      </a:lnTo>
                      <a:lnTo>
                        <a:pt x="261" y="31"/>
                      </a:lnTo>
                      <a:lnTo>
                        <a:pt x="243" y="32"/>
                      </a:lnTo>
                      <a:lnTo>
                        <a:pt x="227" y="32"/>
                      </a:lnTo>
                      <a:lnTo>
                        <a:pt x="227" y="26"/>
                      </a:lnTo>
                      <a:lnTo>
                        <a:pt x="215" y="17"/>
                      </a:lnTo>
                      <a:lnTo>
                        <a:pt x="204" y="17"/>
                      </a:lnTo>
                      <a:lnTo>
                        <a:pt x="198" y="5"/>
                      </a:lnTo>
                      <a:lnTo>
                        <a:pt x="192" y="11"/>
                      </a:lnTo>
                      <a:lnTo>
                        <a:pt x="194" y="18"/>
                      </a:lnTo>
                      <a:lnTo>
                        <a:pt x="172" y="26"/>
                      </a:lnTo>
                      <a:lnTo>
                        <a:pt x="174" y="38"/>
                      </a:lnTo>
                      <a:lnTo>
                        <a:pt x="178" y="44"/>
                      </a:lnTo>
                      <a:lnTo>
                        <a:pt x="175" y="57"/>
                      </a:lnTo>
                      <a:lnTo>
                        <a:pt x="168" y="58"/>
                      </a:lnTo>
                      <a:lnTo>
                        <a:pt x="161" y="44"/>
                      </a:lnTo>
                      <a:lnTo>
                        <a:pt x="169" y="34"/>
                      </a:lnTo>
                      <a:lnTo>
                        <a:pt x="169" y="26"/>
                      </a:lnTo>
                      <a:lnTo>
                        <a:pt x="163" y="17"/>
                      </a:lnTo>
                      <a:lnTo>
                        <a:pt x="174" y="15"/>
                      </a:lnTo>
                      <a:lnTo>
                        <a:pt x="174" y="11"/>
                      </a:lnTo>
                      <a:lnTo>
                        <a:pt x="177" y="6"/>
                      </a:lnTo>
                      <a:lnTo>
                        <a:pt x="172" y="1"/>
                      </a:lnTo>
                      <a:lnTo>
                        <a:pt x="166" y="0"/>
                      </a:lnTo>
                      <a:lnTo>
                        <a:pt x="158" y="8"/>
                      </a:lnTo>
                      <a:lnTo>
                        <a:pt x="151" y="12"/>
                      </a:lnTo>
                      <a:lnTo>
                        <a:pt x="138" y="21"/>
                      </a:lnTo>
                      <a:lnTo>
                        <a:pt x="125" y="20"/>
                      </a:lnTo>
                      <a:lnTo>
                        <a:pt x="123" y="23"/>
                      </a:lnTo>
                      <a:lnTo>
                        <a:pt x="112" y="23"/>
                      </a:lnTo>
                      <a:lnTo>
                        <a:pt x="102" y="32"/>
                      </a:lnTo>
                      <a:lnTo>
                        <a:pt x="99" y="46"/>
                      </a:lnTo>
                      <a:lnTo>
                        <a:pt x="99" y="52"/>
                      </a:lnTo>
                      <a:lnTo>
                        <a:pt x="92" y="54"/>
                      </a:lnTo>
                      <a:lnTo>
                        <a:pt x="79" y="66"/>
                      </a:lnTo>
                      <a:lnTo>
                        <a:pt x="69" y="66"/>
                      </a:lnTo>
                      <a:lnTo>
                        <a:pt x="68" y="68"/>
                      </a:lnTo>
                      <a:lnTo>
                        <a:pt x="73" y="78"/>
                      </a:lnTo>
                      <a:lnTo>
                        <a:pt x="69" y="83"/>
                      </a:lnTo>
                      <a:lnTo>
                        <a:pt x="63" y="81"/>
                      </a:lnTo>
                      <a:lnTo>
                        <a:pt x="62" y="91"/>
                      </a:lnTo>
                      <a:lnTo>
                        <a:pt x="68" y="100"/>
                      </a:lnTo>
                      <a:lnTo>
                        <a:pt x="71" y="114"/>
                      </a:lnTo>
                      <a:lnTo>
                        <a:pt x="66" y="118"/>
                      </a:lnTo>
                      <a:lnTo>
                        <a:pt x="71" y="135"/>
                      </a:lnTo>
                      <a:lnTo>
                        <a:pt x="68" y="144"/>
                      </a:lnTo>
                      <a:lnTo>
                        <a:pt x="74" y="149"/>
                      </a:lnTo>
                      <a:lnTo>
                        <a:pt x="68" y="157"/>
                      </a:lnTo>
                      <a:lnTo>
                        <a:pt x="60" y="167"/>
                      </a:lnTo>
                      <a:lnTo>
                        <a:pt x="51" y="169"/>
                      </a:lnTo>
                      <a:lnTo>
                        <a:pt x="48" y="175"/>
                      </a:lnTo>
                      <a:lnTo>
                        <a:pt x="48" y="184"/>
                      </a:lnTo>
                      <a:lnTo>
                        <a:pt x="42" y="186"/>
                      </a:lnTo>
                      <a:lnTo>
                        <a:pt x="45" y="191"/>
                      </a:lnTo>
                      <a:lnTo>
                        <a:pt x="33" y="198"/>
                      </a:lnTo>
                      <a:lnTo>
                        <a:pt x="23" y="201"/>
                      </a:lnTo>
                      <a:lnTo>
                        <a:pt x="23" y="209"/>
                      </a:lnTo>
                      <a:lnTo>
                        <a:pt x="17" y="220"/>
                      </a:lnTo>
                      <a:lnTo>
                        <a:pt x="14" y="230"/>
                      </a:lnTo>
                      <a:lnTo>
                        <a:pt x="8" y="232"/>
                      </a:lnTo>
                      <a:lnTo>
                        <a:pt x="11" y="247"/>
                      </a:lnTo>
                      <a:lnTo>
                        <a:pt x="8" y="254"/>
                      </a:lnTo>
                      <a:lnTo>
                        <a:pt x="19" y="261"/>
                      </a:lnTo>
                      <a:lnTo>
                        <a:pt x="25" y="252"/>
                      </a:lnTo>
                      <a:lnTo>
                        <a:pt x="28" y="260"/>
                      </a:lnTo>
                      <a:lnTo>
                        <a:pt x="19" y="274"/>
                      </a:lnTo>
                      <a:lnTo>
                        <a:pt x="5" y="284"/>
                      </a:lnTo>
                      <a:lnTo>
                        <a:pt x="0" y="295"/>
                      </a:lnTo>
                      <a:lnTo>
                        <a:pt x="8" y="312"/>
                      </a:lnTo>
                      <a:lnTo>
                        <a:pt x="3" y="320"/>
                      </a:lnTo>
                      <a:lnTo>
                        <a:pt x="16" y="327"/>
                      </a:lnTo>
                      <a:lnTo>
                        <a:pt x="28" y="338"/>
                      </a:lnTo>
                      <a:lnTo>
                        <a:pt x="34" y="350"/>
                      </a:lnTo>
                      <a:lnTo>
                        <a:pt x="42" y="358"/>
                      </a:lnTo>
                      <a:lnTo>
                        <a:pt x="57" y="393"/>
                      </a:lnTo>
                      <a:lnTo>
                        <a:pt x="74" y="426"/>
                      </a:lnTo>
                      <a:lnTo>
                        <a:pt x="89" y="449"/>
                      </a:lnTo>
                      <a:lnTo>
                        <a:pt x="86" y="453"/>
                      </a:lnTo>
                      <a:lnTo>
                        <a:pt x="92" y="469"/>
                      </a:lnTo>
                      <a:lnTo>
                        <a:pt x="106" y="480"/>
                      </a:lnTo>
                      <a:lnTo>
                        <a:pt x="137" y="498"/>
                      </a:lnTo>
                      <a:lnTo>
                        <a:pt x="171" y="516"/>
                      </a:lnTo>
                      <a:lnTo>
                        <a:pt x="172" y="524"/>
                      </a:lnTo>
                      <a:lnTo>
                        <a:pt x="191" y="535"/>
                      </a:lnTo>
                      <a:lnTo>
                        <a:pt x="194" y="559"/>
                      </a:lnTo>
                      <a:lnTo>
                        <a:pt x="195" y="590"/>
                      </a:lnTo>
                      <a:lnTo>
                        <a:pt x="189" y="632"/>
                      </a:lnTo>
                      <a:lnTo>
                        <a:pt x="184" y="670"/>
                      </a:lnTo>
                      <a:lnTo>
                        <a:pt x="181" y="707"/>
                      </a:lnTo>
                      <a:lnTo>
                        <a:pt x="171" y="732"/>
                      </a:lnTo>
                      <a:lnTo>
                        <a:pt x="172" y="756"/>
                      </a:lnTo>
                      <a:lnTo>
                        <a:pt x="168" y="772"/>
                      </a:lnTo>
                      <a:lnTo>
                        <a:pt x="172" y="802"/>
                      </a:lnTo>
                      <a:lnTo>
                        <a:pt x="165" y="833"/>
                      </a:lnTo>
                      <a:lnTo>
                        <a:pt x="152" y="867"/>
                      </a:lnTo>
                      <a:lnTo>
                        <a:pt x="142" y="901"/>
                      </a:lnTo>
                      <a:lnTo>
                        <a:pt x="135" y="901"/>
                      </a:lnTo>
                      <a:lnTo>
                        <a:pt x="135" y="925"/>
                      </a:lnTo>
                      <a:lnTo>
                        <a:pt x="142" y="947"/>
                      </a:lnTo>
                      <a:lnTo>
                        <a:pt x="134" y="962"/>
                      </a:lnTo>
                      <a:lnTo>
                        <a:pt x="128" y="1005"/>
                      </a:lnTo>
                      <a:lnTo>
                        <a:pt x="122" y="1038"/>
                      </a:lnTo>
                      <a:lnTo>
                        <a:pt x="132" y="1041"/>
                      </a:lnTo>
                      <a:lnTo>
                        <a:pt x="138" y="1011"/>
                      </a:lnTo>
                      <a:lnTo>
                        <a:pt x="149" y="1018"/>
                      </a:lnTo>
                      <a:lnTo>
                        <a:pt x="140" y="1067"/>
                      </a:lnTo>
                      <a:lnTo>
                        <a:pt x="122" y="1059"/>
                      </a:lnTo>
                      <a:lnTo>
                        <a:pt x="115" y="1099"/>
                      </a:lnTo>
                      <a:lnTo>
                        <a:pt x="100" y="1121"/>
                      </a:lnTo>
                      <a:lnTo>
                        <a:pt x="126" y="1128"/>
                      </a:lnTo>
                      <a:lnTo>
                        <a:pt x="108" y="1148"/>
                      </a:lnTo>
                      <a:lnTo>
                        <a:pt x="100" y="1173"/>
                      </a:lnTo>
                      <a:lnTo>
                        <a:pt x="102" y="1217"/>
                      </a:lnTo>
                      <a:lnTo>
                        <a:pt x="111" y="1236"/>
                      </a:lnTo>
                      <a:lnTo>
                        <a:pt x="106" y="1253"/>
                      </a:lnTo>
                      <a:lnTo>
                        <a:pt x="111" y="1270"/>
                      </a:lnTo>
                      <a:lnTo>
                        <a:pt x="132" y="1287"/>
                      </a:lnTo>
                      <a:lnTo>
                        <a:pt x="152" y="1307"/>
                      </a:lnTo>
                      <a:lnTo>
                        <a:pt x="172" y="1316"/>
                      </a:lnTo>
                      <a:lnTo>
                        <a:pt x="180" y="1314"/>
                      </a:lnTo>
                      <a:lnTo>
                        <a:pt x="181" y="1288"/>
                      </a:lnTo>
                      <a:lnTo>
                        <a:pt x="198" y="1277"/>
                      </a:lnTo>
                      <a:lnTo>
                        <a:pt x="206" y="1271"/>
                      </a:lnTo>
                      <a:lnTo>
                        <a:pt x="221" y="1271"/>
                      </a:lnTo>
                      <a:lnTo>
                        <a:pt x="229" y="1273"/>
                      </a:lnTo>
                      <a:lnTo>
                        <a:pt x="217" y="1256"/>
                      </a:lnTo>
                      <a:lnTo>
                        <a:pt x="211" y="1228"/>
                      </a:lnTo>
                      <a:lnTo>
                        <a:pt x="218" y="1214"/>
                      </a:lnTo>
                      <a:lnTo>
                        <a:pt x="234" y="1204"/>
                      </a:lnTo>
                      <a:lnTo>
                        <a:pt x="246" y="1173"/>
                      </a:lnTo>
                      <a:lnTo>
                        <a:pt x="266" y="1159"/>
                      </a:lnTo>
                      <a:lnTo>
                        <a:pt x="272" y="1136"/>
                      </a:lnTo>
                      <a:lnTo>
                        <a:pt x="255" y="1131"/>
                      </a:lnTo>
                      <a:lnTo>
                        <a:pt x="238" y="1113"/>
                      </a:lnTo>
                      <a:lnTo>
                        <a:pt x="243" y="1094"/>
                      </a:lnTo>
                      <a:lnTo>
                        <a:pt x="257" y="1081"/>
                      </a:lnTo>
                      <a:lnTo>
                        <a:pt x="273" y="1081"/>
                      </a:lnTo>
                      <a:lnTo>
                        <a:pt x="277" y="1068"/>
                      </a:lnTo>
                      <a:lnTo>
                        <a:pt x="280" y="1044"/>
                      </a:lnTo>
                      <a:lnTo>
                        <a:pt x="293" y="1030"/>
                      </a:lnTo>
                      <a:lnTo>
                        <a:pt x="309" y="1022"/>
                      </a:lnTo>
                      <a:lnTo>
                        <a:pt x="304" y="1010"/>
                      </a:lnTo>
                      <a:lnTo>
                        <a:pt x="295" y="1018"/>
                      </a:lnTo>
                      <a:lnTo>
                        <a:pt x="283" y="1010"/>
                      </a:lnTo>
                      <a:lnTo>
                        <a:pt x="280" y="988"/>
                      </a:lnTo>
                      <a:lnTo>
                        <a:pt x="287" y="982"/>
                      </a:lnTo>
                      <a:lnTo>
                        <a:pt x="304" y="990"/>
                      </a:lnTo>
                      <a:lnTo>
                        <a:pt x="321" y="987"/>
                      </a:lnTo>
                      <a:lnTo>
                        <a:pt x="332" y="979"/>
                      </a:lnTo>
                      <a:lnTo>
                        <a:pt x="329" y="967"/>
                      </a:lnTo>
                      <a:lnTo>
                        <a:pt x="332" y="951"/>
                      </a:lnTo>
                      <a:lnTo>
                        <a:pt x="329" y="938"/>
                      </a:lnTo>
                      <a:lnTo>
                        <a:pt x="347" y="939"/>
                      </a:lnTo>
                      <a:lnTo>
                        <a:pt x="381" y="935"/>
                      </a:lnTo>
                      <a:lnTo>
                        <a:pt x="407" y="924"/>
                      </a:lnTo>
                      <a:lnTo>
                        <a:pt x="424" y="896"/>
                      </a:lnTo>
                      <a:lnTo>
                        <a:pt x="424" y="885"/>
                      </a:lnTo>
                      <a:lnTo>
                        <a:pt x="413" y="876"/>
                      </a:lnTo>
                      <a:lnTo>
                        <a:pt x="416" y="861"/>
                      </a:lnTo>
                      <a:lnTo>
                        <a:pt x="395" y="844"/>
                      </a:lnTo>
                      <a:lnTo>
                        <a:pt x="395" y="833"/>
                      </a:lnTo>
                      <a:lnTo>
                        <a:pt x="405" y="844"/>
                      </a:lnTo>
                      <a:lnTo>
                        <a:pt x="418" y="844"/>
                      </a:lnTo>
                      <a:lnTo>
                        <a:pt x="433" y="853"/>
                      </a:lnTo>
                      <a:lnTo>
                        <a:pt x="442" y="850"/>
                      </a:lnTo>
                      <a:lnTo>
                        <a:pt x="456" y="855"/>
                      </a:lnTo>
                      <a:lnTo>
                        <a:pt x="474" y="842"/>
                      </a:lnTo>
                      <a:lnTo>
                        <a:pt x="482" y="830"/>
                      </a:lnTo>
                      <a:lnTo>
                        <a:pt x="494" y="818"/>
                      </a:lnTo>
                      <a:lnTo>
                        <a:pt x="502" y="799"/>
                      </a:lnTo>
                      <a:lnTo>
                        <a:pt x="513" y="789"/>
                      </a:lnTo>
                      <a:lnTo>
                        <a:pt x="528" y="773"/>
                      </a:lnTo>
                      <a:lnTo>
                        <a:pt x="548" y="738"/>
                      </a:lnTo>
                      <a:lnTo>
                        <a:pt x="559" y="727"/>
                      </a:lnTo>
                      <a:lnTo>
                        <a:pt x="563" y="718"/>
                      </a:lnTo>
                      <a:lnTo>
                        <a:pt x="566" y="698"/>
                      </a:lnTo>
                      <a:lnTo>
                        <a:pt x="563" y="689"/>
                      </a:lnTo>
                      <a:lnTo>
                        <a:pt x="566" y="673"/>
                      </a:lnTo>
                      <a:lnTo>
                        <a:pt x="580" y="655"/>
                      </a:lnTo>
                      <a:lnTo>
                        <a:pt x="602" y="639"/>
                      </a:lnTo>
                      <a:lnTo>
                        <a:pt x="620" y="635"/>
                      </a:lnTo>
                      <a:lnTo>
                        <a:pt x="632" y="626"/>
                      </a:lnTo>
                      <a:lnTo>
                        <a:pt x="660" y="619"/>
                      </a:lnTo>
                      <a:lnTo>
                        <a:pt x="678" y="619"/>
                      </a:lnTo>
                      <a:lnTo>
                        <a:pt x="681" y="607"/>
                      </a:lnTo>
                      <a:lnTo>
                        <a:pt x="697" y="599"/>
                      </a:lnTo>
                      <a:lnTo>
                        <a:pt x="698" y="581"/>
                      </a:lnTo>
                      <a:lnTo>
                        <a:pt x="717" y="556"/>
                      </a:lnTo>
                      <a:lnTo>
                        <a:pt x="720" y="533"/>
                      </a:lnTo>
                      <a:lnTo>
                        <a:pt x="724" y="526"/>
                      </a:lnTo>
                      <a:lnTo>
                        <a:pt x="727" y="513"/>
                      </a:lnTo>
                      <a:lnTo>
                        <a:pt x="732" y="486"/>
                      </a:lnTo>
                      <a:lnTo>
                        <a:pt x="731" y="453"/>
                      </a:lnTo>
                      <a:lnTo>
                        <a:pt x="735" y="440"/>
                      </a:lnTo>
                      <a:lnTo>
                        <a:pt x="740" y="440"/>
                      </a:lnTo>
                      <a:lnTo>
                        <a:pt x="752" y="424"/>
                      </a:lnTo>
                      <a:lnTo>
                        <a:pt x="763" y="404"/>
                      </a:lnTo>
                      <a:lnTo>
                        <a:pt x="787" y="380"/>
                      </a:lnTo>
                      <a:lnTo>
                        <a:pt x="796" y="369"/>
                      </a:lnTo>
                      <a:lnTo>
                        <a:pt x="803" y="341"/>
                      </a:lnTo>
                      <a:lnTo>
                        <a:pt x="801" y="330"/>
                      </a:lnTo>
                      <a:close/>
                      <a:moveTo>
                        <a:pt x="235" y="1316"/>
                      </a:moveTo>
                      <a:lnTo>
                        <a:pt x="227" y="1293"/>
                      </a:lnTo>
                      <a:lnTo>
                        <a:pt x="220" y="1280"/>
                      </a:lnTo>
                      <a:lnTo>
                        <a:pt x="208" y="1277"/>
                      </a:lnTo>
                      <a:lnTo>
                        <a:pt x="192" y="1288"/>
                      </a:lnTo>
                      <a:lnTo>
                        <a:pt x="186" y="1308"/>
                      </a:lnTo>
                      <a:lnTo>
                        <a:pt x="177" y="1322"/>
                      </a:lnTo>
                      <a:lnTo>
                        <a:pt x="155" y="1311"/>
                      </a:lnTo>
                      <a:lnTo>
                        <a:pt x="131" y="1293"/>
                      </a:lnTo>
                      <a:lnTo>
                        <a:pt x="117" y="1287"/>
                      </a:lnTo>
                      <a:lnTo>
                        <a:pt x="140" y="1319"/>
                      </a:lnTo>
                      <a:lnTo>
                        <a:pt x="157" y="1334"/>
                      </a:lnTo>
                      <a:lnTo>
                        <a:pt x="180" y="1351"/>
                      </a:lnTo>
                      <a:lnTo>
                        <a:pt x="197" y="1356"/>
                      </a:lnTo>
                      <a:lnTo>
                        <a:pt x="211" y="1365"/>
                      </a:lnTo>
                      <a:lnTo>
                        <a:pt x="220" y="1367"/>
                      </a:lnTo>
                      <a:lnTo>
                        <a:pt x="229" y="1368"/>
                      </a:lnTo>
                      <a:lnTo>
                        <a:pt x="243" y="1359"/>
                      </a:lnTo>
                      <a:lnTo>
                        <a:pt x="249" y="1347"/>
                      </a:lnTo>
                      <a:lnTo>
                        <a:pt x="258" y="1357"/>
                      </a:lnTo>
                      <a:lnTo>
                        <a:pt x="273" y="1356"/>
                      </a:lnTo>
                      <a:lnTo>
                        <a:pt x="281" y="1340"/>
                      </a:lnTo>
                      <a:lnTo>
                        <a:pt x="258" y="1333"/>
                      </a:lnTo>
                      <a:lnTo>
                        <a:pt x="235" y="1316"/>
                      </a:lnTo>
                      <a:close/>
                    </a:path>
                  </a:pathLst>
                </a:custGeom>
                <a:solidFill>
                  <a:srgbClr val="D9D9D9"/>
                </a:solidFill>
                <a:ln w="4763"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1000"/>
                </a:p>
              </p:txBody>
            </p:sp>
            <p:sp>
              <p:nvSpPr>
                <p:cNvPr id="41" name="North America" descr="{&quot;Key&quot;:&quot;north america&quot;,&quot;Name&quot;:&quot;North America&quot;,&quot;Value&quot;:1.0,&quot;Formula&quot;:&quot;&quot;,&quot;Text&quot;:&quot;1&quot;,&quot;HasValue&quot;:true}">
                  <a:extLst>
                    <a:ext uri="{FF2B5EF4-FFF2-40B4-BE49-F238E27FC236}">
                      <a16:creationId xmlns:a16="http://schemas.microsoft.com/office/drawing/2014/main" id="{5095FD9C-0077-6750-1420-DC60A76654E8}"/>
                    </a:ext>
                  </a:extLst>
                </p:cNvPr>
                <p:cNvSpPr>
                  <a:spLocks noEditPoints="1"/>
                </p:cNvSpPr>
                <p:nvPr/>
              </p:nvSpPr>
              <p:spPr bwMode="auto">
                <a:xfrm>
                  <a:off x="1691" y="0"/>
                  <a:ext cx="2706" cy="2726"/>
                </a:xfrm>
                <a:custGeom>
                  <a:avLst/>
                  <a:gdLst>
                    <a:gd name="T0" fmla="*/ 1683 w 2706"/>
                    <a:gd name="T1" fmla="*/ 2540 h 2726"/>
                    <a:gd name="T2" fmla="*/ 1581 w 2706"/>
                    <a:gd name="T3" fmla="*/ 2420 h 2726"/>
                    <a:gd name="T4" fmla="*/ 1515 w 2706"/>
                    <a:gd name="T5" fmla="*/ 2443 h 2726"/>
                    <a:gd name="T6" fmla="*/ 1578 w 2706"/>
                    <a:gd name="T7" fmla="*/ 2503 h 2726"/>
                    <a:gd name="T8" fmla="*/ 198 w 2706"/>
                    <a:gd name="T9" fmla="*/ 2469 h 2726"/>
                    <a:gd name="T10" fmla="*/ 221 w 2706"/>
                    <a:gd name="T11" fmla="*/ 2484 h 2726"/>
                    <a:gd name="T12" fmla="*/ 867 w 2706"/>
                    <a:gd name="T13" fmla="*/ 670 h 2726"/>
                    <a:gd name="T14" fmla="*/ 931 w 2706"/>
                    <a:gd name="T15" fmla="*/ 749 h 2726"/>
                    <a:gd name="T16" fmla="*/ 1971 w 2706"/>
                    <a:gd name="T17" fmla="*/ 1874 h 2726"/>
                    <a:gd name="T18" fmla="*/ 1996 w 2706"/>
                    <a:gd name="T19" fmla="*/ 1943 h 2726"/>
                    <a:gd name="T20" fmla="*/ 238 w 2706"/>
                    <a:gd name="T21" fmla="*/ 2520 h 2726"/>
                    <a:gd name="T22" fmla="*/ 2367 w 2706"/>
                    <a:gd name="T23" fmla="*/ 203 h 2726"/>
                    <a:gd name="T24" fmla="*/ 1792 w 2706"/>
                    <a:gd name="T25" fmla="*/ 474 h 2726"/>
                    <a:gd name="T26" fmla="*/ 2032 w 2706"/>
                    <a:gd name="T27" fmla="*/ 1111 h 2726"/>
                    <a:gd name="T28" fmla="*/ 2178 w 2706"/>
                    <a:gd name="T29" fmla="*/ 1516 h 2726"/>
                    <a:gd name="T30" fmla="*/ 2535 w 2706"/>
                    <a:gd name="T31" fmla="*/ 1064 h 2726"/>
                    <a:gd name="T32" fmla="*/ 2635 w 2706"/>
                    <a:gd name="T33" fmla="*/ 391 h 2726"/>
                    <a:gd name="T34" fmla="*/ 635 w 2706"/>
                    <a:gd name="T35" fmla="*/ 1771 h 2726"/>
                    <a:gd name="T36" fmla="*/ 1865 w 2706"/>
                    <a:gd name="T37" fmla="*/ 1977 h 2726"/>
                    <a:gd name="T38" fmla="*/ 1672 w 2706"/>
                    <a:gd name="T39" fmla="*/ 2071 h 2726"/>
                    <a:gd name="T40" fmla="*/ 1598 w 2706"/>
                    <a:gd name="T41" fmla="*/ 2129 h 2726"/>
                    <a:gd name="T42" fmla="*/ 1537 w 2706"/>
                    <a:gd name="T43" fmla="*/ 2392 h 2726"/>
                    <a:gd name="T44" fmla="*/ 1377 w 2706"/>
                    <a:gd name="T45" fmla="*/ 2327 h 2726"/>
                    <a:gd name="T46" fmla="*/ 1235 w 2706"/>
                    <a:gd name="T47" fmla="*/ 2464 h 2726"/>
                    <a:gd name="T48" fmla="*/ 1411 w 2706"/>
                    <a:gd name="T49" fmla="*/ 2509 h 2726"/>
                    <a:gd name="T50" fmla="*/ 1420 w 2706"/>
                    <a:gd name="T51" fmla="*/ 2576 h 2726"/>
                    <a:gd name="T52" fmla="*/ 1477 w 2706"/>
                    <a:gd name="T53" fmla="*/ 2649 h 2726"/>
                    <a:gd name="T54" fmla="*/ 1584 w 2706"/>
                    <a:gd name="T55" fmla="*/ 2718 h 2726"/>
                    <a:gd name="T56" fmla="*/ 1491 w 2706"/>
                    <a:gd name="T57" fmla="*/ 2707 h 2726"/>
                    <a:gd name="T58" fmla="*/ 1416 w 2706"/>
                    <a:gd name="T59" fmla="*/ 2635 h 2726"/>
                    <a:gd name="T60" fmla="*/ 1230 w 2706"/>
                    <a:gd name="T61" fmla="*/ 2570 h 2726"/>
                    <a:gd name="T62" fmla="*/ 1035 w 2706"/>
                    <a:gd name="T63" fmla="*/ 2380 h 2726"/>
                    <a:gd name="T64" fmla="*/ 982 w 2706"/>
                    <a:gd name="T65" fmla="*/ 2358 h 2726"/>
                    <a:gd name="T66" fmla="*/ 937 w 2706"/>
                    <a:gd name="T67" fmla="*/ 2355 h 2726"/>
                    <a:gd name="T68" fmla="*/ 801 w 2706"/>
                    <a:gd name="T69" fmla="*/ 2141 h 2726"/>
                    <a:gd name="T70" fmla="*/ 716 w 2706"/>
                    <a:gd name="T71" fmla="*/ 1792 h 2726"/>
                    <a:gd name="T72" fmla="*/ 305 w 2706"/>
                    <a:gd name="T73" fmla="*/ 1583 h 2726"/>
                    <a:gd name="T74" fmla="*/ 132 w 2706"/>
                    <a:gd name="T75" fmla="*/ 1688 h 2726"/>
                    <a:gd name="T76" fmla="*/ 64 w 2706"/>
                    <a:gd name="T77" fmla="*/ 1480 h 2726"/>
                    <a:gd name="T78" fmla="*/ 121 w 2706"/>
                    <a:gd name="T79" fmla="*/ 1294 h 2726"/>
                    <a:gd name="T80" fmla="*/ 446 w 2706"/>
                    <a:gd name="T81" fmla="*/ 1135 h 2726"/>
                    <a:gd name="T82" fmla="*/ 933 w 2706"/>
                    <a:gd name="T83" fmla="*/ 1196 h 2726"/>
                    <a:gd name="T84" fmla="*/ 1295 w 2706"/>
                    <a:gd name="T85" fmla="*/ 1187 h 2726"/>
                    <a:gd name="T86" fmla="*/ 1515 w 2706"/>
                    <a:gd name="T87" fmla="*/ 1278 h 2726"/>
                    <a:gd name="T88" fmla="*/ 1453 w 2706"/>
                    <a:gd name="T89" fmla="*/ 1706 h 2726"/>
                    <a:gd name="T90" fmla="*/ 1661 w 2706"/>
                    <a:gd name="T91" fmla="*/ 1480 h 2726"/>
                    <a:gd name="T92" fmla="*/ 1933 w 2706"/>
                    <a:gd name="T93" fmla="*/ 1819 h 2726"/>
                    <a:gd name="T94" fmla="*/ 1215 w 2706"/>
                    <a:gd name="T95" fmla="*/ 1156 h 2726"/>
                    <a:gd name="T96" fmla="*/ 1546 w 2706"/>
                    <a:gd name="T97" fmla="*/ 1496 h 2726"/>
                    <a:gd name="T98" fmla="*/ 1063 w 2706"/>
                    <a:gd name="T99" fmla="*/ 1032 h 2726"/>
                    <a:gd name="T100" fmla="*/ 934 w 2706"/>
                    <a:gd name="T101" fmla="*/ 1178 h 2726"/>
                    <a:gd name="T102" fmla="*/ 1431 w 2706"/>
                    <a:gd name="T103" fmla="*/ 1407 h 2726"/>
                    <a:gd name="T104" fmla="*/ 1408 w 2706"/>
                    <a:gd name="T105" fmla="*/ 633 h 2726"/>
                    <a:gd name="T106" fmla="*/ 1749 w 2706"/>
                    <a:gd name="T107" fmla="*/ 355 h 2726"/>
                    <a:gd name="T108" fmla="*/ 1344 w 2706"/>
                    <a:gd name="T109" fmla="*/ 281 h 2726"/>
                    <a:gd name="T110" fmla="*/ 1439 w 2706"/>
                    <a:gd name="T111" fmla="*/ 930 h 2726"/>
                    <a:gd name="T112" fmla="*/ 1607 w 2706"/>
                    <a:gd name="T113" fmla="*/ 1354 h 2726"/>
                    <a:gd name="T114" fmla="*/ 1795 w 2706"/>
                    <a:gd name="T115" fmla="*/ 1350 h 2726"/>
                    <a:gd name="T116" fmla="*/ 1118 w 2706"/>
                    <a:gd name="T117" fmla="*/ 953 h 2726"/>
                    <a:gd name="T118" fmla="*/ 1525 w 2706"/>
                    <a:gd name="T119" fmla="*/ 958 h 2726"/>
                    <a:gd name="T120" fmla="*/ 1299 w 2706"/>
                    <a:gd name="T121" fmla="*/ 566 h 2726"/>
                    <a:gd name="T122" fmla="*/ 1273 w 2706"/>
                    <a:gd name="T123" fmla="*/ 925 h 2726"/>
                    <a:gd name="T124" fmla="*/ 1532 w 2706"/>
                    <a:gd name="T125" fmla="*/ 876 h 2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06" h="2726">
                      <a:moveTo>
                        <a:pt x="1724" y="2518"/>
                      </a:moveTo>
                      <a:lnTo>
                        <a:pt x="1726" y="2512"/>
                      </a:lnTo>
                      <a:lnTo>
                        <a:pt x="1716" y="2512"/>
                      </a:lnTo>
                      <a:lnTo>
                        <a:pt x="1712" y="2506"/>
                      </a:lnTo>
                      <a:lnTo>
                        <a:pt x="1709" y="2506"/>
                      </a:lnTo>
                      <a:lnTo>
                        <a:pt x="1698" y="2501"/>
                      </a:lnTo>
                      <a:lnTo>
                        <a:pt x="1684" y="2501"/>
                      </a:lnTo>
                      <a:lnTo>
                        <a:pt x="1683" y="2504"/>
                      </a:lnTo>
                      <a:lnTo>
                        <a:pt x="1667" y="2501"/>
                      </a:lnTo>
                      <a:lnTo>
                        <a:pt x="1657" y="2501"/>
                      </a:lnTo>
                      <a:lnTo>
                        <a:pt x="1653" y="2506"/>
                      </a:lnTo>
                      <a:lnTo>
                        <a:pt x="1664" y="2509"/>
                      </a:lnTo>
                      <a:lnTo>
                        <a:pt x="1664" y="2517"/>
                      </a:lnTo>
                      <a:lnTo>
                        <a:pt x="1672" y="2524"/>
                      </a:lnTo>
                      <a:lnTo>
                        <a:pt x="1666" y="2527"/>
                      </a:lnTo>
                      <a:lnTo>
                        <a:pt x="1652" y="2526"/>
                      </a:lnTo>
                      <a:lnTo>
                        <a:pt x="1637" y="2524"/>
                      </a:lnTo>
                      <a:lnTo>
                        <a:pt x="1635" y="2530"/>
                      </a:lnTo>
                      <a:lnTo>
                        <a:pt x="1644" y="2535"/>
                      </a:lnTo>
                      <a:lnTo>
                        <a:pt x="1652" y="2532"/>
                      </a:lnTo>
                      <a:lnTo>
                        <a:pt x="1663" y="2533"/>
                      </a:lnTo>
                      <a:lnTo>
                        <a:pt x="1670" y="2532"/>
                      </a:lnTo>
                      <a:lnTo>
                        <a:pt x="1683" y="2535"/>
                      </a:lnTo>
                      <a:lnTo>
                        <a:pt x="1683" y="2540"/>
                      </a:lnTo>
                      <a:lnTo>
                        <a:pt x="1687" y="2543"/>
                      </a:lnTo>
                      <a:lnTo>
                        <a:pt x="1695" y="2530"/>
                      </a:lnTo>
                      <a:lnTo>
                        <a:pt x="1699" y="2527"/>
                      </a:lnTo>
                      <a:lnTo>
                        <a:pt x="1703" y="2532"/>
                      </a:lnTo>
                      <a:lnTo>
                        <a:pt x="1709" y="2532"/>
                      </a:lnTo>
                      <a:lnTo>
                        <a:pt x="1712" y="2527"/>
                      </a:lnTo>
                      <a:lnTo>
                        <a:pt x="1718" y="2529"/>
                      </a:lnTo>
                      <a:lnTo>
                        <a:pt x="1726" y="2529"/>
                      </a:lnTo>
                      <a:lnTo>
                        <a:pt x="1735" y="2532"/>
                      </a:lnTo>
                      <a:lnTo>
                        <a:pt x="1741" y="2524"/>
                      </a:lnTo>
                      <a:lnTo>
                        <a:pt x="1732" y="2518"/>
                      </a:lnTo>
                      <a:lnTo>
                        <a:pt x="1724" y="2518"/>
                      </a:lnTo>
                      <a:close/>
                      <a:moveTo>
                        <a:pt x="1566" y="2370"/>
                      </a:moveTo>
                      <a:lnTo>
                        <a:pt x="1557" y="2372"/>
                      </a:lnTo>
                      <a:lnTo>
                        <a:pt x="1558" y="2380"/>
                      </a:lnTo>
                      <a:lnTo>
                        <a:pt x="1577" y="2377"/>
                      </a:lnTo>
                      <a:lnTo>
                        <a:pt x="1577" y="2372"/>
                      </a:lnTo>
                      <a:lnTo>
                        <a:pt x="1566" y="2370"/>
                      </a:lnTo>
                      <a:close/>
                      <a:moveTo>
                        <a:pt x="1571" y="2403"/>
                      </a:moveTo>
                      <a:lnTo>
                        <a:pt x="1568" y="2415"/>
                      </a:lnTo>
                      <a:lnTo>
                        <a:pt x="1574" y="2420"/>
                      </a:lnTo>
                      <a:lnTo>
                        <a:pt x="1578" y="2430"/>
                      </a:lnTo>
                      <a:lnTo>
                        <a:pt x="1581" y="2430"/>
                      </a:lnTo>
                      <a:lnTo>
                        <a:pt x="1581" y="2420"/>
                      </a:lnTo>
                      <a:lnTo>
                        <a:pt x="1575" y="2404"/>
                      </a:lnTo>
                      <a:lnTo>
                        <a:pt x="1571" y="2403"/>
                      </a:lnTo>
                      <a:close/>
                      <a:moveTo>
                        <a:pt x="1776" y="2527"/>
                      </a:moveTo>
                      <a:lnTo>
                        <a:pt x="1761" y="2526"/>
                      </a:lnTo>
                      <a:lnTo>
                        <a:pt x="1759" y="2529"/>
                      </a:lnTo>
                      <a:lnTo>
                        <a:pt x="1761" y="2537"/>
                      </a:lnTo>
                      <a:lnTo>
                        <a:pt x="1770" y="2537"/>
                      </a:lnTo>
                      <a:lnTo>
                        <a:pt x="1784" y="2537"/>
                      </a:lnTo>
                      <a:lnTo>
                        <a:pt x="1787" y="2532"/>
                      </a:lnTo>
                      <a:lnTo>
                        <a:pt x="1784" y="2529"/>
                      </a:lnTo>
                      <a:lnTo>
                        <a:pt x="1776" y="2527"/>
                      </a:lnTo>
                      <a:close/>
                      <a:moveTo>
                        <a:pt x="1640" y="2495"/>
                      </a:moveTo>
                      <a:lnTo>
                        <a:pt x="1627" y="2487"/>
                      </a:lnTo>
                      <a:lnTo>
                        <a:pt x="1614" y="2486"/>
                      </a:lnTo>
                      <a:lnTo>
                        <a:pt x="1615" y="2481"/>
                      </a:lnTo>
                      <a:lnTo>
                        <a:pt x="1604" y="2477"/>
                      </a:lnTo>
                      <a:lnTo>
                        <a:pt x="1600" y="2478"/>
                      </a:lnTo>
                      <a:lnTo>
                        <a:pt x="1589" y="2469"/>
                      </a:lnTo>
                      <a:lnTo>
                        <a:pt x="1574" y="2458"/>
                      </a:lnTo>
                      <a:lnTo>
                        <a:pt x="1568" y="2454"/>
                      </a:lnTo>
                      <a:lnTo>
                        <a:pt x="1552" y="2455"/>
                      </a:lnTo>
                      <a:lnTo>
                        <a:pt x="1545" y="2449"/>
                      </a:lnTo>
                      <a:lnTo>
                        <a:pt x="1529" y="2443"/>
                      </a:lnTo>
                      <a:lnTo>
                        <a:pt x="1515" y="2443"/>
                      </a:lnTo>
                      <a:lnTo>
                        <a:pt x="1500" y="2441"/>
                      </a:lnTo>
                      <a:lnTo>
                        <a:pt x="1497" y="2443"/>
                      </a:lnTo>
                      <a:lnTo>
                        <a:pt x="1483" y="2444"/>
                      </a:lnTo>
                      <a:lnTo>
                        <a:pt x="1474" y="2449"/>
                      </a:lnTo>
                      <a:lnTo>
                        <a:pt x="1466" y="2452"/>
                      </a:lnTo>
                      <a:lnTo>
                        <a:pt x="1463" y="2460"/>
                      </a:lnTo>
                      <a:lnTo>
                        <a:pt x="1454" y="2464"/>
                      </a:lnTo>
                      <a:lnTo>
                        <a:pt x="1462" y="2466"/>
                      </a:lnTo>
                      <a:lnTo>
                        <a:pt x="1469" y="2464"/>
                      </a:lnTo>
                      <a:lnTo>
                        <a:pt x="1472" y="2460"/>
                      </a:lnTo>
                      <a:lnTo>
                        <a:pt x="1480" y="2460"/>
                      </a:lnTo>
                      <a:lnTo>
                        <a:pt x="1492" y="2450"/>
                      </a:lnTo>
                      <a:lnTo>
                        <a:pt x="1509" y="2450"/>
                      </a:lnTo>
                      <a:lnTo>
                        <a:pt x="1502" y="2455"/>
                      </a:lnTo>
                      <a:lnTo>
                        <a:pt x="1508" y="2460"/>
                      </a:lnTo>
                      <a:lnTo>
                        <a:pt x="1531" y="2463"/>
                      </a:lnTo>
                      <a:lnTo>
                        <a:pt x="1535" y="2466"/>
                      </a:lnTo>
                      <a:lnTo>
                        <a:pt x="1552" y="2470"/>
                      </a:lnTo>
                      <a:lnTo>
                        <a:pt x="1561" y="2470"/>
                      </a:lnTo>
                      <a:lnTo>
                        <a:pt x="1566" y="2481"/>
                      </a:lnTo>
                      <a:lnTo>
                        <a:pt x="1572" y="2486"/>
                      </a:lnTo>
                      <a:lnTo>
                        <a:pt x="1583" y="2487"/>
                      </a:lnTo>
                      <a:lnTo>
                        <a:pt x="1589" y="2492"/>
                      </a:lnTo>
                      <a:lnTo>
                        <a:pt x="1578" y="2503"/>
                      </a:lnTo>
                      <a:lnTo>
                        <a:pt x="1603" y="2500"/>
                      </a:lnTo>
                      <a:lnTo>
                        <a:pt x="1615" y="2501"/>
                      </a:lnTo>
                      <a:lnTo>
                        <a:pt x="1626" y="2501"/>
                      </a:lnTo>
                      <a:lnTo>
                        <a:pt x="1638" y="2498"/>
                      </a:lnTo>
                      <a:lnTo>
                        <a:pt x="1640" y="2495"/>
                      </a:lnTo>
                      <a:close/>
                      <a:moveTo>
                        <a:pt x="1594" y="2529"/>
                      </a:moveTo>
                      <a:lnTo>
                        <a:pt x="1581" y="2527"/>
                      </a:lnTo>
                      <a:lnTo>
                        <a:pt x="1577" y="2526"/>
                      </a:lnTo>
                      <a:lnTo>
                        <a:pt x="1571" y="2527"/>
                      </a:lnTo>
                      <a:lnTo>
                        <a:pt x="1568" y="2532"/>
                      </a:lnTo>
                      <a:lnTo>
                        <a:pt x="1578" y="2538"/>
                      </a:lnTo>
                      <a:lnTo>
                        <a:pt x="1588" y="2541"/>
                      </a:lnTo>
                      <a:lnTo>
                        <a:pt x="1592" y="2538"/>
                      </a:lnTo>
                      <a:lnTo>
                        <a:pt x="1604" y="2538"/>
                      </a:lnTo>
                      <a:lnTo>
                        <a:pt x="1603" y="2533"/>
                      </a:lnTo>
                      <a:lnTo>
                        <a:pt x="1594" y="2529"/>
                      </a:lnTo>
                      <a:close/>
                      <a:moveTo>
                        <a:pt x="1588" y="2390"/>
                      </a:moveTo>
                      <a:lnTo>
                        <a:pt x="1591" y="2377"/>
                      </a:lnTo>
                      <a:lnTo>
                        <a:pt x="1578" y="2367"/>
                      </a:lnTo>
                      <a:lnTo>
                        <a:pt x="1578" y="2370"/>
                      </a:lnTo>
                      <a:lnTo>
                        <a:pt x="1586" y="2378"/>
                      </a:lnTo>
                      <a:lnTo>
                        <a:pt x="1584" y="2387"/>
                      </a:lnTo>
                      <a:lnTo>
                        <a:pt x="1588" y="2390"/>
                      </a:lnTo>
                      <a:close/>
                      <a:moveTo>
                        <a:pt x="198" y="2469"/>
                      </a:moveTo>
                      <a:lnTo>
                        <a:pt x="193" y="2470"/>
                      </a:lnTo>
                      <a:lnTo>
                        <a:pt x="193" y="2472"/>
                      </a:lnTo>
                      <a:lnTo>
                        <a:pt x="196" y="2475"/>
                      </a:lnTo>
                      <a:lnTo>
                        <a:pt x="201" y="2477"/>
                      </a:lnTo>
                      <a:lnTo>
                        <a:pt x="202" y="2477"/>
                      </a:lnTo>
                      <a:lnTo>
                        <a:pt x="204" y="2475"/>
                      </a:lnTo>
                      <a:lnTo>
                        <a:pt x="199" y="2469"/>
                      </a:lnTo>
                      <a:lnTo>
                        <a:pt x="198" y="2469"/>
                      </a:lnTo>
                      <a:close/>
                      <a:moveTo>
                        <a:pt x="170" y="2458"/>
                      </a:moveTo>
                      <a:lnTo>
                        <a:pt x="167" y="2460"/>
                      </a:lnTo>
                      <a:lnTo>
                        <a:pt x="167" y="2461"/>
                      </a:lnTo>
                      <a:lnTo>
                        <a:pt x="173" y="2466"/>
                      </a:lnTo>
                      <a:lnTo>
                        <a:pt x="175" y="2463"/>
                      </a:lnTo>
                      <a:lnTo>
                        <a:pt x="175" y="2460"/>
                      </a:lnTo>
                      <a:lnTo>
                        <a:pt x="170" y="2458"/>
                      </a:lnTo>
                      <a:close/>
                      <a:moveTo>
                        <a:pt x="210" y="2480"/>
                      </a:moveTo>
                      <a:lnTo>
                        <a:pt x="219" y="2480"/>
                      </a:lnTo>
                      <a:lnTo>
                        <a:pt x="219" y="2478"/>
                      </a:lnTo>
                      <a:lnTo>
                        <a:pt x="210" y="2477"/>
                      </a:lnTo>
                      <a:lnTo>
                        <a:pt x="210" y="2480"/>
                      </a:lnTo>
                      <a:close/>
                      <a:moveTo>
                        <a:pt x="229" y="2483"/>
                      </a:moveTo>
                      <a:lnTo>
                        <a:pt x="222" y="2481"/>
                      </a:lnTo>
                      <a:lnTo>
                        <a:pt x="219" y="2483"/>
                      </a:lnTo>
                      <a:lnTo>
                        <a:pt x="221" y="2484"/>
                      </a:lnTo>
                      <a:lnTo>
                        <a:pt x="222" y="2486"/>
                      </a:lnTo>
                      <a:lnTo>
                        <a:pt x="225" y="2489"/>
                      </a:lnTo>
                      <a:lnTo>
                        <a:pt x="232" y="2487"/>
                      </a:lnTo>
                      <a:lnTo>
                        <a:pt x="232" y="2486"/>
                      </a:lnTo>
                      <a:lnTo>
                        <a:pt x="229" y="2483"/>
                      </a:lnTo>
                      <a:close/>
                      <a:moveTo>
                        <a:pt x="52" y="1540"/>
                      </a:moveTo>
                      <a:lnTo>
                        <a:pt x="35" y="1547"/>
                      </a:lnTo>
                      <a:lnTo>
                        <a:pt x="46" y="1556"/>
                      </a:lnTo>
                      <a:lnTo>
                        <a:pt x="57" y="1562"/>
                      </a:lnTo>
                      <a:lnTo>
                        <a:pt x="67" y="1557"/>
                      </a:lnTo>
                      <a:lnTo>
                        <a:pt x="66" y="1543"/>
                      </a:lnTo>
                      <a:lnTo>
                        <a:pt x="52" y="1540"/>
                      </a:lnTo>
                      <a:close/>
                      <a:moveTo>
                        <a:pt x="0" y="1447"/>
                      </a:moveTo>
                      <a:lnTo>
                        <a:pt x="12" y="1439"/>
                      </a:lnTo>
                      <a:lnTo>
                        <a:pt x="14" y="1434"/>
                      </a:lnTo>
                      <a:lnTo>
                        <a:pt x="0" y="1430"/>
                      </a:lnTo>
                      <a:lnTo>
                        <a:pt x="0" y="1447"/>
                      </a:lnTo>
                      <a:close/>
                      <a:moveTo>
                        <a:pt x="853" y="781"/>
                      </a:moveTo>
                      <a:lnTo>
                        <a:pt x="885" y="749"/>
                      </a:lnTo>
                      <a:lnTo>
                        <a:pt x="902" y="746"/>
                      </a:lnTo>
                      <a:lnTo>
                        <a:pt x="914" y="719"/>
                      </a:lnTo>
                      <a:lnTo>
                        <a:pt x="917" y="660"/>
                      </a:lnTo>
                      <a:lnTo>
                        <a:pt x="893" y="672"/>
                      </a:lnTo>
                      <a:lnTo>
                        <a:pt x="867" y="670"/>
                      </a:lnTo>
                      <a:lnTo>
                        <a:pt x="831" y="721"/>
                      </a:lnTo>
                      <a:lnTo>
                        <a:pt x="802" y="776"/>
                      </a:lnTo>
                      <a:lnTo>
                        <a:pt x="825" y="792"/>
                      </a:lnTo>
                      <a:lnTo>
                        <a:pt x="853" y="781"/>
                      </a:lnTo>
                      <a:close/>
                      <a:moveTo>
                        <a:pt x="891" y="838"/>
                      </a:moveTo>
                      <a:lnTo>
                        <a:pt x="916" y="850"/>
                      </a:lnTo>
                      <a:lnTo>
                        <a:pt x="992" y="842"/>
                      </a:lnTo>
                      <a:lnTo>
                        <a:pt x="957" y="872"/>
                      </a:lnTo>
                      <a:lnTo>
                        <a:pt x="959" y="892"/>
                      </a:lnTo>
                      <a:lnTo>
                        <a:pt x="985" y="892"/>
                      </a:lnTo>
                      <a:lnTo>
                        <a:pt x="1029" y="862"/>
                      </a:lnTo>
                      <a:lnTo>
                        <a:pt x="1087" y="853"/>
                      </a:lnTo>
                      <a:lnTo>
                        <a:pt x="1098" y="821"/>
                      </a:lnTo>
                      <a:lnTo>
                        <a:pt x="1095" y="786"/>
                      </a:lnTo>
                      <a:lnTo>
                        <a:pt x="1077" y="783"/>
                      </a:lnTo>
                      <a:lnTo>
                        <a:pt x="1061" y="795"/>
                      </a:lnTo>
                      <a:lnTo>
                        <a:pt x="1054" y="770"/>
                      </a:lnTo>
                      <a:lnTo>
                        <a:pt x="1049" y="735"/>
                      </a:lnTo>
                      <a:lnTo>
                        <a:pt x="1031" y="726"/>
                      </a:lnTo>
                      <a:lnTo>
                        <a:pt x="1015" y="753"/>
                      </a:lnTo>
                      <a:lnTo>
                        <a:pt x="1040" y="821"/>
                      </a:lnTo>
                      <a:lnTo>
                        <a:pt x="1009" y="816"/>
                      </a:lnTo>
                      <a:lnTo>
                        <a:pt x="979" y="773"/>
                      </a:lnTo>
                      <a:lnTo>
                        <a:pt x="931" y="749"/>
                      </a:lnTo>
                      <a:lnTo>
                        <a:pt x="914" y="770"/>
                      </a:lnTo>
                      <a:lnTo>
                        <a:pt x="891" y="838"/>
                      </a:lnTo>
                      <a:close/>
                      <a:moveTo>
                        <a:pt x="798" y="1095"/>
                      </a:moveTo>
                      <a:lnTo>
                        <a:pt x="844" y="1068"/>
                      </a:lnTo>
                      <a:lnTo>
                        <a:pt x="844" y="1045"/>
                      </a:lnTo>
                      <a:lnTo>
                        <a:pt x="865" y="1005"/>
                      </a:lnTo>
                      <a:lnTo>
                        <a:pt x="906" y="965"/>
                      </a:lnTo>
                      <a:lnTo>
                        <a:pt x="930" y="950"/>
                      </a:lnTo>
                      <a:lnTo>
                        <a:pt x="910" y="924"/>
                      </a:lnTo>
                      <a:lnTo>
                        <a:pt x="894" y="905"/>
                      </a:lnTo>
                      <a:lnTo>
                        <a:pt x="850" y="902"/>
                      </a:lnTo>
                      <a:lnTo>
                        <a:pt x="825" y="889"/>
                      </a:lnTo>
                      <a:lnTo>
                        <a:pt x="767" y="899"/>
                      </a:lnTo>
                      <a:lnTo>
                        <a:pt x="784" y="938"/>
                      </a:lnTo>
                      <a:lnTo>
                        <a:pt x="768" y="976"/>
                      </a:lnTo>
                      <a:lnTo>
                        <a:pt x="758" y="1019"/>
                      </a:lnTo>
                      <a:lnTo>
                        <a:pt x="750" y="1042"/>
                      </a:lnTo>
                      <a:lnTo>
                        <a:pt x="790" y="1072"/>
                      </a:lnTo>
                      <a:lnTo>
                        <a:pt x="798" y="1095"/>
                      </a:lnTo>
                      <a:close/>
                      <a:moveTo>
                        <a:pt x="2003" y="1891"/>
                      </a:moveTo>
                      <a:lnTo>
                        <a:pt x="1991" y="1895"/>
                      </a:lnTo>
                      <a:lnTo>
                        <a:pt x="1996" y="1875"/>
                      </a:lnTo>
                      <a:lnTo>
                        <a:pt x="1979" y="1868"/>
                      </a:lnTo>
                      <a:lnTo>
                        <a:pt x="1971" y="1874"/>
                      </a:lnTo>
                      <a:lnTo>
                        <a:pt x="1956" y="1868"/>
                      </a:lnTo>
                      <a:lnTo>
                        <a:pt x="1962" y="1859"/>
                      </a:lnTo>
                      <a:lnTo>
                        <a:pt x="1950" y="1852"/>
                      </a:lnTo>
                      <a:lnTo>
                        <a:pt x="1939" y="1862"/>
                      </a:lnTo>
                      <a:lnTo>
                        <a:pt x="1950" y="1837"/>
                      </a:lnTo>
                      <a:lnTo>
                        <a:pt x="1959" y="1820"/>
                      </a:lnTo>
                      <a:lnTo>
                        <a:pt x="1963" y="1812"/>
                      </a:lnTo>
                      <a:lnTo>
                        <a:pt x="1954" y="1812"/>
                      </a:lnTo>
                      <a:lnTo>
                        <a:pt x="1940" y="1822"/>
                      </a:lnTo>
                      <a:lnTo>
                        <a:pt x="1930" y="1837"/>
                      </a:lnTo>
                      <a:lnTo>
                        <a:pt x="1911" y="1880"/>
                      </a:lnTo>
                      <a:lnTo>
                        <a:pt x="1897" y="1895"/>
                      </a:lnTo>
                      <a:lnTo>
                        <a:pt x="1905" y="1902"/>
                      </a:lnTo>
                      <a:lnTo>
                        <a:pt x="1894" y="1911"/>
                      </a:lnTo>
                      <a:lnTo>
                        <a:pt x="1896" y="1919"/>
                      </a:lnTo>
                      <a:lnTo>
                        <a:pt x="1930" y="1920"/>
                      </a:lnTo>
                      <a:lnTo>
                        <a:pt x="1948" y="1919"/>
                      </a:lnTo>
                      <a:lnTo>
                        <a:pt x="1965" y="1925"/>
                      </a:lnTo>
                      <a:lnTo>
                        <a:pt x="1953" y="1935"/>
                      </a:lnTo>
                      <a:lnTo>
                        <a:pt x="1963" y="1937"/>
                      </a:lnTo>
                      <a:lnTo>
                        <a:pt x="1983" y="1915"/>
                      </a:lnTo>
                      <a:lnTo>
                        <a:pt x="1988" y="1919"/>
                      </a:lnTo>
                      <a:lnTo>
                        <a:pt x="1983" y="1939"/>
                      </a:lnTo>
                      <a:lnTo>
                        <a:pt x="1996" y="1943"/>
                      </a:lnTo>
                      <a:lnTo>
                        <a:pt x="2003" y="1943"/>
                      </a:lnTo>
                      <a:lnTo>
                        <a:pt x="2011" y="1920"/>
                      </a:lnTo>
                      <a:lnTo>
                        <a:pt x="2005" y="1905"/>
                      </a:lnTo>
                      <a:lnTo>
                        <a:pt x="2003" y="1891"/>
                      </a:lnTo>
                      <a:close/>
                      <a:moveTo>
                        <a:pt x="1821" y="1945"/>
                      </a:moveTo>
                      <a:lnTo>
                        <a:pt x="1815" y="1932"/>
                      </a:lnTo>
                      <a:lnTo>
                        <a:pt x="1808" y="1940"/>
                      </a:lnTo>
                      <a:lnTo>
                        <a:pt x="1813" y="1949"/>
                      </a:lnTo>
                      <a:lnTo>
                        <a:pt x="1834" y="1960"/>
                      </a:lnTo>
                      <a:lnTo>
                        <a:pt x="1841" y="1959"/>
                      </a:lnTo>
                      <a:lnTo>
                        <a:pt x="1850" y="1948"/>
                      </a:lnTo>
                      <a:lnTo>
                        <a:pt x="1833" y="1949"/>
                      </a:lnTo>
                      <a:lnTo>
                        <a:pt x="1821" y="1945"/>
                      </a:lnTo>
                      <a:close/>
                      <a:moveTo>
                        <a:pt x="245" y="2500"/>
                      </a:moveTo>
                      <a:lnTo>
                        <a:pt x="242" y="2498"/>
                      </a:lnTo>
                      <a:lnTo>
                        <a:pt x="236" y="2495"/>
                      </a:lnTo>
                      <a:lnTo>
                        <a:pt x="235" y="2495"/>
                      </a:lnTo>
                      <a:lnTo>
                        <a:pt x="233" y="2497"/>
                      </a:lnTo>
                      <a:lnTo>
                        <a:pt x="235" y="2500"/>
                      </a:lnTo>
                      <a:lnTo>
                        <a:pt x="232" y="2503"/>
                      </a:lnTo>
                      <a:lnTo>
                        <a:pt x="232" y="2504"/>
                      </a:lnTo>
                      <a:lnTo>
                        <a:pt x="233" y="2512"/>
                      </a:lnTo>
                      <a:lnTo>
                        <a:pt x="233" y="2517"/>
                      </a:lnTo>
                      <a:lnTo>
                        <a:pt x="238" y="2520"/>
                      </a:lnTo>
                      <a:lnTo>
                        <a:pt x="241" y="2517"/>
                      </a:lnTo>
                      <a:lnTo>
                        <a:pt x="245" y="2513"/>
                      </a:lnTo>
                      <a:lnTo>
                        <a:pt x="253" y="2509"/>
                      </a:lnTo>
                      <a:lnTo>
                        <a:pt x="253" y="2509"/>
                      </a:lnTo>
                      <a:lnTo>
                        <a:pt x="248" y="2503"/>
                      </a:lnTo>
                      <a:lnTo>
                        <a:pt x="245" y="2500"/>
                      </a:lnTo>
                      <a:close/>
                      <a:moveTo>
                        <a:pt x="1853" y="1875"/>
                      </a:moveTo>
                      <a:lnTo>
                        <a:pt x="1834" y="1863"/>
                      </a:lnTo>
                      <a:lnTo>
                        <a:pt x="1811" y="1857"/>
                      </a:lnTo>
                      <a:lnTo>
                        <a:pt x="1805" y="1860"/>
                      </a:lnTo>
                      <a:lnTo>
                        <a:pt x="1822" y="1872"/>
                      </a:lnTo>
                      <a:lnTo>
                        <a:pt x="1844" y="1880"/>
                      </a:lnTo>
                      <a:lnTo>
                        <a:pt x="1853" y="1880"/>
                      </a:lnTo>
                      <a:lnTo>
                        <a:pt x="1853" y="1875"/>
                      </a:lnTo>
                      <a:close/>
                      <a:moveTo>
                        <a:pt x="2696" y="263"/>
                      </a:moveTo>
                      <a:lnTo>
                        <a:pt x="2644" y="238"/>
                      </a:lnTo>
                      <a:lnTo>
                        <a:pt x="2562" y="286"/>
                      </a:lnTo>
                      <a:lnTo>
                        <a:pt x="2517" y="327"/>
                      </a:lnTo>
                      <a:lnTo>
                        <a:pt x="2535" y="260"/>
                      </a:lnTo>
                      <a:lnTo>
                        <a:pt x="2522" y="217"/>
                      </a:lnTo>
                      <a:lnTo>
                        <a:pt x="2488" y="254"/>
                      </a:lnTo>
                      <a:lnTo>
                        <a:pt x="2437" y="212"/>
                      </a:lnTo>
                      <a:lnTo>
                        <a:pt x="2376" y="226"/>
                      </a:lnTo>
                      <a:lnTo>
                        <a:pt x="2367" y="203"/>
                      </a:lnTo>
                      <a:lnTo>
                        <a:pt x="2460" y="191"/>
                      </a:lnTo>
                      <a:lnTo>
                        <a:pt x="2526" y="185"/>
                      </a:lnTo>
                      <a:lnTo>
                        <a:pt x="2557" y="134"/>
                      </a:lnTo>
                      <a:lnTo>
                        <a:pt x="2450" y="20"/>
                      </a:lnTo>
                      <a:lnTo>
                        <a:pt x="2311" y="0"/>
                      </a:lnTo>
                      <a:lnTo>
                        <a:pt x="2252" y="15"/>
                      </a:lnTo>
                      <a:lnTo>
                        <a:pt x="2230" y="69"/>
                      </a:lnTo>
                      <a:lnTo>
                        <a:pt x="2169" y="63"/>
                      </a:lnTo>
                      <a:lnTo>
                        <a:pt x="2112" y="148"/>
                      </a:lnTo>
                      <a:lnTo>
                        <a:pt x="2109" y="203"/>
                      </a:lnTo>
                      <a:lnTo>
                        <a:pt x="2150" y="269"/>
                      </a:lnTo>
                      <a:lnTo>
                        <a:pt x="2114" y="229"/>
                      </a:lnTo>
                      <a:lnTo>
                        <a:pt x="2091" y="220"/>
                      </a:lnTo>
                      <a:lnTo>
                        <a:pt x="2049" y="172"/>
                      </a:lnTo>
                      <a:lnTo>
                        <a:pt x="2003" y="241"/>
                      </a:lnTo>
                      <a:lnTo>
                        <a:pt x="1985" y="203"/>
                      </a:lnTo>
                      <a:lnTo>
                        <a:pt x="1931" y="205"/>
                      </a:lnTo>
                      <a:lnTo>
                        <a:pt x="1879" y="224"/>
                      </a:lnTo>
                      <a:lnTo>
                        <a:pt x="1838" y="257"/>
                      </a:lnTo>
                      <a:lnTo>
                        <a:pt x="1845" y="309"/>
                      </a:lnTo>
                      <a:lnTo>
                        <a:pt x="1821" y="321"/>
                      </a:lnTo>
                      <a:lnTo>
                        <a:pt x="1761" y="397"/>
                      </a:lnTo>
                      <a:lnTo>
                        <a:pt x="1746" y="438"/>
                      </a:lnTo>
                      <a:lnTo>
                        <a:pt x="1792" y="474"/>
                      </a:lnTo>
                      <a:lnTo>
                        <a:pt x="1785" y="507"/>
                      </a:lnTo>
                      <a:lnTo>
                        <a:pt x="1723" y="552"/>
                      </a:lnTo>
                      <a:lnTo>
                        <a:pt x="1658" y="593"/>
                      </a:lnTo>
                      <a:lnTo>
                        <a:pt x="1655" y="627"/>
                      </a:lnTo>
                      <a:lnTo>
                        <a:pt x="1693" y="660"/>
                      </a:lnTo>
                      <a:lnTo>
                        <a:pt x="1767" y="681"/>
                      </a:lnTo>
                      <a:lnTo>
                        <a:pt x="1733" y="686"/>
                      </a:lnTo>
                      <a:lnTo>
                        <a:pt x="1687" y="709"/>
                      </a:lnTo>
                      <a:lnTo>
                        <a:pt x="1718" y="756"/>
                      </a:lnTo>
                      <a:lnTo>
                        <a:pt x="1738" y="779"/>
                      </a:lnTo>
                      <a:lnTo>
                        <a:pt x="1779" y="775"/>
                      </a:lnTo>
                      <a:lnTo>
                        <a:pt x="1825" y="772"/>
                      </a:lnTo>
                      <a:lnTo>
                        <a:pt x="1862" y="776"/>
                      </a:lnTo>
                      <a:lnTo>
                        <a:pt x="1908" y="818"/>
                      </a:lnTo>
                      <a:lnTo>
                        <a:pt x="1908" y="846"/>
                      </a:lnTo>
                      <a:lnTo>
                        <a:pt x="1930" y="872"/>
                      </a:lnTo>
                      <a:lnTo>
                        <a:pt x="1951" y="939"/>
                      </a:lnTo>
                      <a:lnTo>
                        <a:pt x="1965" y="981"/>
                      </a:lnTo>
                      <a:lnTo>
                        <a:pt x="1974" y="1002"/>
                      </a:lnTo>
                      <a:lnTo>
                        <a:pt x="1956" y="1055"/>
                      </a:lnTo>
                      <a:lnTo>
                        <a:pt x="1969" y="1068"/>
                      </a:lnTo>
                      <a:lnTo>
                        <a:pt x="1986" y="1061"/>
                      </a:lnTo>
                      <a:lnTo>
                        <a:pt x="2002" y="1079"/>
                      </a:lnTo>
                      <a:lnTo>
                        <a:pt x="2032" y="1111"/>
                      </a:lnTo>
                      <a:lnTo>
                        <a:pt x="1997" y="1098"/>
                      </a:lnTo>
                      <a:lnTo>
                        <a:pt x="1980" y="1099"/>
                      </a:lnTo>
                      <a:lnTo>
                        <a:pt x="1974" y="1127"/>
                      </a:lnTo>
                      <a:lnTo>
                        <a:pt x="1976" y="1161"/>
                      </a:lnTo>
                      <a:lnTo>
                        <a:pt x="1997" y="1176"/>
                      </a:lnTo>
                      <a:lnTo>
                        <a:pt x="2012" y="1170"/>
                      </a:lnTo>
                      <a:lnTo>
                        <a:pt x="2022" y="1162"/>
                      </a:lnTo>
                      <a:lnTo>
                        <a:pt x="2042" y="1145"/>
                      </a:lnTo>
                      <a:lnTo>
                        <a:pt x="2037" y="1184"/>
                      </a:lnTo>
                      <a:lnTo>
                        <a:pt x="2031" y="1204"/>
                      </a:lnTo>
                      <a:lnTo>
                        <a:pt x="2005" y="1221"/>
                      </a:lnTo>
                      <a:lnTo>
                        <a:pt x="1988" y="1274"/>
                      </a:lnTo>
                      <a:lnTo>
                        <a:pt x="1999" y="1290"/>
                      </a:lnTo>
                      <a:lnTo>
                        <a:pt x="1992" y="1322"/>
                      </a:lnTo>
                      <a:lnTo>
                        <a:pt x="2017" y="1361"/>
                      </a:lnTo>
                      <a:lnTo>
                        <a:pt x="2019" y="1396"/>
                      </a:lnTo>
                      <a:lnTo>
                        <a:pt x="2028" y="1422"/>
                      </a:lnTo>
                      <a:lnTo>
                        <a:pt x="2057" y="1470"/>
                      </a:lnTo>
                      <a:lnTo>
                        <a:pt x="2069" y="1505"/>
                      </a:lnTo>
                      <a:lnTo>
                        <a:pt x="2086" y="1523"/>
                      </a:lnTo>
                      <a:lnTo>
                        <a:pt x="2120" y="1525"/>
                      </a:lnTo>
                      <a:lnTo>
                        <a:pt x="2146" y="1553"/>
                      </a:lnTo>
                      <a:lnTo>
                        <a:pt x="2170" y="1551"/>
                      </a:lnTo>
                      <a:lnTo>
                        <a:pt x="2178" y="1516"/>
                      </a:lnTo>
                      <a:lnTo>
                        <a:pt x="2186" y="1487"/>
                      </a:lnTo>
                      <a:lnTo>
                        <a:pt x="2180" y="1457"/>
                      </a:lnTo>
                      <a:lnTo>
                        <a:pt x="2207" y="1427"/>
                      </a:lnTo>
                      <a:lnTo>
                        <a:pt x="2216" y="1402"/>
                      </a:lnTo>
                      <a:lnTo>
                        <a:pt x="2216" y="1374"/>
                      </a:lnTo>
                      <a:lnTo>
                        <a:pt x="2232" y="1348"/>
                      </a:lnTo>
                      <a:lnTo>
                        <a:pt x="2256" y="1339"/>
                      </a:lnTo>
                      <a:lnTo>
                        <a:pt x="2279" y="1328"/>
                      </a:lnTo>
                      <a:lnTo>
                        <a:pt x="2290" y="1327"/>
                      </a:lnTo>
                      <a:lnTo>
                        <a:pt x="2327" y="1296"/>
                      </a:lnTo>
                      <a:lnTo>
                        <a:pt x="2351" y="1250"/>
                      </a:lnTo>
                      <a:lnTo>
                        <a:pt x="2370" y="1231"/>
                      </a:lnTo>
                      <a:lnTo>
                        <a:pt x="2388" y="1231"/>
                      </a:lnTo>
                      <a:lnTo>
                        <a:pt x="2439" y="1216"/>
                      </a:lnTo>
                      <a:lnTo>
                        <a:pt x="2485" y="1178"/>
                      </a:lnTo>
                      <a:lnTo>
                        <a:pt x="2531" y="1135"/>
                      </a:lnTo>
                      <a:lnTo>
                        <a:pt x="2508" y="1131"/>
                      </a:lnTo>
                      <a:lnTo>
                        <a:pt x="2462" y="1130"/>
                      </a:lnTo>
                      <a:lnTo>
                        <a:pt x="2482" y="1102"/>
                      </a:lnTo>
                      <a:lnTo>
                        <a:pt x="2477" y="1067"/>
                      </a:lnTo>
                      <a:lnTo>
                        <a:pt x="2497" y="1098"/>
                      </a:lnTo>
                      <a:lnTo>
                        <a:pt x="2511" y="1118"/>
                      </a:lnTo>
                      <a:lnTo>
                        <a:pt x="2542" y="1107"/>
                      </a:lnTo>
                      <a:lnTo>
                        <a:pt x="2535" y="1064"/>
                      </a:lnTo>
                      <a:lnTo>
                        <a:pt x="2512" y="1030"/>
                      </a:lnTo>
                      <a:lnTo>
                        <a:pt x="2489" y="1016"/>
                      </a:lnTo>
                      <a:lnTo>
                        <a:pt x="2499" y="1001"/>
                      </a:lnTo>
                      <a:lnTo>
                        <a:pt x="2532" y="1025"/>
                      </a:lnTo>
                      <a:lnTo>
                        <a:pt x="2532" y="999"/>
                      </a:lnTo>
                      <a:lnTo>
                        <a:pt x="2511" y="959"/>
                      </a:lnTo>
                      <a:lnTo>
                        <a:pt x="2534" y="959"/>
                      </a:lnTo>
                      <a:lnTo>
                        <a:pt x="2558" y="950"/>
                      </a:lnTo>
                      <a:lnTo>
                        <a:pt x="2565" y="929"/>
                      </a:lnTo>
                      <a:lnTo>
                        <a:pt x="2545" y="902"/>
                      </a:lnTo>
                      <a:lnTo>
                        <a:pt x="2583" y="898"/>
                      </a:lnTo>
                      <a:lnTo>
                        <a:pt x="2560" y="842"/>
                      </a:lnTo>
                      <a:lnTo>
                        <a:pt x="2578" y="836"/>
                      </a:lnTo>
                      <a:lnTo>
                        <a:pt x="2575" y="776"/>
                      </a:lnTo>
                      <a:lnTo>
                        <a:pt x="2543" y="738"/>
                      </a:lnTo>
                      <a:lnTo>
                        <a:pt x="2571" y="715"/>
                      </a:lnTo>
                      <a:lnTo>
                        <a:pt x="2598" y="712"/>
                      </a:lnTo>
                      <a:lnTo>
                        <a:pt x="2577" y="660"/>
                      </a:lnTo>
                      <a:lnTo>
                        <a:pt x="2577" y="566"/>
                      </a:lnTo>
                      <a:lnTo>
                        <a:pt x="2591" y="507"/>
                      </a:lnTo>
                      <a:lnTo>
                        <a:pt x="2611" y="437"/>
                      </a:lnTo>
                      <a:lnTo>
                        <a:pt x="2571" y="432"/>
                      </a:lnTo>
                      <a:lnTo>
                        <a:pt x="2626" y="414"/>
                      </a:lnTo>
                      <a:lnTo>
                        <a:pt x="2635" y="391"/>
                      </a:lnTo>
                      <a:lnTo>
                        <a:pt x="2706" y="312"/>
                      </a:lnTo>
                      <a:lnTo>
                        <a:pt x="2696" y="263"/>
                      </a:lnTo>
                      <a:close/>
                      <a:moveTo>
                        <a:pt x="1020" y="655"/>
                      </a:moveTo>
                      <a:lnTo>
                        <a:pt x="1026" y="630"/>
                      </a:lnTo>
                      <a:lnTo>
                        <a:pt x="1002" y="618"/>
                      </a:lnTo>
                      <a:lnTo>
                        <a:pt x="977" y="626"/>
                      </a:lnTo>
                      <a:lnTo>
                        <a:pt x="963" y="652"/>
                      </a:lnTo>
                      <a:lnTo>
                        <a:pt x="988" y="678"/>
                      </a:lnTo>
                      <a:lnTo>
                        <a:pt x="1020" y="655"/>
                      </a:lnTo>
                      <a:close/>
                      <a:moveTo>
                        <a:pt x="279" y="1622"/>
                      </a:moveTo>
                      <a:lnTo>
                        <a:pt x="270" y="1626"/>
                      </a:lnTo>
                      <a:lnTo>
                        <a:pt x="255" y="1639"/>
                      </a:lnTo>
                      <a:lnTo>
                        <a:pt x="258" y="1653"/>
                      </a:lnTo>
                      <a:lnTo>
                        <a:pt x="267" y="1662"/>
                      </a:lnTo>
                      <a:lnTo>
                        <a:pt x="284" y="1650"/>
                      </a:lnTo>
                      <a:lnTo>
                        <a:pt x="299" y="1634"/>
                      </a:lnTo>
                      <a:lnTo>
                        <a:pt x="291" y="1625"/>
                      </a:lnTo>
                      <a:lnTo>
                        <a:pt x="279" y="1622"/>
                      </a:lnTo>
                      <a:close/>
                      <a:moveTo>
                        <a:pt x="649" y="1740"/>
                      </a:moveTo>
                      <a:lnTo>
                        <a:pt x="633" y="1743"/>
                      </a:lnTo>
                      <a:lnTo>
                        <a:pt x="624" y="1739"/>
                      </a:lnTo>
                      <a:lnTo>
                        <a:pt x="624" y="1748"/>
                      </a:lnTo>
                      <a:lnTo>
                        <a:pt x="627" y="1762"/>
                      </a:lnTo>
                      <a:lnTo>
                        <a:pt x="635" y="1771"/>
                      </a:lnTo>
                      <a:lnTo>
                        <a:pt x="643" y="1783"/>
                      </a:lnTo>
                      <a:lnTo>
                        <a:pt x="652" y="1797"/>
                      </a:lnTo>
                      <a:lnTo>
                        <a:pt x="660" y="1797"/>
                      </a:lnTo>
                      <a:lnTo>
                        <a:pt x="644" y="1774"/>
                      </a:lnTo>
                      <a:lnTo>
                        <a:pt x="649" y="1740"/>
                      </a:lnTo>
                      <a:close/>
                      <a:moveTo>
                        <a:pt x="791" y="1895"/>
                      </a:moveTo>
                      <a:lnTo>
                        <a:pt x="784" y="1882"/>
                      </a:lnTo>
                      <a:lnTo>
                        <a:pt x="767" y="1869"/>
                      </a:lnTo>
                      <a:lnTo>
                        <a:pt x="758" y="1857"/>
                      </a:lnTo>
                      <a:lnTo>
                        <a:pt x="753" y="1848"/>
                      </a:lnTo>
                      <a:lnTo>
                        <a:pt x="736" y="1845"/>
                      </a:lnTo>
                      <a:lnTo>
                        <a:pt x="726" y="1842"/>
                      </a:lnTo>
                      <a:lnTo>
                        <a:pt x="707" y="1836"/>
                      </a:lnTo>
                      <a:lnTo>
                        <a:pt x="706" y="1842"/>
                      </a:lnTo>
                      <a:lnTo>
                        <a:pt x="713" y="1857"/>
                      </a:lnTo>
                      <a:lnTo>
                        <a:pt x="730" y="1862"/>
                      </a:lnTo>
                      <a:lnTo>
                        <a:pt x="733" y="1869"/>
                      </a:lnTo>
                      <a:lnTo>
                        <a:pt x="749" y="1879"/>
                      </a:lnTo>
                      <a:lnTo>
                        <a:pt x="755" y="1888"/>
                      </a:lnTo>
                      <a:lnTo>
                        <a:pt x="782" y="1899"/>
                      </a:lnTo>
                      <a:lnTo>
                        <a:pt x="791" y="1895"/>
                      </a:lnTo>
                      <a:close/>
                      <a:moveTo>
                        <a:pt x="1876" y="1952"/>
                      </a:moveTo>
                      <a:lnTo>
                        <a:pt x="1887" y="1962"/>
                      </a:lnTo>
                      <a:lnTo>
                        <a:pt x="1865" y="1977"/>
                      </a:lnTo>
                      <a:lnTo>
                        <a:pt x="1828" y="1991"/>
                      </a:lnTo>
                      <a:lnTo>
                        <a:pt x="1810" y="2002"/>
                      </a:lnTo>
                      <a:lnTo>
                        <a:pt x="1792" y="2018"/>
                      </a:lnTo>
                      <a:lnTo>
                        <a:pt x="1778" y="2017"/>
                      </a:lnTo>
                      <a:lnTo>
                        <a:pt x="1778" y="1997"/>
                      </a:lnTo>
                      <a:lnTo>
                        <a:pt x="1807" y="1977"/>
                      </a:lnTo>
                      <a:lnTo>
                        <a:pt x="1779" y="1977"/>
                      </a:lnTo>
                      <a:lnTo>
                        <a:pt x="1761" y="1980"/>
                      </a:lnTo>
                      <a:lnTo>
                        <a:pt x="1764" y="1988"/>
                      </a:lnTo>
                      <a:lnTo>
                        <a:pt x="1746" y="2000"/>
                      </a:lnTo>
                      <a:lnTo>
                        <a:pt x="1727" y="2008"/>
                      </a:lnTo>
                      <a:lnTo>
                        <a:pt x="1710" y="2015"/>
                      </a:lnTo>
                      <a:lnTo>
                        <a:pt x="1701" y="2029"/>
                      </a:lnTo>
                      <a:lnTo>
                        <a:pt x="1698" y="2034"/>
                      </a:lnTo>
                      <a:lnTo>
                        <a:pt x="1698" y="2046"/>
                      </a:lnTo>
                      <a:lnTo>
                        <a:pt x="1703" y="2058"/>
                      </a:lnTo>
                      <a:lnTo>
                        <a:pt x="1710" y="2060"/>
                      </a:lnTo>
                      <a:lnTo>
                        <a:pt x="1709" y="2051"/>
                      </a:lnTo>
                      <a:lnTo>
                        <a:pt x="1713" y="2057"/>
                      </a:lnTo>
                      <a:lnTo>
                        <a:pt x="1712" y="2063"/>
                      </a:lnTo>
                      <a:lnTo>
                        <a:pt x="1701" y="2066"/>
                      </a:lnTo>
                      <a:lnTo>
                        <a:pt x="1692" y="2066"/>
                      </a:lnTo>
                      <a:lnTo>
                        <a:pt x="1680" y="2071"/>
                      </a:lnTo>
                      <a:lnTo>
                        <a:pt x="1672" y="2071"/>
                      </a:lnTo>
                      <a:lnTo>
                        <a:pt x="1663" y="2072"/>
                      </a:lnTo>
                      <a:lnTo>
                        <a:pt x="1647" y="2078"/>
                      </a:lnTo>
                      <a:lnTo>
                        <a:pt x="1673" y="2075"/>
                      </a:lnTo>
                      <a:lnTo>
                        <a:pt x="1678" y="2078"/>
                      </a:lnTo>
                      <a:lnTo>
                        <a:pt x="1653" y="2086"/>
                      </a:lnTo>
                      <a:lnTo>
                        <a:pt x="1643" y="2086"/>
                      </a:lnTo>
                      <a:lnTo>
                        <a:pt x="1644" y="2083"/>
                      </a:lnTo>
                      <a:lnTo>
                        <a:pt x="1638" y="2089"/>
                      </a:lnTo>
                      <a:lnTo>
                        <a:pt x="1643" y="2091"/>
                      </a:lnTo>
                      <a:lnTo>
                        <a:pt x="1640" y="2106"/>
                      </a:lnTo>
                      <a:lnTo>
                        <a:pt x="1627" y="2123"/>
                      </a:lnTo>
                      <a:lnTo>
                        <a:pt x="1626" y="2118"/>
                      </a:lnTo>
                      <a:lnTo>
                        <a:pt x="1623" y="2117"/>
                      </a:lnTo>
                      <a:lnTo>
                        <a:pt x="1617" y="2111"/>
                      </a:lnTo>
                      <a:lnTo>
                        <a:pt x="1620" y="2123"/>
                      </a:lnTo>
                      <a:lnTo>
                        <a:pt x="1624" y="2128"/>
                      </a:lnTo>
                      <a:lnTo>
                        <a:pt x="1624" y="2135"/>
                      </a:lnTo>
                      <a:lnTo>
                        <a:pt x="1620" y="2145"/>
                      </a:lnTo>
                      <a:lnTo>
                        <a:pt x="1609" y="2161"/>
                      </a:lnTo>
                      <a:lnTo>
                        <a:pt x="1607" y="2160"/>
                      </a:lnTo>
                      <a:lnTo>
                        <a:pt x="1614" y="2146"/>
                      </a:lnTo>
                      <a:lnTo>
                        <a:pt x="1604" y="2137"/>
                      </a:lnTo>
                      <a:lnTo>
                        <a:pt x="1603" y="2118"/>
                      </a:lnTo>
                      <a:lnTo>
                        <a:pt x="1598" y="2129"/>
                      </a:lnTo>
                      <a:lnTo>
                        <a:pt x="1603" y="2143"/>
                      </a:lnTo>
                      <a:lnTo>
                        <a:pt x="1591" y="2138"/>
                      </a:lnTo>
                      <a:lnTo>
                        <a:pt x="1603" y="2146"/>
                      </a:lnTo>
                      <a:lnTo>
                        <a:pt x="1604" y="2166"/>
                      </a:lnTo>
                      <a:lnTo>
                        <a:pt x="1609" y="2168"/>
                      </a:lnTo>
                      <a:lnTo>
                        <a:pt x="1611" y="2175"/>
                      </a:lnTo>
                      <a:lnTo>
                        <a:pt x="1614" y="2197"/>
                      </a:lnTo>
                      <a:lnTo>
                        <a:pt x="1601" y="2212"/>
                      </a:lnTo>
                      <a:lnTo>
                        <a:pt x="1584" y="2218"/>
                      </a:lnTo>
                      <a:lnTo>
                        <a:pt x="1574" y="2231"/>
                      </a:lnTo>
                      <a:lnTo>
                        <a:pt x="1565" y="2232"/>
                      </a:lnTo>
                      <a:lnTo>
                        <a:pt x="1555" y="2240"/>
                      </a:lnTo>
                      <a:lnTo>
                        <a:pt x="1554" y="2246"/>
                      </a:lnTo>
                      <a:lnTo>
                        <a:pt x="1534" y="2260"/>
                      </a:lnTo>
                      <a:lnTo>
                        <a:pt x="1525" y="2269"/>
                      </a:lnTo>
                      <a:lnTo>
                        <a:pt x="1517" y="2281"/>
                      </a:lnTo>
                      <a:lnTo>
                        <a:pt x="1514" y="2295"/>
                      </a:lnTo>
                      <a:lnTo>
                        <a:pt x="1517" y="2309"/>
                      </a:lnTo>
                      <a:lnTo>
                        <a:pt x="1523" y="2326"/>
                      </a:lnTo>
                      <a:lnTo>
                        <a:pt x="1531" y="2340"/>
                      </a:lnTo>
                      <a:lnTo>
                        <a:pt x="1531" y="2349"/>
                      </a:lnTo>
                      <a:lnTo>
                        <a:pt x="1538" y="2370"/>
                      </a:lnTo>
                      <a:lnTo>
                        <a:pt x="1538" y="2384"/>
                      </a:lnTo>
                      <a:lnTo>
                        <a:pt x="1537" y="2392"/>
                      </a:lnTo>
                      <a:lnTo>
                        <a:pt x="1534" y="2403"/>
                      </a:lnTo>
                      <a:lnTo>
                        <a:pt x="1528" y="2406"/>
                      </a:lnTo>
                      <a:lnTo>
                        <a:pt x="1520" y="2403"/>
                      </a:lnTo>
                      <a:lnTo>
                        <a:pt x="1517" y="2395"/>
                      </a:lnTo>
                      <a:lnTo>
                        <a:pt x="1511" y="2390"/>
                      </a:lnTo>
                      <a:lnTo>
                        <a:pt x="1502" y="2374"/>
                      </a:lnTo>
                      <a:lnTo>
                        <a:pt x="1494" y="2360"/>
                      </a:lnTo>
                      <a:lnTo>
                        <a:pt x="1491" y="2352"/>
                      </a:lnTo>
                      <a:lnTo>
                        <a:pt x="1494" y="2338"/>
                      </a:lnTo>
                      <a:lnTo>
                        <a:pt x="1489" y="2327"/>
                      </a:lnTo>
                      <a:lnTo>
                        <a:pt x="1476" y="2312"/>
                      </a:lnTo>
                      <a:lnTo>
                        <a:pt x="1469" y="2309"/>
                      </a:lnTo>
                      <a:lnTo>
                        <a:pt x="1453" y="2317"/>
                      </a:lnTo>
                      <a:lnTo>
                        <a:pt x="1449" y="2317"/>
                      </a:lnTo>
                      <a:lnTo>
                        <a:pt x="1440" y="2307"/>
                      </a:lnTo>
                      <a:lnTo>
                        <a:pt x="1430" y="2303"/>
                      </a:lnTo>
                      <a:lnTo>
                        <a:pt x="1410" y="2304"/>
                      </a:lnTo>
                      <a:lnTo>
                        <a:pt x="1394" y="2303"/>
                      </a:lnTo>
                      <a:lnTo>
                        <a:pt x="1382" y="2304"/>
                      </a:lnTo>
                      <a:lnTo>
                        <a:pt x="1374" y="2307"/>
                      </a:lnTo>
                      <a:lnTo>
                        <a:pt x="1377" y="2312"/>
                      </a:lnTo>
                      <a:lnTo>
                        <a:pt x="1377" y="2320"/>
                      </a:lnTo>
                      <a:lnTo>
                        <a:pt x="1380" y="2324"/>
                      </a:lnTo>
                      <a:lnTo>
                        <a:pt x="1377" y="2327"/>
                      </a:lnTo>
                      <a:lnTo>
                        <a:pt x="1371" y="2324"/>
                      </a:lnTo>
                      <a:lnTo>
                        <a:pt x="1365" y="2327"/>
                      </a:lnTo>
                      <a:lnTo>
                        <a:pt x="1353" y="2327"/>
                      </a:lnTo>
                      <a:lnTo>
                        <a:pt x="1339" y="2317"/>
                      </a:lnTo>
                      <a:lnTo>
                        <a:pt x="1325" y="2320"/>
                      </a:lnTo>
                      <a:lnTo>
                        <a:pt x="1313" y="2315"/>
                      </a:lnTo>
                      <a:lnTo>
                        <a:pt x="1302" y="2317"/>
                      </a:lnTo>
                      <a:lnTo>
                        <a:pt x="1287" y="2321"/>
                      </a:lnTo>
                      <a:lnTo>
                        <a:pt x="1272" y="2335"/>
                      </a:lnTo>
                      <a:lnTo>
                        <a:pt x="1255" y="2343"/>
                      </a:lnTo>
                      <a:lnTo>
                        <a:pt x="1245" y="2354"/>
                      </a:lnTo>
                      <a:lnTo>
                        <a:pt x="1241" y="2361"/>
                      </a:lnTo>
                      <a:lnTo>
                        <a:pt x="1241" y="2375"/>
                      </a:lnTo>
                      <a:lnTo>
                        <a:pt x="1241" y="2384"/>
                      </a:lnTo>
                      <a:lnTo>
                        <a:pt x="1244" y="2390"/>
                      </a:lnTo>
                      <a:lnTo>
                        <a:pt x="1245" y="2390"/>
                      </a:lnTo>
                      <a:lnTo>
                        <a:pt x="1245" y="2390"/>
                      </a:lnTo>
                      <a:lnTo>
                        <a:pt x="1245" y="2390"/>
                      </a:lnTo>
                      <a:lnTo>
                        <a:pt x="1244" y="2390"/>
                      </a:lnTo>
                      <a:lnTo>
                        <a:pt x="1238" y="2407"/>
                      </a:lnTo>
                      <a:lnTo>
                        <a:pt x="1235" y="2421"/>
                      </a:lnTo>
                      <a:lnTo>
                        <a:pt x="1233" y="2446"/>
                      </a:lnTo>
                      <a:lnTo>
                        <a:pt x="1232" y="2455"/>
                      </a:lnTo>
                      <a:lnTo>
                        <a:pt x="1235" y="2464"/>
                      </a:lnTo>
                      <a:lnTo>
                        <a:pt x="1241" y="2473"/>
                      </a:lnTo>
                      <a:lnTo>
                        <a:pt x="1244" y="2487"/>
                      </a:lnTo>
                      <a:lnTo>
                        <a:pt x="1255" y="2501"/>
                      </a:lnTo>
                      <a:lnTo>
                        <a:pt x="1259" y="2512"/>
                      </a:lnTo>
                      <a:lnTo>
                        <a:pt x="1265" y="2521"/>
                      </a:lnTo>
                      <a:lnTo>
                        <a:pt x="1284" y="2526"/>
                      </a:lnTo>
                      <a:lnTo>
                        <a:pt x="1291" y="2533"/>
                      </a:lnTo>
                      <a:lnTo>
                        <a:pt x="1307" y="2529"/>
                      </a:lnTo>
                      <a:lnTo>
                        <a:pt x="1319" y="2526"/>
                      </a:lnTo>
                      <a:lnTo>
                        <a:pt x="1333" y="2523"/>
                      </a:lnTo>
                      <a:lnTo>
                        <a:pt x="1344" y="2520"/>
                      </a:lnTo>
                      <a:lnTo>
                        <a:pt x="1354" y="2512"/>
                      </a:lnTo>
                      <a:lnTo>
                        <a:pt x="1359" y="2503"/>
                      </a:lnTo>
                      <a:lnTo>
                        <a:pt x="1361" y="2487"/>
                      </a:lnTo>
                      <a:lnTo>
                        <a:pt x="1364" y="2481"/>
                      </a:lnTo>
                      <a:lnTo>
                        <a:pt x="1374" y="2477"/>
                      </a:lnTo>
                      <a:lnTo>
                        <a:pt x="1393" y="2472"/>
                      </a:lnTo>
                      <a:lnTo>
                        <a:pt x="1408" y="2473"/>
                      </a:lnTo>
                      <a:lnTo>
                        <a:pt x="1419" y="2472"/>
                      </a:lnTo>
                      <a:lnTo>
                        <a:pt x="1422" y="2475"/>
                      </a:lnTo>
                      <a:lnTo>
                        <a:pt x="1422" y="2484"/>
                      </a:lnTo>
                      <a:lnTo>
                        <a:pt x="1413" y="2495"/>
                      </a:lnTo>
                      <a:lnTo>
                        <a:pt x="1408" y="2506"/>
                      </a:lnTo>
                      <a:lnTo>
                        <a:pt x="1411" y="2509"/>
                      </a:lnTo>
                      <a:lnTo>
                        <a:pt x="1410" y="2517"/>
                      </a:lnTo>
                      <a:lnTo>
                        <a:pt x="1405" y="2532"/>
                      </a:lnTo>
                      <a:lnTo>
                        <a:pt x="1400" y="2527"/>
                      </a:lnTo>
                      <a:lnTo>
                        <a:pt x="1397" y="2527"/>
                      </a:lnTo>
                      <a:lnTo>
                        <a:pt x="1397" y="2529"/>
                      </a:lnTo>
                      <a:lnTo>
                        <a:pt x="1400" y="2529"/>
                      </a:lnTo>
                      <a:lnTo>
                        <a:pt x="1400" y="2535"/>
                      </a:lnTo>
                      <a:lnTo>
                        <a:pt x="1397" y="2543"/>
                      </a:lnTo>
                      <a:lnTo>
                        <a:pt x="1399" y="2546"/>
                      </a:lnTo>
                      <a:lnTo>
                        <a:pt x="1397" y="2552"/>
                      </a:lnTo>
                      <a:lnTo>
                        <a:pt x="1397" y="2553"/>
                      </a:lnTo>
                      <a:lnTo>
                        <a:pt x="1396" y="2563"/>
                      </a:lnTo>
                      <a:lnTo>
                        <a:pt x="1393" y="2567"/>
                      </a:lnTo>
                      <a:lnTo>
                        <a:pt x="1390" y="2567"/>
                      </a:lnTo>
                      <a:lnTo>
                        <a:pt x="1387" y="2573"/>
                      </a:lnTo>
                      <a:lnTo>
                        <a:pt x="1391" y="2576"/>
                      </a:lnTo>
                      <a:lnTo>
                        <a:pt x="1393" y="2575"/>
                      </a:lnTo>
                      <a:lnTo>
                        <a:pt x="1399" y="2576"/>
                      </a:lnTo>
                      <a:lnTo>
                        <a:pt x="1400" y="2578"/>
                      </a:lnTo>
                      <a:lnTo>
                        <a:pt x="1403" y="2573"/>
                      </a:lnTo>
                      <a:lnTo>
                        <a:pt x="1408" y="2573"/>
                      </a:lnTo>
                      <a:lnTo>
                        <a:pt x="1410" y="2575"/>
                      </a:lnTo>
                      <a:lnTo>
                        <a:pt x="1413" y="2575"/>
                      </a:lnTo>
                      <a:lnTo>
                        <a:pt x="1420" y="2576"/>
                      </a:lnTo>
                      <a:lnTo>
                        <a:pt x="1430" y="2575"/>
                      </a:lnTo>
                      <a:lnTo>
                        <a:pt x="1434" y="2573"/>
                      </a:lnTo>
                      <a:lnTo>
                        <a:pt x="1436" y="2572"/>
                      </a:lnTo>
                      <a:lnTo>
                        <a:pt x="1442" y="2572"/>
                      </a:lnTo>
                      <a:lnTo>
                        <a:pt x="1446" y="2573"/>
                      </a:lnTo>
                      <a:lnTo>
                        <a:pt x="1451" y="2573"/>
                      </a:lnTo>
                      <a:lnTo>
                        <a:pt x="1454" y="2572"/>
                      </a:lnTo>
                      <a:lnTo>
                        <a:pt x="1462" y="2575"/>
                      </a:lnTo>
                      <a:lnTo>
                        <a:pt x="1465" y="2575"/>
                      </a:lnTo>
                      <a:lnTo>
                        <a:pt x="1469" y="2578"/>
                      </a:lnTo>
                      <a:lnTo>
                        <a:pt x="1474" y="2583"/>
                      </a:lnTo>
                      <a:lnTo>
                        <a:pt x="1482" y="2584"/>
                      </a:lnTo>
                      <a:lnTo>
                        <a:pt x="1485" y="2590"/>
                      </a:lnTo>
                      <a:lnTo>
                        <a:pt x="1485" y="2592"/>
                      </a:lnTo>
                      <a:lnTo>
                        <a:pt x="1483" y="2595"/>
                      </a:lnTo>
                      <a:lnTo>
                        <a:pt x="1485" y="2601"/>
                      </a:lnTo>
                      <a:lnTo>
                        <a:pt x="1482" y="2607"/>
                      </a:lnTo>
                      <a:lnTo>
                        <a:pt x="1479" y="2615"/>
                      </a:lnTo>
                      <a:lnTo>
                        <a:pt x="1479" y="2623"/>
                      </a:lnTo>
                      <a:lnTo>
                        <a:pt x="1480" y="2627"/>
                      </a:lnTo>
                      <a:lnTo>
                        <a:pt x="1480" y="2635"/>
                      </a:lnTo>
                      <a:lnTo>
                        <a:pt x="1477" y="2636"/>
                      </a:lnTo>
                      <a:lnTo>
                        <a:pt x="1476" y="2644"/>
                      </a:lnTo>
                      <a:lnTo>
                        <a:pt x="1477" y="2649"/>
                      </a:lnTo>
                      <a:lnTo>
                        <a:pt x="1474" y="2653"/>
                      </a:lnTo>
                      <a:lnTo>
                        <a:pt x="1474" y="2658"/>
                      </a:lnTo>
                      <a:lnTo>
                        <a:pt x="1477" y="2661"/>
                      </a:lnTo>
                      <a:lnTo>
                        <a:pt x="1482" y="2670"/>
                      </a:lnTo>
                      <a:lnTo>
                        <a:pt x="1488" y="2678"/>
                      </a:lnTo>
                      <a:lnTo>
                        <a:pt x="1495" y="2684"/>
                      </a:lnTo>
                      <a:lnTo>
                        <a:pt x="1502" y="2692"/>
                      </a:lnTo>
                      <a:lnTo>
                        <a:pt x="1502" y="2695"/>
                      </a:lnTo>
                      <a:lnTo>
                        <a:pt x="1508" y="2695"/>
                      </a:lnTo>
                      <a:lnTo>
                        <a:pt x="1511" y="2693"/>
                      </a:lnTo>
                      <a:lnTo>
                        <a:pt x="1515" y="2698"/>
                      </a:lnTo>
                      <a:lnTo>
                        <a:pt x="1523" y="2696"/>
                      </a:lnTo>
                      <a:lnTo>
                        <a:pt x="1531" y="2693"/>
                      </a:lnTo>
                      <a:lnTo>
                        <a:pt x="1542" y="2689"/>
                      </a:lnTo>
                      <a:lnTo>
                        <a:pt x="1548" y="2684"/>
                      </a:lnTo>
                      <a:lnTo>
                        <a:pt x="1557" y="2686"/>
                      </a:lnTo>
                      <a:lnTo>
                        <a:pt x="1555" y="2687"/>
                      </a:lnTo>
                      <a:lnTo>
                        <a:pt x="1566" y="2687"/>
                      </a:lnTo>
                      <a:lnTo>
                        <a:pt x="1574" y="2690"/>
                      </a:lnTo>
                      <a:lnTo>
                        <a:pt x="1578" y="2695"/>
                      </a:lnTo>
                      <a:lnTo>
                        <a:pt x="1584" y="2701"/>
                      </a:lnTo>
                      <a:lnTo>
                        <a:pt x="1583" y="2703"/>
                      </a:lnTo>
                      <a:lnTo>
                        <a:pt x="1588" y="2713"/>
                      </a:lnTo>
                      <a:lnTo>
                        <a:pt x="1584" y="2718"/>
                      </a:lnTo>
                      <a:lnTo>
                        <a:pt x="1578" y="2716"/>
                      </a:lnTo>
                      <a:lnTo>
                        <a:pt x="1577" y="2726"/>
                      </a:lnTo>
                      <a:lnTo>
                        <a:pt x="1571" y="2721"/>
                      </a:lnTo>
                      <a:lnTo>
                        <a:pt x="1566" y="2712"/>
                      </a:lnTo>
                      <a:lnTo>
                        <a:pt x="1571" y="2707"/>
                      </a:lnTo>
                      <a:lnTo>
                        <a:pt x="1566" y="2706"/>
                      </a:lnTo>
                      <a:lnTo>
                        <a:pt x="1563" y="2699"/>
                      </a:lnTo>
                      <a:lnTo>
                        <a:pt x="1555" y="2695"/>
                      </a:lnTo>
                      <a:lnTo>
                        <a:pt x="1548" y="2696"/>
                      </a:lnTo>
                      <a:lnTo>
                        <a:pt x="1543" y="2703"/>
                      </a:lnTo>
                      <a:lnTo>
                        <a:pt x="1537" y="2706"/>
                      </a:lnTo>
                      <a:lnTo>
                        <a:pt x="1532" y="2707"/>
                      </a:lnTo>
                      <a:lnTo>
                        <a:pt x="1531" y="2710"/>
                      </a:lnTo>
                      <a:lnTo>
                        <a:pt x="1540" y="2719"/>
                      </a:lnTo>
                      <a:lnTo>
                        <a:pt x="1535" y="2723"/>
                      </a:lnTo>
                      <a:lnTo>
                        <a:pt x="1532" y="2724"/>
                      </a:lnTo>
                      <a:lnTo>
                        <a:pt x="1525" y="2726"/>
                      </a:lnTo>
                      <a:lnTo>
                        <a:pt x="1522" y="2715"/>
                      </a:lnTo>
                      <a:lnTo>
                        <a:pt x="1518" y="2718"/>
                      </a:lnTo>
                      <a:lnTo>
                        <a:pt x="1514" y="2716"/>
                      </a:lnTo>
                      <a:lnTo>
                        <a:pt x="1509" y="2710"/>
                      </a:lnTo>
                      <a:lnTo>
                        <a:pt x="1503" y="2709"/>
                      </a:lnTo>
                      <a:lnTo>
                        <a:pt x="1499" y="2707"/>
                      </a:lnTo>
                      <a:lnTo>
                        <a:pt x="1491" y="2707"/>
                      </a:lnTo>
                      <a:lnTo>
                        <a:pt x="1491" y="2710"/>
                      </a:lnTo>
                      <a:lnTo>
                        <a:pt x="1489" y="2709"/>
                      </a:lnTo>
                      <a:lnTo>
                        <a:pt x="1479" y="2704"/>
                      </a:lnTo>
                      <a:lnTo>
                        <a:pt x="1476" y="2701"/>
                      </a:lnTo>
                      <a:lnTo>
                        <a:pt x="1477" y="2698"/>
                      </a:lnTo>
                      <a:lnTo>
                        <a:pt x="1477" y="2693"/>
                      </a:lnTo>
                      <a:lnTo>
                        <a:pt x="1472" y="2690"/>
                      </a:lnTo>
                      <a:lnTo>
                        <a:pt x="1466" y="2686"/>
                      </a:lnTo>
                      <a:lnTo>
                        <a:pt x="1460" y="2684"/>
                      </a:lnTo>
                      <a:lnTo>
                        <a:pt x="1459" y="2679"/>
                      </a:lnTo>
                      <a:lnTo>
                        <a:pt x="1454" y="2676"/>
                      </a:lnTo>
                      <a:lnTo>
                        <a:pt x="1456" y="2681"/>
                      </a:lnTo>
                      <a:lnTo>
                        <a:pt x="1451" y="2686"/>
                      </a:lnTo>
                      <a:lnTo>
                        <a:pt x="1448" y="2679"/>
                      </a:lnTo>
                      <a:lnTo>
                        <a:pt x="1442" y="2678"/>
                      </a:lnTo>
                      <a:lnTo>
                        <a:pt x="1440" y="2675"/>
                      </a:lnTo>
                      <a:lnTo>
                        <a:pt x="1440" y="2670"/>
                      </a:lnTo>
                      <a:lnTo>
                        <a:pt x="1442" y="2664"/>
                      </a:lnTo>
                      <a:lnTo>
                        <a:pt x="1437" y="2661"/>
                      </a:lnTo>
                      <a:lnTo>
                        <a:pt x="1442" y="2658"/>
                      </a:lnTo>
                      <a:lnTo>
                        <a:pt x="1436" y="2653"/>
                      </a:lnTo>
                      <a:lnTo>
                        <a:pt x="1428" y="2646"/>
                      </a:lnTo>
                      <a:lnTo>
                        <a:pt x="1423" y="2640"/>
                      </a:lnTo>
                      <a:lnTo>
                        <a:pt x="1416" y="2635"/>
                      </a:lnTo>
                      <a:lnTo>
                        <a:pt x="1408" y="2626"/>
                      </a:lnTo>
                      <a:lnTo>
                        <a:pt x="1410" y="2624"/>
                      </a:lnTo>
                      <a:lnTo>
                        <a:pt x="1413" y="2626"/>
                      </a:lnTo>
                      <a:lnTo>
                        <a:pt x="1414" y="2626"/>
                      </a:lnTo>
                      <a:lnTo>
                        <a:pt x="1411" y="2620"/>
                      </a:lnTo>
                      <a:lnTo>
                        <a:pt x="1405" y="2618"/>
                      </a:lnTo>
                      <a:lnTo>
                        <a:pt x="1403" y="2623"/>
                      </a:lnTo>
                      <a:lnTo>
                        <a:pt x="1394" y="2623"/>
                      </a:lnTo>
                      <a:lnTo>
                        <a:pt x="1388" y="2620"/>
                      </a:lnTo>
                      <a:lnTo>
                        <a:pt x="1380" y="2616"/>
                      </a:lnTo>
                      <a:lnTo>
                        <a:pt x="1371" y="2615"/>
                      </a:lnTo>
                      <a:lnTo>
                        <a:pt x="1367" y="2612"/>
                      </a:lnTo>
                      <a:lnTo>
                        <a:pt x="1357" y="2609"/>
                      </a:lnTo>
                      <a:lnTo>
                        <a:pt x="1347" y="2609"/>
                      </a:lnTo>
                      <a:lnTo>
                        <a:pt x="1339" y="2606"/>
                      </a:lnTo>
                      <a:lnTo>
                        <a:pt x="1330" y="2598"/>
                      </a:lnTo>
                      <a:lnTo>
                        <a:pt x="1310" y="2578"/>
                      </a:lnTo>
                      <a:lnTo>
                        <a:pt x="1301" y="2573"/>
                      </a:lnTo>
                      <a:lnTo>
                        <a:pt x="1287" y="2569"/>
                      </a:lnTo>
                      <a:lnTo>
                        <a:pt x="1278" y="2569"/>
                      </a:lnTo>
                      <a:lnTo>
                        <a:pt x="1264" y="2576"/>
                      </a:lnTo>
                      <a:lnTo>
                        <a:pt x="1255" y="2578"/>
                      </a:lnTo>
                      <a:lnTo>
                        <a:pt x="1242" y="2573"/>
                      </a:lnTo>
                      <a:lnTo>
                        <a:pt x="1230" y="2570"/>
                      </a:lnTo>
                      <a:lnTo>
                        <a:pt x="1213" y="2561"/>
                      </a:lnTo>
                      <a:lnTo>
                        <a:pt x="1201" y="2560"/>
                      </a:lnTo>
                      <a:lnTo>
                        <a:pt x="1181" y="2550"/>
                      </a:lnTo>
                      <a:lnTo>
                        <a:pt x="1167" y="2543"/>
                      </a:lnTo>
                      <a:lnTo>
                        <a:pt x="1163" y="2538"/>
                      </a:lnTo>
                      <a:lnTo>
                        <a:pt x="1153" y="2537"/>
                      </a:lnTo>
                      <a:lnTo>
                        <a:pt x="1135" y="2530"/>
                      </a:lnTo>
                      <a:lnTo>
                        <a:pt x="1129" y="2523"/>
                      </a:lnTo>
                      <a:lnTo>
                        <a:pt x="1109" y="2512"/>
                      </a:lnTo>
                      <a:lnTo>
                        <a:pt x="1101" y="2501"/>
                      </a:lnTo>
                      <a:lnTo>
                        <a:pt x="1097" y="2492"/>
                      </a:lnTo>
                      <a:lnTo>
                        <a:pt x="1103" y="2490"/>
                      </a:lnTo>
                      <a:lnTo>
                        <a:pt x="1101" y="2484"/>
                      </a:lnTo>
                      <a:lnTo>
                        <a:pt x="1104" y="2480"/>
                      </a:lnTo>
                      <a:lnTo>
                        <a:pt x="1104" y="2473"/>
                      </a:lnTo>
                      <a:lnTo>
                        <a:pt x="1100" y="2466"/>
                      </a:lnTo>
                      <a:lnTo>
                        <a:pt x="1098" y="2458"/>
                      </a:lnTo>
                      <a:lnTo>
                        <a:pt x="1092" y="2449"/>
                      </a:lnTo>
                      <a:lnTo>
                        <a:pt x="1077" y="2430"/>
                      </a:lnTo>
                      <a:lnTo>
                        <a:pt x="1060" y="2415"/>
                      </a:lnTo>
                      <a:lnTo>
                        <a:pt x="1051" y="2404"/>
                      </a:lnTo>
                      <a:lnTo>
                        <a:pt x="1037" y="2395"/>
                      </a:lnTo>
                      <a:lnTo>
                        <a:pt x="1034" y="2390"/>
                      </a:lnTo>
                      <a:lnTo>
                        <a:pt x="1035" y="2380"/>
                      </a:lnTo>
                      <a:lnTo>
                        <a:pt x="1028" y="2375"/>
                      </a:lnTo>
                      <a:lnTo>
                        <a:pt x="1017" y="2366"/>
                      </a:lnTo>
                      <a:lnTo>
                        <a:pt x="1012" y="2352"/>
                      </a:lnTo>
                      <a:lnTo>
                        <a:pt x="1003" y="2351"/>
                      </a:lnTo>
                      <a:lnTo>
                        <a:pt x="994" y="2340"/>
                      </a:lnTo>
                      <a:lnTo>
                        <a:pt x="985" y="2331"/>
                      </a:lnTo>
                      <a:lnTo>
                        <a:pt x="985" y="2324"/>
                      </a:lnTo>
                      <a:lnTo>
                        <a:pt x="976" y="2309"/>
                      </a:lnTo>
                      <a:lnTo>
                        <a:pt x="969" y="2295"/>
                      </a:lnTo>
                      <a:lnTo>
                        <a:pt x="969" y="2287"/>
                      </a:lnTo>
                      <a:lnTo>
                        <a:pt x="957" y="2278"/>
                      </a:lnTo>
                      <a:lnTo>
                        <a:pt x="951" y="2280"/>
                      </a:lnTo>
                      <a:lnTo>
                        <a:pt x="942" y="2274"/>
                      </a:lnTo>
                      <a:lnTo>
                        <a:pt x="939" y="2283"/>
                      </a:lnTo>
                      <a:lnTo>
                        <a:pt x="942" y="2292"/>
                      </a:lnTo>
                      <a:lnTo>
                        <a:pt x="943" y="2307"/>
                      </a:lnTo>
                      <a:lnTo>
                        <a:pt x="949" y="2315"/>
                      </a:lnTo>
                      <a:lnTo>
                        <a:pt x="962" y="2329"/>
                      </a:lnTo>
                      <a:lnTo>
                        <a:pt x="965" y="2334"/>
                      </a:lnTo>
                      <a:lnTo>
                        <a:pt x="968" y="2335"/>
                      </a:lnTo>
                      <a:lnTo>
                        <a:pt x="969" y="2341"/>
                      </a:lnTo>
                      <a:lnTo>
                        <a:pt x="972" y="2341"/>
                      </a:lnTo>
                      <a:lnTo>
                        <a:pt x="976" y="2354"/>
                      </a:lnTo>
                      <a:lnTo>
                        <a:pt x="982" y="2358"/>
                      </a:lnTo>
                      <a:lnTo>
                        <a:pt x="985" y="2366"/>
                      </a:lnTo>
                      <a:lnTo>
                        <a:pt x="995" y="2375"/>
                      </a:lnTo>
                      <a:lnTo>
                        <a:pt x="1002" y="2394"/>
                      </a:lnTo>
                      <a:lnTo>
                        <a:pt x="1006" y="2401"/>
                      </a:lnTo>
                      <a:lnTo>
                        <a:pt x="1011" y="2410"/>
                      </a:lnTo>
                      <a:lnTo>
                        <a:pt x="1012" y="2420"/>
                      </a:lnTo>
                      <a:lnTo>
                        <a:pt x="1020" y="2421"/>
                      </a:lnTo>
                      <a:lnTo>
                        <a:pt x="1028" y="2429"/>
                      </a:lnTo>
                      <a:lnTo>
                        <a:pt x="1034" y="2438"/>
                      </a:lnTo>
                      <a:lnTo>
                        <a:pt x="1034" y="2441"/>
                      </a:lnTo>
                      <a:lnTo>
                        <a:pt x="1026" y="2447"/>
                      </a:lnTo>
                      <a:lnTo>
                        <a:pt x="1023" y="2447"/>
                      </a:lnTo>
                      <a:lnTo>
                        <a:pt x="1018" y="2437"/>
                      </a:lnTo>
                      <a:lnTo>
                        <a:pt x="1008" y="2426"/>
                      </a:lnTo>
                      <a:lnTo>
                        <a:pt x="995" y="2417"/>
                      </a:lnTo>
                      <a:lnTo>
                        <a:pt x="986" y="2412"/>
                      </a:lnTo>
                      <a:lnTo>
                        <a:pt x="986" y="2398"/>
                      </a:lnTo>
                      <a:lnTo>
                        <a:pt x="985" y="2387"/>
                      </a:lnTo>
                      <a:lnTo>
                        <a:pt x="976" y="2381"/>
                      </a:lnTo>
                      <a:lnTo>
                        <a:pt x="963" y="2374"/>
                      </a:lnTo>
                      <a:lnTo>
                        <a:pt x="962" y="2375"/>
                      </a:lnTo>
                      <a:lnTo>
                        <a:pt x="957" y="2370"/>
                      </a:lnTo>
                      <a:lnTo>
                        <a:pt x="946" y="2366"/>
                      </a:lnTo>
                      <a:lnTo>
                        <a:pt x="937" y="2355"/>
                      </a:lnTo>
                      <a:lnTo>
                        <a:pt x="937" y="2354"/>
                      </a:lnTo>
                      <a:lnTo>
                        <a:pt x="945" y="2354"/>
                      </a:lnTo>
                      <a:lnTo>
                        <a:pt x="951" y="2347"/>
                      </a:lnTo>
                      <a:lnTo>
                        <a:pt x="953" y="2338"/>
                      </a:lnTo>
                      <a:lnTo>
                        <a:pt x="939" y="2324"/>
                      </a:lnTo>
                      <a:lnTo>
                        <a:pt x="928" y="2318"/>
                      </a:lnTo>
                      <a:lnTo>
                        <a:pt x="922" y="2306"/>
                      </a:lnTo>
                      <a:lnTo>
                        <a:pt x="916" y="2294"/>
                      </a:lnTo>
                      <a:lnTo>
                        <a:pt x="908" y="2277"/>
                      </a:lnTo>
                      <a:lnTo>
                        <a:pt x="900" y="2260"/>
                      </a:lnTo>
                      <a:lnTo>
                        <a:pt x="900" y="2260"/>
                      </a:lnTo>
                      <a:lnTo>
                        <a:pt x="897" y="2249"/>
                      </a:lnTo>
                      <a:lnTo>
                        <a:pt x="887" y="2237"/>
                      </a:lnTo>
                      <a:lnTo>
                        <a:pt x="879" y="2235"/>
                      </a:lnTo>
                      <a:lnTo>
                        <a:pt x="877" y="2229"/>
                      </a:lnTo>
                      <a:lnTo>
                        <a:pt x="867" y="2228"/>
                      </a:lnTo>
                      <a:lnTo>
                        <a:pt x="860" y="2223"/>
                      </a:lnTo>
                      <a:lnTo>
                        <a:pt x="845" y="2220"/>
                      </a:lnTo>
                      <a:lnTo>
                        <a:pt x="841" y="2217"/>
                      </a:lnTo>
                      <a:lnTo>
                        <a:pt x="839" y="2206"/>
                      </a:lnTo>
                      <a:lnTo>
                        <a:pt x="822" y="2184"/>
                      </a:lnTo>
                      <a:lnTo>
                        <a:pt x="808" y="2154"/>
                      </a:lnTo>
                      <a:lnTo>
                        <a:pt x="808" y="2149"/>
                      </a:lnTo>
                      <a:lnTo>
                        <a:pt x="801" y="2141"/>
                      </a:lnTo>
                      <a:lnTo>
                        <a:pt x="787" y="2123"/>
                      </a:lnTo>
                      <a:lnTo>
                        <a:pt x="785" y="2106"/>
                      </a:lnTo>
                      <a:lnTo>
                        <a:pt x="776" y="2094"/>
                      </a:lnTo>
                      <a:lnTo>
                        <a:pt x="779" y="2074"/>
                      </a:lnTo>
                      <a:lnTo>
                        <a:pt x="779" y="2055"/>
                      </a:lnTo>
                      <a:lnTo>
                        <a:pt x="773" y="2037"/>
                      </a:lnTo>
                      <a:lnTo>
                        <a:pt x="781" y="2015"/>
                      </a:lnTo>
                      <a:lnTo>
                        <a:pt x="782" y="1992"/>
                      </a:lnTo>
                      <a:lnTo>
                        <a:pt x="784" y="1971"/>
                      </a:lnTo>
                      <a:lnTo>
                        <a:pt x="781" y="1937"/>
                      </a:lnTo>
                      <a:lnTo>
                        <a:pt x="776" y="1915"/>
                      </a:lnTo>
                      <a:lnTo>
                        <a:pt x="770" y="1905"/>
                      </a:lnTo>
                      <a:lnTo>
                        <a:pt x="773" y="1899"/>
                      </a:lnTo>
                      <a:lnTo>
                        <a:pt x="798" y="1908"/>
                      </a:lnTo>
                      <a:lnTo>
                        <a:pt x="807" y="1932"/>
                      </a:lnTo>
                      <a:lnTo>
                        <a:pt x="811" y="1925"/>
                      </a:lnTo>
                      <a:lnTo>
                        <a:pt x="808" y="1905"/>
                      </a:lnTo>
                      <a:lnTo>
                        <a:pt x="802" y="1883"/>
                      </a:lnTo>
                      <a:lnTo>
                        <a:pt x="801" y="1883"/>
                      </a:lnTo>
                      <a:lnTo>
                        <a:pt x="767" y="1857"/>
                      </a:lnTo>
                      <a:lnTo>
                        <a:pt x="755" y="1845"/>
                      </a:lnTo>
                      <a:lnTo>
                        <a:pt x="724" y="1834"/>
                      </a:lnTo>
                      <a:lnTo>
                        <a:pt x="713" y="1809"/>
                      </a:lnTo>
                      <a:lnTo>
                        <a:pt x="716" y="1792"/>
                      </a:lnTo>
                      <a:lnTo>
                        <a:pt x="695" y="1780"/>
                      </a:lnTo>
                      <a:lnTo>
                        <a:pt x="692" y="1757"/>
                      </a:lnTo>
                      <a:lnTo>
                        <a:pt x="670" y="1736"/>
                      </a:lnTo>
                      <a:lnTo>
                        <a:pt x="670" y="1720"/>
                      </a:lnTo>
                      <a:lnTo>
                        <a:pt x="661" y="1709"/>
                      </a:lnTo>
                      <a:lnTo>
                        <a:pt x="646" y="1700"/>
                      </a:lnTo>
                      <a:lnTo>
                        <a:pt x="641" y="1673"/>
                      </a:lnTo>
                      <a:lnTo>
                        <a:pt x="618" y="1648"/>
                      </a:lnTo>
                      <a:lnTo>
                        <a:pt x="609" y="1617"/>
                      </a:lnTo>
                      <a:lnTo>
                        <a:pt x="592" y="1616"/>
                      </a:lnTo>
                      <a:lnTo>
                        <a:pt x="566" y="1614"/>
                      </a:lnTo>
                      <a:lnTo>
                        <a:pt x="545" y="1605"/>
                      </a:lnTo>
                      <a:lnTo>
                        <a:pt x="509" y="1570"/>
                      </a:lnTo>
                      <a:lnTo>
                        <a:pt x="492" y="1563"/>
                      </a:lnTo>
                      <a:lnTo>
                        <a:pt x="463" y="1551"/>
                      </a:lnTo>
                      <a:lnTo>
                        <a:pt x="439" y="1554"/>
                      </a:lnTo>
                      <a:lnTo>
                        <a:pt x="405" y="1539"/>
                      </a:lnTo>
                      <a:lnTo>
                        <a:pt x="385" y="1523"/>
                      </a:lnTo>
                      <a:lnTo>
                        <a:pt x="367" y="1531"/>
                      </a:lnTo>
                      <a:lnTo>
                        <a:pt x="370" y="1556"/>
                      </a:lnTo>
                      <a:lnTo>
                        <a:pt x="360" y="1557"/>
                      </a:lnTo>
                      <a:lnTo>
                        <a:pt x="341" y="1565"/>
                      </a:lnTo>
                      <a:lnTo>
                        <a:pt x="325" y="1576"/>
                      </a:lnTo>
                      <a:lnTo>
                        <a:pt x="305" y="1583"/>
                      </a:lnTo>
                      <a:lnTo>
                        <a:pt x="304" y="1563"/>
                      </a:lnTo>
                      <a:lnTo>
                        <a:pt x="311" y="1530"/>
                      </a:lnTo>
                      <a:lnTo>
                        <a:pt x="330" y="1519"/>
                      </a:lnTo>
                      <a:lnTo>
                        <a:pt x="325" y="1510"/>
                      </a:lnTo>
                      <a:lnTo>
                        <a:pt x="302" y="1530"/>
                      </a:lnTo>
                      <a:lnTo>
                        <a:pt x="291" y="1553"/>
                      </a:lnTo>
                      <a:lnTo>
                        <a:pt x="267" y="1577"/>
                      </a:lnTo>
                      <a:lnTo>
                        <a:pt x="279" y="1593"/>
                      </a:lnTo>
                      <a:lnTo>
                        <a:pt x="262" y="1617"/>
                      </a:lnTo>
                      <a:lnTo>
                        <a:pt x="244" y="1630"/>
                      </a:lnTo>
                      <a:lnTo>
                        <a:pt x="227" y="1640"/>
                      </a:lnTo>
                      <a:lnTo>
                        <a:pt x="222" y="1654"/>
                      </a:lnTo>
                      <a:lnTo>
                        <a:pt x="196" y="1670"/>
                      </a:lnTo>
                      <a:lnTo>
                        <a:pt x="190" y="1685"/>
                      </a:lnTo>
                      <a:lnTo>
                        <a:pt x="170" y="1697"/>
                      </a:lnTo>
                      <a:lnTo>
                        <a:pt x="158" y="1696"/>
                      </a:lnTo>
                      <a:lnTo>
                        <a:pt x="143" y="1703"/>
                      </a:lnTo>
                      <a:lnTo>
                        <a:pt x="124" y="1714"/>
                      </a:lnTo>
                      <a:lnTo>
                        <a:pt x="110" y="1725"/>
                      </a:lnTo>
                      <a:lnTo>
                        <a:pt x="81" y="1733"/>
                      </a:lnTo>
                      <a:lnTo>
                        <a:pt x="78" y="1728"/>
                      </a:lnTo>
                      <a:lnTo>
                        <a:pt x="97" y="1714"/>
                      </a:lnTo>
                      <a:lnTo>
                        <a:pt x="114" y="1705"/>
                      </a:lnTo>
                      <a:lnTo>
                        <a:pt x="132" y="1688"/>
                      </a:lnTo>
                      <a:lnTo>
                        <a:pt x="153" y="1685"/>
                      </a:lnTo>
                      <a:lnTo>
                        <a:pt x="163" y="1671"/>
                      </a:lnTo>
                      <a:lnTo>
                        <a:pt x="186" y="1653"/>
                      </a:lnTo>
                      <a:lnTo>
                        <a:pt x="190" y="1646"/>
                      </a:lnTo>
                      <a:lnTo>
                        <a:pt x="202" y="1636"/>
                      </a:lnTo>
                      <a:lnTo>
                        <a:pt x="206" y="1611"/>
                      </a:lnTo>
                      <a:lnTo>
                        <a:pt x="215" y="1591"/>
                      </a:lnTo>
                      <a:lnTo>
                        <a:pt x="195" y="1602"/>
                      </a:lnTo>
                      <a:lnTo>
                        <a:pt x="189" y="1596"/>
                      </a:lnTo>
                      <a:lnTo>
                        <a:pt x="179" y="1608"/>
                      </a:lnTo>
                      <a:lnTo>
                        <a:pt x="169" y="1591"/>
                      </a:lnTo>
                      <a:lnTo>
                        <a:pt x="164" y="1603"/>
                      </a:lnTo>
                      <a:lnTo>
                        <a:pt x="158" y="1586"/>
                      </a:lnTo>
                      <a:lnTo>
                        <a:pt x="140" y="1599"/>
                      </a:lnTo>
                      <a:lnTo>
                        <a:pt x="129" y="1599"/>
                      </a:lnTo>
                      <a:lnTo>
                        <a:pt x="129" y="1580"/>
                      </a:lnTo>
                      <a:lnTo>
                        <a:pt x="132" y="1567"/>
                      </a:lnTo>
                      <a:lnTo>
                        <a:pt x="120" y="1556"/>
                      </a:lnTo>
                      <a:lnTo>
                        <a:pt x="98" y="1562"/>
                      </a:lnTo>
                      <a:lnTo>
                        <a:pt x="83" y="1545"/>
                      </a:lnTo>
                      <a:lnTo>
                        <a:pt x="72" y="1537"/>
                      </a:lnTo>
                      <a:lnTo>
                        <a:pt x="72" y="1517"/>
                      </a:lnTo>
                      <a:lnTo>
                        <a:pt x="58" y="1502"/>
                      </a:lnTo>
                      <a:lnTo>
                        <a:pt x="64" y="1480"/>
                      </a:lnTo>
                      <a:lnTo>
                        <a:pt x="78" y="1460"/>
                      </a:lnTo>
                      <a:lnTo>
                        <a:pt x="84" y="1440"/>
                      </a:lnTo>
                      <a:lnTo>
                        <a:pt x="98" y="1437"/>
                      </a:lnTo>
                      <a:lnTo>
                        <a:pt x="110" y="1444"/>
                      </a:lnTo>
                      <a:lnTo>
                        <a:pt x="124" y="1425"/>
                      </a:lnTo>
                      <a:lnTo>
                        <a:pt x="137" y="1428"/>
                      </a:lnTo>
                      <a:lnTo>
                        <a:pt x="150" y="1417"/>
                      </a:lnTo>
                      <a:lnTo>
                        <a:pt x="147" y="1399"/>
                      </a:lnTo>
                      <a:lnTo>
                        <a:pt x="138" y="1391"/>
                      </a:lnTo>
                      <a:lnTo>
                        <a:pt x="150" y="1376"/>
                      </a:lnTo>
                      <a:lnTo>
                        <a:pt x="140" y="1377"/>
                      </a:lnTo>
                      <a:lnTo>
                        <a:pt x="121" y="1385"/>
                      </a:lnTo>
                      <a:lnTo>
                        <a:pt x="117" y="1394"/>
                      </a:lnTo>
                      <a:lnTo>
                        <a:pt x="103" y="1385"/>
                      </a:lnTo>
                      <a:lnTo>
                        <a:pt x="78" y="1390"/>
                      </a:lnTo>
                      <a:lnTo>
                        <a:pt x="52" y="1381"/>
                      </a:lnTo>
                      <a:lnTo>
                        <a:pt x="46" y="1364"/>
                      </a:lnTo>
                      <a:lnTo>
                        <a:pt x="25" y="1341"/>
                      </a:lnTo>
                      <a:lnTo>
                        <a:pt x="48" y="1322"/>
                      </a:lnTo>
                      <a:lnTo>
                        <a:pt x="86" y="1302"/>
                      </a:lnTo>
                      <a:lnTo>
                        <a:pt x="101" y="1302"/>
                      </a:lnTo>
                      <a:lnTo>
                        <a:pt x="98" y="1322"/>
                      </a:lnTo>
                      <a:lnTo>
                        <a:pt x="135" y="1321"/>
                      </a:lnTo>
                      <a:lnTo>
                        <a:pt x="121" y="1294"/>
                      </a:lnTo>
                      <a:lnTo>
                        <a:pt x="100" y="1278"/>
                      </a:lnTo>
                      <a:lnTo>
                        <a:pt x="87" y="1256"/>
                      </a:lnTo>
                      <a:lnTo>
                        <a:pt x="71" y="1236"/>
                      </a:lnTo>
                      <a:lnTo>
                        <a:pt x="48" y="1221"/>
                      </a:lnTo>
                      <a:lnTo>
                        <a:pt x="57" y="1196"/>
                      </a:lnTo>
                      <a:lnTo>
                        <a:pt x="87" y="1194"/>
                      </a:lnTo>
                      <a:lnTo>
                        <a:pt x="109" y="1173"/>
                      </a:lnTo>
                      <a:lnTo>
                        <a:pt x="114" y="1148"/>
                      </a:lnTo>
                      <a:lnTo>
                        <a:pt x="130" y="1125"/>
                      </a:lnTo>
                      <a:lnTo>
                        <a:pt x="147" y="1119"/>
                      </a:lnTo>
                      <a:lnTo>
                        <a:pt x="179" y="1096"/>
                      </a:lnTo>
                      <a:lnTo>
                        <a:pt x="196" y="1099"/>
                      </a:lnTo>
                      <a:lnTo>
                        <a:pt x="222" y="1072"/>
                      </a:lnTo>
                      <a:lnTo>
                        <a:pt x="248" y="1082"/>
                      </a:lnTo>
                      <a:lnTo>
                        <a:pt x="261" y="1105"/>
                      </a:lnTo>
                      <a:lnTo>
                        <a:pt x="268" y="1096"/>
                      </a:lnTo>
                      <a:lnTo>
                        <a:pt x="298" y="1099"/>
                      </a:lnTo>
                      <a:lnTo>
                        <a:pt x="296" y="1111"/>
                      </a:lnTo>
                      <a:lnTo>
                        <a:pt x="322" y="1119"/>
                      </a:lnTo>
                      <a:lnTo>
                        <a:pt x="341" y="1115"/>
                      </a:lnTo>
                      <a:lnTo>
                        <a:pt x="376" y="1131"/>
                      </a:lnTo>
                      <a:lnTo>
                        <a:pt x="410" y="1136"/>
                      </a:lnTo>
                      <a:lnTo>
                        <a:pt x="423" y="1142"/>
                      </a:lnTo>
                      <a:lnTo>
                        <a:pt x="446" y="1135"/>
                      </a:lnTo>
                      <a:lnTo>
                        <a:pt x="472" y="1148"/>
                      </a:lnTo>
                      <a:lnTo>
                        <a:pt x="491" y="1156"/>
                      </a:lnTo>
                      <a:lnTo>
                        <a:pt x="523" y="1168"/>
                      </a:lnTo>
                      <a:lnTo>
                        <a:pt x="549" y="1191"/>
                      </a:lnTo>
                      <a:lnTo>
                        <a:pt x="568" y="1196"/>
                      </a:lnTo>
                      <a:lnTo>
                        <a:pt x="583" y="1176"/>
                      </a:lnTo>
                      <a:lnTo>
                        <a:pt x="603" y="1161"/>
                      </a:lnTo>
                      <a:lnTo>
                        <a:pt x="629" y="1167"/>
                      </a:lnTo>
                      <a:lnTo>
                        <a:pt x="655" y="1144"/>
                      </a:lnTo>
                      <a:lnTo>
                        <a:pt x="683" y="1131"/>
                      </a:lnTo>
                      <a:lnTo>
                        <a:pt x="695" y="1153"/>
                      </a:lnTo>
                      <a:lnTo>
                        <a:pt x="707" y="1141"/>
                      </a:lnTo>
                      <a:lnTo>
                        <a:pt x="712" y="1118"/>
                      </a:lnTo>
                      <a:lnTo>
                        <a:pt x="724" y="1122"/>
                      </a:lnTo>
                      <a:lnTo>
                        <a:pt x="753" y="1167"/>
                      </a:lnTo>
                      <a:lnTo>
                        <a:pt x="776" y="1133"/>
                      </a:lnTo>
                      <a:lnTo>
                        <a:pt x="778" y="1171"/>
                      </a:lnTo>
                      <a:lnTo>
                        <a:pt x="799" y="1164"/>
                      </a:lnTo>
                      <a:lnTo>
                        <a:pt x="805" y="1148"/>
                      </a:lnTo>
                      <a:lnTo>
                        <a:pt x="827" y="1151"/>
                      </a:lnTo>
                      <a:lnTo>
                        <a:pt x="853" y="1173"/>
                      </a:lnTo>
                      <a:lnTo>
                        <a:pt x="893" y="1190"/>
                      </a:lnTo>
                      <a:lnTo>
                        <a:pt x="916" y="1199"/>
                      </a:lnTo>
                      <a:lnTo>
                        <a:pt x="933" y="1196"/>
                      </a:lnTo>
                      <a:lnTo>
                        <a:pt x="957" y="1219"/>
                      </a:lnTo>
                      <a:lnTo>
                        <a:pt x="933" y="1242"/>
                      </a:lnTo>
                      <a:lnTo>
                        <a:pt x="963" y="1251"/>
                      </a:lnTo>
                      <a:lnTo>
                        <a:pt x="1009" y="1247"/>
                      </a:lnTo>
                      <a:lnTo>
                        <a:pt x="1025" y="1239"/>
                      </a:lnTo>
                      <a:lnTo>
                        <a:pt x="1043" y="1265"/>
                      </a:lnTo>
                      <a:lnTo>
                        <a:pt x="1061" y="1244"/>
                      </a:lnTo>
                      <a:lnTo>
                        <a:pt x="1045" y="1224"/>
                      </a:lnTo>
                      <a:lnTo>
                        <a:pt x="1055" y="1207"/>
                      </a:lnTo>
                      <a:lnTo>
                        <a:pt x="1077" y="1205"/>
                      </a:lnTo>
                      <a:lnTo>
                        <a:pt x="1091" y="1201"/>
                      </a:lnTo>
                      <a:lnTo>
                        <a:pt x="1104" y="1211"/>
                      </a:lnTo>
                      <a:lnTo>
                        <a:pt x="1121" y="1238"/>
                      </a:lnTo>
                      <a:lnTo>
                        <a:pt x="1140" y="1233"/>
                      </a:lnTo>
                      <a:lnTo>
                        <a:pt x="1170" y="1254"/>
                      </a:lnTo>
                      <a:lnTo>
                        <a:pt x="1198" y="1247"/>
                      </a:lnTo>
                      <a:lnTo>
                        <a:pt x="1222" y="1248"/>
                      </a:lnTo>
                      <a:lnTo>
                        <a:pt x="1221" y="1219"/>
                      </a:lnTo>
                      <a:lnTo>
                        <a:pt x="1236" y="1211"/>
                      </a:lnTo>
                      <a:lnTo>
                        <a:pt x="1262" y="1227"/>
                      </a:lnTo>
                      <a:lnTo>
                        <a:pt x="1262" y="1270"/>
                      </a:lnTo>
                      <a:lnTo>
                        <a:pt x="1273" y="1234"/>
                      </a:lnTo>
                      <a:lnTo>
                        <a:pt x="1287" y="1234"/>
                      </a:lnTo>
                      <a:lnTo>
                        <a:pt x="1295" y="1187"/>
                      </a:lnTo>
                      <a:lnTo>
                        <a:pt x="1276" y="1158"/>
                      </a:lnTo>
                      <a:lnTo>
                        <a:pt x="1256" y="1138"/>
                      </a:lnTo>
                      <a:lnTo>
                        <a:pt x="1258" y="1079"/>
                      </a:lnTo>
                      <a:lnTo>
                        <a:pt x="1278" y="1041"/>
                      </a:lnTo>
                      <a:lnTo>
                        <a:pt x="1301" y="1048"/>
                      </a:lnTo>
                      <a:lnTo>
                        <a:pt x="1318" y="1073"/>
                      </a:lnTo>
                      <a:lnTo>
                        <a:pt x="1342" y="1131"/>
                      </a:lnTo>
                      <a:lnTo>
                        <a:pt x="1327" y="1156"/>
                      </a:lnTo>
                      <a:lnTo>
                        <a:pt x="1357" y="1167"/>
                      </a:lnTo>
                      <a:lnTo>
                        <a:pt x="1357" y="1216"/>
                      </a:lnTo>
                      <a:lnTo>
                        <a:pt x="1380" y="1179"/>
                      </a:lnTo>
                      <a:lnTo>
                        <a:pt x="1402" y="1210"/>
                      </a:lnTo>
                      <a:lnTo>
                        <a:pt x="1396" y="1244"/>
                      </a:lnTo>
                      <a:lnTo>
                        <a:pt x="1413" y="1274"/>
                      </a:lnTo>
                      <a:lnTo>
                        <a:pt x="1431" y="1242"/>
                      </a:lnTo>
                      <a:lnTo>
                        <a:pt x="1443" y="1201"/>
                      </a:lnTo>
                      <a:lnTo>
                        <a:pt x="1445" y="1148"/>
                      </a:lnTo>
                      <a:lnTo>
                        <a:pt x="1469" y="1151"/>
                      </a:lnTo>
                      <a:lnTo>
                        <a:pt x="1494" y="1159"/>
                      </a:lnTo>
                      <a:lnTo>
                        <a:pt x="1517" y="1184"/>
                      </a:lnTo>
                      <a:lnTo>
                        <a:pt x="1518" y="1207"/>
                      </a:lnTo>
                      <a:lnTo>
                        <a:pt x="1506" y="1231"/>
                      </a:lnTo>
                      <a:lnTo>
                        <a:pt x="1518" y="1256"/>
                      </a:lnTo>
                      <a:lnTo>
                        <a:pt x="1515" y="1278"/>
                      </a:lnTo>
                      <a:lnTo>
                        <a:pt x="1482" y="1308"/>
                      </a:lnTo>
                      <a:lnTo>
                        <a:pt x="1459" y="1316"/>
                      </a:lnTo>
                      <a:lnTo>
                        <a:pt x="1440" y="1302"/>
                      </a:lnTo>
                      <a:lnTo>
                        <a:pt x="1436" y="1324"/>
                      </a:lnTo>
                      <a:lnTo>
                        <a:pt x="1419" y="1359"/>
                      </a:lnTo>
                      <a:lnTo>
                        <a:pt x="1414" y="1377"/>
                      </a:lnTo>
                      <a:lnTo>
                        <a:pt x="1394" y="1404"/>
                      </a:lnTo>
                      <a:lnTo>
                        <a:pt x="1368" y="1407"/>
                      </a:lnTo>
                      <a:lnTo>
                        <a:pt x="1356" y="1424"/>
                      </a:lnTo>
                      <a:lnTo>
                        <a:pt x="1354" y="1448"/>
                      </a:lnTo>
                      <a:lnTo>
                        <a:pt x="1334" y="1453"/>
                      </a:lnTo>
                      <a:lnTo>
                        <a:pt x="1313" y="1482"/>
                      </a:lnTo>
                      <a:lnTo>
                        <a:pt x="1295" y="1523"/>
                      </a:lnTo>
                      <a:lnTo>
                        <a:pt x="1288" y="1551"/>
                      </a:lnTo>
                      <a:lnTo>
                        <a:pt x="1287" y="1590"/>
                      </a:lnTo>
                      <a:lnTo>
                        <a:pt x="1311" y="1596"/>
                      </a:lnTo>
                      <a:lnTo>
                        <a:pt x="1321" y="1626"/>
                      </a:lnTo>
                      <a:lnTo>
                        <a:pt x="1328" y="1651"/>
                      </a:lnTo>
                      <a:lnTo>
                        <a:pt x="1351" y="1645"/>
                      </a:lnTo>
                      <a:lnTo>
                        <a:pt x="1384" y="1659"/>
                      </a:lnTo>
                      <a:lnTo>
                        <a:pt x="1400" y="1670"/>
                      </a:lnTo>
                      <a:lnTo>
                        <a:pt x="1414" y="1685"/>
                      </a:lnTo>
                      <a:lnTo>
                        <a:pt x="1436" y="1693"/>
                      </a:lnTo>
                      <a:lnTo>
                        <a:pt x="1453" y="1706"/>
                      </a:lnTo>
                      <a:lnTo>
                        <a:pt x="1482" y="1708"/>
                      </a:lnTo>
                      <a:lnTo>
                        <a:pt x="1500" y="1711"/>
                      </a:lnTo>
                      <a:lnTo>
                        <a:pt x="1497" y="1736"/>
                      </a:lnTo>
                      <a:lnTo>
                        <a:pt x="1503" y="1766"/>
                      </a:lnTo>
                      <a:lnTo>
                        <a:pt x="1515" y="1797"/>
                      </a:lnTo>
                      <a:lnTo>
                        <a:pt x="1542" y="1823"/>
                      </a:lnTo>
                      <a:lnTo>
                        <a:pt x="1554" y="1814"/>
                      </a:lnTo>
                      <a:lnTo>
                        <a:pt x="1563" y="1786"/>
                      </a:lnTo>
                      <a:lnTo>
                        <a:pt x="1554" y="1740"/>
                      </a:lnTo>
                      <a:lnTo>
                        <a:pt x="1543" y="1725"/>
                      </a:lnTo>
                      <a:lnTo>
                        <a:pt x="1571" y="1711"/>
                      </a:lnTo>
                      <a:lnTo>
                        <a:pt x="1589" y="1689"/>
                      </a:lnTo>
                      <a:lnTo>
                        <a:pt x="1598" y="1668"/>
                      </a:lnTo>
                      <a:lnTo>
                        <a:pt x="1598" y="1646"/>
                      </a:lnTo>
                      <a:lnTo>
                        <a:pt x="1586" y="1620"/>
                      </a:lnTo>
                      <a:lnTo>
                        <a:pt x="1565" y="1596"/>
                      </a:lnTo>
                      <a:lnTo>
                        <a:pt x="1586" y="1560"/>
                      </a:lnTo>
                      <a:lnTo>
                        <a:pt x="1578" y="1528"/>
                      </a:lnTo>
                      <a:lnTo>
                        <a:pt x="1572" y="1471"/>
                      </a:lnTo>
                      <a:lnTo>
                        <a:pt x="1584" y="1464"/>
                      </a:lnTo>
                      <a:lnTo>
                        <a:pt x="1614" y="1473"/>
                      </a:lnTo>
                      <a:lnTo>
                        <a:pt x="1630" y="1477"/>
                      </a:lnTo>
                      <a:lnTo>
                        <a:pt x="1646" y="1467"/>
                      </a:lnTo>
                      <a:lnTo>
                        <a:pt x="1661" y="1480"/>
                      </a:lnTo>
                      <a:lnTo>
                        <a:pt x="1683" y="1500"/>
                      </a:lnTo>
                      <a:lnTo>
                        <a:pt x="1687" y="1514"/>
                      </a:lnTo>
                      <a:lnTo>
                        <a:pt x="1718" y="1517"/>
                      </a:lnTo>
                      <a:lnTo>
                        <a:pt x="1718" y="1547"/>
                      </a:lnTo>
                      <a:lnTo>
                        <a:pt x="1724" y="1590"/>
                      </a:lnTo>
                      <a:lnTo>
                        <a:pt x="1739" y="1596"/>
                      </a:lnTo>
                      <a:lnTo>
                        <a:pt x="1752" y="1614"/>
                      </a:lnTo>
                      <a:lnTo>
                        <a:pt x="1776" y="1596"/>
                      </a:lnTo>
                      <a:lnTo>
                        <a:pt x="1793" y="1559"/>
                      </a:lnTo>
                      <a:lnTo>
                        <a:pt x="1805" y="1543"/>
                      </a:lnTo>
                      <a:lnTo>
                        <a:pt x="1818" y="1574"/>
                      </a:lnTo>
                      <a:lnTo>
                        <a:pt x="1841" y="1616"/>
                      </a:lnTo>
                      <a:lnTo>
                        <a:pt x="1859" y="1654"/>
                      </a:lnTo>
                      <a:lnTo>
                        <a:pt x="1853" y="1674"/>
                      </a:lnTo>
                      <a:lnTo>
                        <a:pt x="1876" y="1691"/>
                      </a:lnTo>
                      <a:lnTo>
                        <a:pt x="1891" y="1709"/>
                      </a:lnTo>
                      <a:lnTo>
                        <a:pt x="1919" y="1717"/>
                      </a:lnTo>
                      <a:lnTo>
                        <a:pt x="1930" y="1726"/>
                      </a:lnTo>
                      <a:lnTo>
                        <a:pt x="1936" y="1751"/>
                      </a:lnTo>
                      <a:lnTo>
                        <a:pt x="1950" y="1756"/>
                      </a:lnTo>
                      <a:lnTo>
                        <a:pt x="1956" y="1766"/>
                      </a:lnTo>
                      <a:lnTo>
                        <a:pt x="1957" y="1799"/>
                      </a:lnTo>
                      <a:lnTo>
                        <a:pt x="1945" y="1808"/>
                      </a:lnTo>
                      <a:lnTo>
                        <a:pt x="1933" y="1819"/>
                      </a:lnTo>
                      <a:lnTo>
                        <a:pt x="1905" y="1828"/>
                      </a:lnTo>
                      <a:lnTo>
                        <a:pt x="1882" y="1851"/>
                      </a:lnTo>
                      <a:lnTo>
                        <a:pt x="1854" y="1854"/>
                      </a:lnTo>
                      <a:lnTo>
                        <a:pt x="1818" y="1849"/>
                      </a:lnTo>
                      <a:lnTo>
                        <a:pt x="1792" y="1849"/>
                      </a:lnTo>
                      <a:lnTo>
                        <a:pt x="1773" y="1851"/>
                      </a:lnTo>
                      <a:lnTo>
                        <a:pt x="1759" y="1869"/>
                      </a:lnTo>
                      <a:lnTo>
                        <a:pt x="1736" y="1882"/>
                      </a:lnTo>
                      <a:lnTo>
                        <a:pt x="1712" y="1915"/>
                      </a:lnTo>
                      <a:lnTo>
                        <a:pt x="1692" y="1939"/>
                      </a:lnTo>
                      <a:lnTo>
                        <a:pt x="1707" y="1935"/>
                      </a:lnTo>
                      <a:lnTo>
                        <a:pt x="1735" y="1902"/>
                      </a:lnTo>
                      <a:lnTo>
                        <a:pt x="1770" y="1880"/>
                      </a:lnTo>
                      <a:lnTo>
                        <a:pt x="1796" y="1877"/>
                      </a:lnTo>
                      <a:lnTo>
                        <a:pt x="1811" y="1889"/>
                      </a:lnTo>
                      <a:lnTo>
                        <a:pt x="1795" y="1908"/>
                      </a:lnTo>
                      <a:lnTo>
                        <a:pt x="1801" y="1934"/>
                      </a:lnTo>
                      <a:lnTo>
                        <a:pt x="1807" y="1954"/>
                      </a:lnTo>
                      <a:lnTo>
                        <a:pt x="1828" y="1966"/>
                      </a:lnTo>
                      <a:lnTo>
                        <a:pt x="1857" y="1962"/>
                      </a:lnTo>
                      <a:lnTo>
                        <a:pt x="1874" y="1934"/>
                      </a:lnTo>
                      <a:lnTo>
                        <a:pt x="1876" y="1952"/>
                      </a:lnTo>
                      <a:close/>
                      <a:moveTo>
                        <a:pt x="1226" y="1135"/>
                      </a:moveTo>
                      <a:lnTo>
                        <a:pt x="1215" y="1156"/>
                      </a:lnTo>
                      <a:lnTo>
                        <a:pt x="1199" y="1171"/>
                      </a:lnTo>
                      <a:lnTo>
                        <a:pt x="1222" y="1193"/>
                      </a:lnTo>
                      <a:lnTo>
                        <a:pt x="1236" y="1188"/>
                      </a:lnTo>
                      <a:lnTo>
                        <a:pt x="1259" y="1202"/>
                      </a:lnTo>
                      <a:lnTo>
                        <a:pt x="1270" y="1185"/>
                      </a:lnTo>
                      <a:lnTo>
                        <a:pt x="1259" y="1167"/>
                      </a:lnTo>
                      <a:lnTo>
                        <a:pt x="1255" y="1158"/>
                      </a:lnTo>
                      <a:lnTo>
                        <a:pt x="1244" y="1148"/>
                      </a:lnTo>
                      <a:lnTo>
                        <a:pt x="1226" y="1135"/>
                      </a:lnTo>
                      <a:close/>
                      <a:moveTo>
                        <a:pt x="1471" y="1467"/>
                      </a:moveTo>
                      <a:lnTo>
                        <a:pt x="1474" y="1476"/>
                      </a:lnTo>
                      <a:lnTo>
                        <a:pt x="1486" y="1477"/>
                      </a:lnTo>
                      <a:lnTo>
                        <a:pt x="1506" y="1457"/>
                      </a:lnTo>
                      <a:lnTo>
                        <a:pt x="1508" y="1450"/>
                      </a:lnTo>
                      <a:lnTo>
                        <a:pt x="1483" y="1450"/>
                      </a:lnTo>
                      <a:lnTo>
                        <a:pt x="1471" y="1467"/>
                      </a:lnTo>
                      <a:close/>
                      <a:moveTo>
                        <a:pt x="1546" y="1496"/>
                      </a:moveTo>
                      <a:lnTo>
                        <a:pt x="1552" y="1477"/>
                      </a:lnTo>
                      <a:lnTo>
                        <a:pt x="1548" y="1470"/>
                      </a:lnTo>
                      <a:lnTo>
                        <a:pt x="1542" y="1470"/>
                      </a:lnTo>
                      <a:lnTo>
                        <a:pt x="1534" y="1480"/>
                      </a:lnTo>
                      <a:lnTo>
                        <a:pt x="1534" y="1482"/>
                      </a:lnTo>
                      <a:lnTo>
                        <a:pt x="1538" y="1493"/>
                      </a:lnTo>
                      <a:lnTo>
                        <a:pt x="1546" y="1496"/>
                      </a:lnTo>
                      <a:close/>
                      <a:moveTo>
                        <a:pt x="1245" y="950"/>
                      </a:moveTo>
                      <a:lnTo>
                        <a:pt x="1241" y="932"/>
                      </a:lnTo>
                      <a:lnTo>
                        <a:pt x="1210" y="939"/>
                      </a:lnTo>
                      <a:lnTo>
                        <a:pt x="1189" y="927"/>
                      </a:lnTo>
                      <a:lnTo>
                        <a:pt x="1169" y="956"/>
                      </a:lnTo>
                      <a:lnTo>
                        <a:pt x="1189" y="995"/>
                      </a:lnTo>
                      <a:lnTo>
                        <a:pt x="1153" y="989"/>
                      </a:lnTo>
                      <a:lnTo>
                        <a:pt x="1152" y="1007"/>
                      </a:lnTo>
                      <a:lnTo>
                        <a:pt x="1195" y="1050"/>
                      </a:lnTo>
                      <a:lnTo>
                        <a:pt x="1207" y="1070"/>
                      </a:lnTo>
                      <a:lnTo>
                        <a:pt x="1224" y="1075"/>
                      </a:lnTo>
                      <a:lnTo>
                        <a:pt x="1252" y="1055"/>
                      </a:lnTo>
                      <a:lnTo>
                        <a:pt x="1255" y="1004"/>
                      </a:lnTo>
                      <a:lnTo>
                        <a:pt x="1229" y="979"/>
                      </a:lnTo>
                      <a:lnTo>
                        <a:pt x="1245" y="950"/>
                      </a:lnTo>
                      <a:close/>
                      <a:moveTo>
                        <a:pt x="1178" y="1141"/>
                      </a:moveTo>
                      <a:lnTo>
                        <a:pt x="1147" y="1116"/>
                      </a:lnTo>
                      <a:lnTo>
                        <a:pt x="1118" y="1090"/>
                      </a:lnTo>
                      <a:lnTo>
                        <a:pt x="1114" y="1052"/>
                      </a:lnTo>
                      <a:lnTo>
                        <a:pt x="1103" y="998"/>
                      </a:lnTo>
                      <a:lnTo>
                        <a:pt x="1083" y="973"/>
                      </a:lnTo>
                      <a:lnTo>
                        <a:pt x="1066" y="964"/>
                      </a:lnTo>
                      <a:lnTo>
                        <a:pt x="1051" y="973"/>
                      </a:lnTo>
                      <a:lnTo>
                        <a:pt x="1063" y="1032"/>
                      </a:lnTo>
                      <a:lnTo>
                        <a:pt x="1055" y="1055"/>
                      </a:lnTo>
                      <a:lnTo>
                        <a:pt x="1040" y="999"/>
                      </a:lnTo>
                      <a:lnTo>
                        <a:pt x="1025" y="981"/>
                      </a:lnTo>
                      <a:lnTo>
                        <a:pt x="1006" y="1010"/>
                      </a:lnTo>
                      <a:lnTo>
                        <a:pt x="982" y="981"/>
                      </a:lnTo>
                      <a:lnTo>
                        <a:pt x="943" y="998"/>
                      </a:lnTo>
                      <a:lnTo>
                        <a:pt x="953" y="972"/>
                      </a:lnTo>
                      <a:lnTo>
                        <a:pt x="934" y="959"/>
                      </a:lnTo>
                      <a:lnTo>
                        <a:pt x="888" y="995"/>
                      </a:lnTo>
                      <a:lnTo>
                        <a:pt x="876" y="1018"/>
                      </a:lnTo>
                      <a:lnTo>
                        <a:pt x="862" y="1059"/>
                      </a:lnTo>
                      <a:lnTo>
                        <a:pt x="891" y="1075"/>
                      </a:lnTo>
                      <a:lnTo>
                        <a:pt x="919" y="1073"/>
                      </a:lnTo>
                      <a:lnTo>
                        <a:pt x="879" y="1095"/>
                      </a:lnTo>
                      <a:lnTo>
                        <a:pt x="888" y="1115"/>
                      </a:lnTo>
                      <a:lnTo>
                        <a:pt x="913" y="1115"/>
                      </a:lnTo>
                      <a:lnTo>
                        <a:pt x="949" y="1111"/>
                      </a:lnTo>
                      <a:lnTo>
                        <a:pt x="982" y="1122"/>
                      </a:lnTo>
                      <a:lnTo>
                        <a:pt x="960" y="1131"/>
                      </a:lnTo>
                      <a:lnTo>
                        <a:pt x="936" y="1130"/>
                      </a:lnTo>
                      <a:lnTo>
                        <a:pt x="908" y="1138"/>
                      </a:lnTo>
                      <a:lnTo>
                        <a:pt x="897" y="1144"/>
                      </a:lnTo>
                      <a:lnTo>
                        <a:pt x="919" y="1182"/>
                      </a:lnTo>
                      <a:lnTo>
                        <a:pt x="934" y="1178"/>
                      </a:lnTo>
                      <a:lnTo>
                        <a:pt x="957" y="1190"/>
                      </a:lnTo>
                      <a:lnTo>
                        <a:pt x="966" y="1213"/>
                      </a:lnTo>
                      <a:lnTo>
                        <a:pt x="997" y="1208"/>
                      </a:lnTo>
                      <a:lnTo>
                        <a:pt x="1041" y="1201"/>
                      </a:lnTo>
                      <a:lnTo>
                        <a:pt x="1074" y="1185"/>
                      </a:lnTo>
                      <a:lnTo>
                        <a:pt x="1094" y="1182"/>
                      </a:lnTo>
                      <a:lnTo>
                        <a:pt x="1123" y="1194"/>
                      </a:lnTo>
                      <a:lnTo>
                        <a:pt x="1153" y="1202"/>
                      </a:lnTo>
                      <a:lnTo>
                        <a:pt x="1160" y="1185"/>
                      </a:lnTo>
                      <a:lnTo>
                        <a:pt x="1149" y="1165"/>
                      </a:lnTo>
                      <a:lnTo>
                        <a:pt x="1176" y="1162"/>
                      </a:lnTo>
                      <a:lnTo>
                        <a:pt x="1178" y="1141"/>
                      </a:lnTo>
                      <a:close/>
                      <a:moveTo>
                        <a:pt x="1538" y="1417"/>
                      </a:moveTo>
                      <a:lnTo>
                        <a:pt x="1526" y="1405"/>
                      </a:lnTo>
                      <a:lnTo>
                        <a:pt x="1512" y="1408"/>
                      </a:lnTo>
                      <a:lnTo>
                        <a:pt x="1511" y="1390"/>
                      </a:lnTo>
                      <a:lnTo>
                        <a:pt x="1492" y="1377"/>
                      </a:lnTo>
                      <a:lnTo>
                        <a:pt x="1472" y="1362"/>
                      </a:lnTo>
                      <a:lnTo>
                        <a:pt x="1463" y="1351"/>
                      </a:lnTo>
                      <a:lnTo>
                        <a:pt x="1454" y="1359"/>
                      </a:lnTo>
                      <a:lnTo>
                        <a:pt x="1451" y="1341"/>
                      </a:lnTo>
                      <a:lnTo>
                        <a:pt x="1439" y="1337"/>
                      </a:lnTo>
                      <a:lnTo>
                        <a:pt x="1433" y="1374"/>
                      </a:lnTo>
                      <a:lnTo>
                        <a:pt x="1431" y="1407"/>
                      </a:lnTo>
                      <a:lnTo>
                        <a:pt x="1416" y="1425"/>
                      </a:lnTo>
                      <a:lnTo>
                        <a:pt x="1439" y="1422"/>
                      </a:lnTo>
                      <a:lnTo>
                        <a:pt x="1445" y="1444"/>
                      </a:lnTo>
                      <a:lnTo>
                        <a:pt x="1469" y="1424"/>
                      </a:lnTo>
                      <a:lnTo>
                        <a:pt x="1486" y="1404"/>
                      </a:lnTo>
                      <a:lnTo>
                        <a:pt x="1495" y="1420"/>
                      </a:lnTo>
                      <a:lnTo>
                        <a:pt x="1523" y="1430"/>
                      </a:lnTo>
                      <a:lnTo>
                        <a:pt x="1538" y="1417"/>
                      </a:lnTo>
                      <a:close/>
                      <a:moveTo>
                        <a:pt x="1364" y="315"/>
                      </a:moveTo>
                      <a:lnTo>
                        <a:pt x="1379" y="361"/>
                      </a:lnTo>
                      <a:lnTo>
                        <a:pt x="1410" y="397"/>
                      </a:lnTo>
                      <a:lnTo>
                        <a:pt x="1469" y="391"/>
                      </a:lnTo>
                      <a:lnTo>
                        <a:pt x="1508" y="403"/>
                      </a:lnTo>
                      <a:lnTo>
                        <a:pt x="1482" y="440"/>
                      </a:lnTo>
                      <a:lnTo>
                        <a:pt x="1468" y="429"/>
                      </a:lnTo>
                      <a:lnTo>
                        <a:pt x="1420" y="424"/>
                      </a:lnTo>
                      <a:lnTo>
                        <a:pt x="1428" y="475"/>
                      </a:lnTo>
                      <a:lnTo>
                        <a:pt x="1453" y="512"/>
                      </a:lnTo>
                      <a:lnTo>
                        <a:pt x="1446" y="544"/>
                      </a:lnTo>
                      <a:lnTo>
                        <a:pt x="1417" y="566"/>
                      </a:lnTo>
                      <a:lnTo>
                        <a:pt x="1403" y="600"/>
                      </a:lnTo>
                      <a:lnTo>
                        <a:pt x="1431" y="615"/>
                      </a:lnTo>
                      <a:lnTo>
                        <a:pt x="1454" y="669"/>
                      </a:lnTo>
                      <a:lnTo>
                        <a:pt x="1408" y="633"/>
                      </a:lnTo>
                      <a:lnTo>
                        <a:pt x="1397" y="638"/>
                      </a:lnTo>
                      <a:lnTo>
                        <a:pt x="1407" y="696"/>
                      </a:lnTo>
                      <a:lnTo>
                        <a:pt x="1374" y="713"/>
                      </a:lnTo>
                      <a:lnTo>
                        <a:pt x="1376" y="750"/>
                      </a:lnTo>
                      <a:lnTo>
                        <a:pt x="1410" y="753"/>
                      </a:lnTo>
                      <a:lnTo>
                        <a:pt x="1434" y="763"/>
                      </a:lnTo>
                      <a:lnTo>
                        <a:pt x="1485" y="752"/>
                      </a:lnTo>
                      <a:lnTo>
                        <a:pt x="1531" y="772"/>
                      </a:lnTo>
                      <a:lnTo>
                        <a:pt x="1575" y="727"/>
                      </a:lnTo>
                      <a:lnTo>
                        <a:pt x="1575" y="709"/>
                      </a:lnTo>
                      <a:lnTo>
                        <a:pt x="1546" y="712"/>
                      </a:lnTo>
                      <a:lnTo>
                        <a:pt x="1545" y="693"/>
                      </a:lnTo>
                      <a:lnTo>
                        <a:pt x="1568" y="670"/>
                      </a:lnTo>
                      <a:lnTo>
                        <a:pt x="1577" y="640"/>
                      </a:lnTo>
                      <a:lnTo>
                        <a:pt x="1603" y="615"/>
                      </a:lnTo>
                      <a:lnTo>
                        <a:pt x="1618" y="586"/>
                      </a:lnTo>
                      <a:lnTo>
                        <a:pt x="1604" y="543"/>
                      </a:lnTo>
                      <a:lnTo>
                        <a:pt x="1617" y="526"/>
                      </a:lnTo>
                      <a:lnTo>
                        <a:pt x="1594" y="515"/>
                      </a:lnTo>
                      <a:lnTo>
                        <a:pt x="1644" y="504"/>
                      </a:lnTo>
                      <a:lnTo>
                        <a:pt x="1657" y="484"/>
                      </a:lnTo>
                      <a:lnTo>
                        <a:pt x="1692" y="469"/>
                      </a:lnTo>
                      <a:lnTo>
                        <a:pt x="1721" y="386"/>
                      </a:lnTo>
                      <a:lnTo>
                        <a:pt x="1749" y="355"/>
                      </a:lnTo>
                      <a:lnTo>
                        <a:pt x="1790" y="288"/>
                      </a:lnTo>
                      <a:lnTo>
                        <a:pt x="1752" y="288"/>
                      </a:lnTo>
                      <a:lnTo>
                        <a:pt x="1767" y="261"/>
                      </a:lnTo>
                      <a:lnTo>
                        <a:pt x="1810" y="237"/>
                      </a:lnTo>
                      <a:lnTo>
                        <a:pt x="1851" y="183"/>
                      </a:lnTo>
                      <a:lnTo>
                        <a:pt x="1851" y="148"/>
                      </a:lnTo>
                      <a:lnTo>
                        <a:pt x="1821" y="111"/>
                      </a:lnTo>
                      <a:lnTo>
                        <a:pt x="1784" y="92"/>
                      </a:lnTo>
                      <a:lnTo>
                        <a:pt x="1738" y="82"/>
                      </a:lnTo>
                      <a:lnTo>
                        <a:pt x="1701" y="72"/>
                      </a:lnTo>
                      <a:lnTo>
                        <a:pt x="1663" y="63"/>
                      </a:lnTo>
                      <a:lnTo>
                        <a:pt x="1614" y="86"/>
                      </a:lnTo>
                      <a:lnTo>
                        <a:pt x="1604" y="71"/>
                      </a:lnTo>
                      <a:lnTo>
                        <a:pt x="1552" y="77"/>
                      </a:lnTo>
                      <a:lnTo>
                        <a:pt x="1522" y="94"/>
                      </a:lnTo>
                      <a:lnTo>
                        <a:pt x="1499" y="115"/>
                      </a:lnTo>
                      <a:lnTo>
                        <a:pt x="1485" y="188"/>
                      </a:lnTo>
                      <a:lnTo>
                        <a:pt x="1466" y="151"/>
                      </a:lnTo>
                      <a:lnTo>
                        <a:pt x="1445" y="145"/>
                      </a:lnTo>
                      <a:lnTo>
                        <a:pt x="1420" y="192"/>
                      </a:lnTo>
                      <a:lnTo>
                        <a:pt x="1387" y="214"/>
                      </a:lnTo>
                      <a:lnTo>
                        <a:pt x="1367" y="217"/>
                      </a:lnTo>
                      <a:lnTo>
                        <a:pt x="1341" y="241"/>
                      </a:lnTo>
                      <a:lnTo>
                        <a:pt x="1344" y="281"/>
                      </a:lnTo>
                      <a:lnTo>
                        <a:pt x="1364" y="315"/>
                      </a:lnTo>
                      <a:close/>
                      <a:moveTo>
                        <a:pt x="1029" y="580"/>
                      </a:moveTo>
                      <a:lnTo>
                        <a:pt x="1006" y="561"/>
                      </a:lnTo>
                      <a:lnTo>
                        <a:pt x="997" y="558"/>
                      </a:lnTo>
                      <a:lnTo>
                        <a:pt x="980" y="584"/>
                      </a:lnTo>
                      <a:lnTo>
                        <a:pt x="980" y="597"/>
                      </a:lnTo>
                      <a:lnTo>
                        <a:pt x="1008" y="597"/>
                      </a:lnTo>
                      <a:lnTo>
                        <a:pt x="1029" y="580"/>
                      </a:lnTo>
                      <a:close/>
                      <a:moveTo>
                        <a:pt x="1747" y="1135"/>
                      </a:moveTo>
                      <a:lnTo>
                        <a:pt x="1733" y="1115"/>
                      </a:lnTo>
                      <a:lnTo>
                        <a:pt x="1690" y="1095"/>
                      </a:lnTo>
                      <a:lnTo>
                        <a:pt x="1673" y="1059"/>
                      </a:lnTo>
                      <a:lnTo>
                        <a:pt x="1641" y="1072"/>
                      </a:lnTo>
                      <a:lnTo>
                        <a:pt x="1640" y="1048"/>
                      </a:lnTo>
                      <a:lnTo>
                        <a:pt x="1615" y="1022"/>
                      </a:lnTo>
                      <a:lnTo>
                        <a:pt x="1577" y="993"/>
                      </a:lnTo>
                      <a:lnTo>
                        <a:pt x="1561" y="1016"/>
                      </a:lnTo>
                      <a:lnTo>
                        <a:pt x="1526" y="1032"/>
                      </a:lnTo>
                      <a:lnTo>
                        <a:pt x="1529" y="995"/>
                      </a:lnTo>
                      <a:lnTo>
                        <a:pt x="1500" y="933"/>
                      </a:lnTo>
                      <a:lnTo>
                        <a:pt x="1456" y="958"/>
                      </a:lnTo>
                      <a:lnTo>
                        <a:pt x="1440" y="1005"/>
                      </a:lnTo>
                      <a:lnTo>
                        <a:pt x="1426" y="969"/>
                      </a:lnTo>
                      <a:lnTo>
                        <a:pt x="1439" y="930"/>
                      </a:lnTo>
                      <a:lnTo>
                        <a:pt x="1394" y="945"/>
                      </a:lnTo>
                      <a:lnTo>
                        <a:pt x="1377" y="970"/>
                      </a:lnTo>
                      <a:lnTo>
                        <a:pt x="1364" y="1022"/>
                      </a:lnTo>
                      <a:lnTo>
                        <a:pt x="1370" y="1078"/>
                      </a:lnTo>
                      <a:lnTo>
                        <a:pt x="1394" y="1078"/>
                      </a:lnTo>
                      <a:lnTo>
                        <a:pt x="1376" y="1102"/>
                      </a:lnTo>
                      <a:lnTo>
                        <a:pt x="1390" y="1121"/>
                      </a:lnTo>
                      <a:lnTo>
                        <a:pt x="1419" y="1128"/>
                      </a:lnTo>
                      <a:lnTo>
                        <a:pt x="1454" y="1144"/>
                      </a:lnTo>
                      <a:lnTo>
                        <a:pt x="1517" y="1155"/>
                      </a:lnTo>
                      <a:lnTo>
                        <a:pt x="1548" y="1148"/>
                      </a:lnTo>
                      <a:lnTo>
                        <a:pt x="1557" y="1133"/>
                      </a:lnTo>
                      <a:lnTo>
                        <a:pt x="1571" y="1150"/>
                      </a:lnTo>
                      <a:lnTo>
                        <a:pt x="1586" y="1153"/>
                      </a:lnTo>
                      <a:lnTo>
                        <a:pt x="1604" y="1184"/>
                      </a:lnTo>
                      <a:lnTo>
                        <a:pt x="1594" y="1196"/>
                      </a:lnTo>
                      <a:lnTo>
                        <a:pt x="1629" y="1211"/>
                      </a:lnTo>
                      <a:lnTo>
                        <a:pt x="1655" y="1234"/>
                      </a:lnTo>
                      <a:lnTo>
                        <a:pt x="1661" y="1250"/>
                      </a:lnTo>
                      <a:lnTo>
                        <a:pt x="1666" y="1270"/>
                      </a:lnTo>
                      <a:lnTo>
                        <a:pt x="1644" y="1313"/>
                      </a:lnTo>
                      <a:lnTo>
                        <a:pt x="1638" y="1334"/>
                      </a:lnTo>
                      <a:lnTo>
                        <a:pt x="1643" y="1348"/>
                      </a:lnTo>
                      <a:lnTo>
                        <a:pt x="1607" y="1354"/>
                      </a:lnTo>
                      <a:lnTo>
                        <a:pt x="1575" y="1354"/>
                      </a:lnTo>
                      <a:lnTo>
                        <a:pt x="1565" y="1385"/>
                      </a:lnTo>
                      <a:lnTo>
                        <a:pt x="1578" y="1399"/>
                      </a:lnTo>
                      <a:lnTo>
                        <a:pt x="1629" y="1391"/>
                      </a:lnTo>
                      <a:lnTo>
                        <a:pt x="1629" y="1381"/>
                      </a:lnTo>
                      <a:lnTo>
                        <a:pt x="1653" y="1400"/>
                      </a:lnTo>
                      <a:lnTo>
                        <a:pt x="1680" y="1420"/>
                      </a:lnTo>
                      <a:lnTo>
                        <a:pt x="1673" y="1431"/>
                      </a:lnTo>
                      <a:lnTo>
                        <a:pt x="1693" y="1450"/>
                      </a:lnTo>
                      <a:lnTo>
                        <a:pt x="1730" y="1471"/>
                      </a:lnTo>
                      <a:lnTo>
                        <a:pt x="1778" y="1485"/>
                      </a:lnTo>
                      <a:lnTo>
                        <a:pt x="1775" y="1473"/>
                      </a:lnTo>
                      <a:lnTo>
                        <a:pt x="1756" y="1450"/>
                      </a:lnTo>
                      <a:lnTo>
                        <a:pt x="1733" y="1417"/>
                      </a:lnTo>
                      <a:lnTo>
                        <a:pt x="1776" y="1448"/>
                      </a:lnTo>
                      <a:lnTo>
                        <a:pt x="1798" y="1459"/>
                      </a:lnTo>
                      <a:lnTo>
                        <a:pt x="1804" y="1431"/>
                      </a:lnTo>
                      <a:lnTo>
                        <a:pt x="1792" y="1393"/>
                      </a:lnTo>
                      <a:lnTo>
                        <a:pt x="1785" y="1382"/>
                      </a:lnTo>
                      <a:lnTo>
                        <a:pt x="1762" y="1364"/>
                      </a:lnTo>
                      <a:lnTo>
                        <a:pt x="1744" y="1339"/>
                      </a:lnTo>
                      <a:lnTo>
                        <a:pt x="1746" y="1314"/>
                      </a:lnTo>
                      <a:lnTo>
                        <a:pt x="1769" y="1310"/>
                      </a:lnTo>
                      <a:lnTo>
                        <a:pt x="1795" y="1350"/>
                      </a:lnTo>
                      <a:lnTo>
                        <a:pt x="1816" y="1368"/>
                      </a:lnTo>
                      <a:lnTo>
                        <a:pt x="1847" y="1319"/>
                      </a:lnTo>
                      <a:lnTo>
                        <a:pt x="1851" y="1288"/>
                      </a:lnTo>
                      <a:lnTo>
                        <a:pt x="1825" y="1285"/>
                      </a:lnTo>
                      <a:lnTo>
                        <a:pt x="1799" y="1245"/>
                      </a:lnTo>
                      <a:lnTo>
                        <a:pt x="1773" y="1234"/>
                      </a:lnTo>
                      <a:lnTo>
                        <a:pt x="1732" y="1204"/>
                      </a:lnTo>
                      <a:lnTo>
                        <a:pt x="1764" y="1182"/>
                      </a:lnTo>
                      <a:lnTo>
                        <a:pt x="1747" y="1135"/>
                      </a:lnTo>
                      <a:close/>
                      <a:moveTo>
                        <a:pt x="1621" y="1262"/>
                      </a:moveTo>
                      <a:lnTo>
                        <a:pt x="1624" y="1256"/>
                      </a:lnTo>
                      <a:lnTo>
                        <a:pt x="1624" y="1238"/>
                      </a:lnTo>
                      <a:lnTo>
                        <a:pt x="1611" y="1224"/>
                      </a:lnTo>
                      <a:lnTo>
                        <a:pt x="1595" y="1231"/>
                      </a:lnTo>
                      <a:lnTo>
                        <a:pt x="1588" y="1256"/>
                      </a:lnTo>
                      <a:lnTo>
                        <a:pt x="1592" y="1279"/>
                      </a:lnTo>
                      <a:lnTo>
                        <a:pt x="1611" y="1276"/>
                      </a:lnTo>
                      <a:lnTo>
                        <a:pt x="1621" y="1262"/>
                      </a:lnTo>
                      <a:close/>
                      <a:moveTo>
                        <a:pt x="1118" y="953"/>
                      </a:moveTo>
                      <a:lnTo>
                        <a:pt x="1104" y="939"/>
                      </a:lnTo>
                      <a:lnTo>
                        <a:pt x="1081" y="942"/>
                      </a:lnTo>
                      <a:lnTo>
                        <a:pt x="1077" y="950"/>
                      </a:lnTo>
                      <a:lnTo>
                        <a:pt x="1103" y="992"/>
                      </a:lnTo>
                      <a:lnTo>
                        <a:pt x="1118" y="953"/>
                      </a:lnTo>
                      <a:close/>
                      <a:moveTo>
                        <a:pt x="1199" y="859"/>
                      </a:moveTo>
                      <a:lnTo>
                        <a:pt x="1227" y="853"/>
                      </a:lnTo>
                      <a:lnTo>
                        <a:pt x="1235" y="802"/>
                      </a:lnTo>
                      <a:lnTo>
                        <a:pt x="1235" y="766"/>
                      </a:lnTo>
                      <a:lnTo>
                        <a:pt x="1221" y="732"/>
                      </a:lnTo>
                      <a:lnTo>
                        <a:pt x="1219" y="741"/>
                      </a:lnTo>
                      <a:lnTo>
                        <a:pt x="1196" y="736"/>
                      </a:lnTo>
                      <a:lnTo>
                        <a:pt x="1170" y="763"/>
                      </a:lnTo>
                      <a:lnTo>
                        <a:pt x="1152" y="759"/>
                      </a:lnTo>
                      <a:lnTo>
                        <a:pt x="1152" y="815"/>
                      </a:lnTo>
                      <a:lnTo>
                        <a:pt x="1181" y="809"/>
                      </a:lnTo>
                      <a:lnTo>
                        <a:pt x="1181" y="849"/>
                      </a:lnTo>
                      <a:lnTo>
                        <a:pt x="1199" y="859"/>
                      </a:lnTo>
                      <a:close/>
                      <a:moveTo>
                        <a:pt x="1525" y="958"/>
                      </a:moveTo>
                      <a:lnTo>
                        <a:pt x="1543" y="990"/>
                      </a:lnTo>
                      <a:lnTo>
                        <a:pt x="1549" y="993"/>
                      </a:lnTo>
                      <a:lnTo>
                        <a:pt x="1568" y="985"/>
                      </a:lnTo>
                      <a:lnTo>
                        <a:pt x="1586" y="987"/>
                      </a:lnTo>
                      <a:lnTo>
                        <a:pt x="1604" y="989"/>
                      </a:lnTo>
                      <a:lnTo>
                        <a:pt x="1603" y="972"/>
                      </a:lnTo>
                      <a:lnTo>
                        <a:pt x="1572" y="939"/>
                      </a:lnTo>
                      <a:lnTo>
                        <a:pt x="1534" y="932"/>
                      </a:lnTo>
                      <a:lnTo>
                        <a:pt x="1525" y="936"/>
                      </a:lnTo>
                      <a:lnTo>
                        <a:pt x="1525" y="958"/>
                      </a:lnTo>
                      <a:close/>
                      <a:moveTo>
                        <a:pt x="1229" y="624"/>
                      </a:moveTo>
                      <a:lnTo>
                        <a:pt x="1242" y="643"/>
                      </a:lnTo>
                      <a:lnTo>
                        <a:pt x="1267" y="626"/>
                      </a:lnTo>
                      <a:lnTo>
                        <a:pt x="1272" y="595"/>
                      </a:lnTo>
                      <a:lnTo>
                        <a:pt x="1252" y="564"/>
                      </a:lnTo>
                      <a:lnTo>
                        <a:pt x="1241" y="560"/>
                      </a:lnTo>
                      <a:lnTo>
                        <a:pt x="1219" y="555"/>
                      </a:lnTo>
                      <a:lnTo>
                        <a:pt x="1221" y="592"/>
                      </a:lnTo>
                      <a:lnTo>
                        <a:pt x="1229" y="624"/>
                      </a:lnTo>
                      <a:close/>
                      <a:moveTo>
                        <a:pt x="1123" y="573"/>
                      </a:moveTo>
                      <a:lnTo>
                        <a:pt x="1106" y="598"/>
                      </a:lnTo>
                      <a:lnTo>
                        <a:pt x="1144" y="601"/>
                      </a:lnTo>
                      <a:lnTo>
                        <a:pt x="1173" y="629"/>
                      </a:lnTo>
                      <a:lnTo>
                        <a:pt x="1201" y="638"/>
                      </a:lnTo>
                      <a:lnTo>
                        <a:pt x="1195" y="603"/>
                      </a:lnTo>
                      <a:lnTo>
                        <a:pt x="1181" y="561"/>
                      </a:lnTo>
                      <a:lnTo>
                        <a:pt x="1135" y="529"/>
                      </a:lnTo>
                      <a:lnTo>
                        <a:pt x="1101" y="517"/>
                      </a:lnTo>
                      <a:lnTo>
                        <a:pt x="1103" y="552"/>
                      </a:lnTo>
                      <a:lnTo>
                        <a:pt x="1123" y="573"/>
                      </a:lnTo>
                      <a:close/>
                      <a:moveTo>
                        <a:pt x="1282" y="510"/>
                      </a:moveTo>
                      <a:lnTo>
                        <a:pt x="1313" y="509"/>
                      </a:lnTo>
                      <a:lnTo>
                        <a:pt x="1299" y="533"/>
                      </a:lnTo>
                      <a:lnTo>
                        <a:pt x="1299" y="566"/>
                      </a:lnTo>
                      <a:lnTo>
                        <a:pt x="1318" y="601"/>
                      </a:lnTo>
                      <a:lnTo>
                        <a:pt x="1354" y="612"/>
                      </a:lnTo>
                      <a:lnTo>
                        <a:pt x="1384" y="606"/>
                      </a:lnTo>
                      <a:lnTo>
                        <a:pt x="1416" y="541"/>
                      </a:lnTo>
                      <a:lnTo>
                        <a:pt x="1440" y="513"/>
                      </a:lnTo>
                      <a:lnTo>
                        <a:pt x="1419" y="483"/>
                      </a:lnTo>
                      <a:lnTo>
                        <a:pt x="1405" y="417"/>
                      </a:lnTo>
                      <a:lnTo>
                        <a:pt x="1377" y="397"/>
                      </a:lnTo>
                      <a:lnTo>
                        <a:pt x="1348" y="375"/>
                      </a:lnTo>
                      <a:lnTo>
                        <a:pt x="1327" y="317"/>
                      </a:lnTo>
                      <a:lnTo>
                        <a:pt x="1287" y="321"/>
                      </a:lnTo>
                      <a:lnTo>
                        <a:pt x="1293" y="347"/>
                      </a:lnTo>
                      <a:lnTo>
                        <a:pt x="1276" y="355"/>
                      </a:lnTo>
                      <a:lnTo>
                        <a:pt x="1264" y="387"/>
                      </a:lnTo>
                      <a:lnTo>
                        <a:pt x="1252" y="434"/>
                      </a:lnTo>
                      <a:lnTo>
                        <a:pt x="1264" y="478"/>
                      </a:lnTo>
                      <a:lnTo>
                        <a:pt x="1282" y="510"/>
                      </a:lnTo>
                      <a:close/>
                      <a:moveTo>
                        <a:pt x="1295" y="1035"/>
                      </a:moveTo>
                      <a:lnTo>
                        <a:pt x="1313" y="992"/>
                      </a:lnTo>
                      <a:lnTo>
                        <a:pt x="1333" y="979"/>
                      </a:lnTo>
                      <a:lnTo>
                        <a:pt x="1359" y="927"/>
                      </a:lnTo>
                      <a:lnTo>
                        <a:pt x="1325" y="912"/>
                      </a:lnTo>
                      <a:lnTo>
                        <a:pt x="1290" y="909"/>
                      </a:lnTo>
                      <a:lnTo>
                        <a:pt x="1273" y="925"/>
                      </a:lnTo>
                      <a:lnTo>
                        <a:pt x="1264" y="952"/>
                      </a:lnTo>
                      <a:lnTo>
                        <a:pt x="1264" y="981"/>
                      </a:lnTo>
                      <a:lnTo>
                        <a:pt x="1275" y="1032"/>
                      </a:lnTo>
                      <a:lnTo>
                        <a:pt x="1295" y="1035"/>
                      </a:lnTo>
                      <a:close/>
                      <a:moveTo>
                        <a:pt x="1302" y="670"/>
                      </a:moveTo>
                      <a:lnTo>
                        <a:pt x="1304" y="661"/>
                      </a:lnTo>
                      <a:lnTo>
                        <a:pt x="1291" y="646"/>
                      </a:lnTo>
                      <a:lnTo>
                        <a:pt x="1256" y="644"/>
                      </a:lnTo>
                      <a:lnTo>
                        <a:pt x="1261" y="667"/>
                      </a:lnTo>
                      <a:lnTo>
                        <a:pt x="1293" y="672"/>
                      </a:lnTo>
                      <a:lnTo>
                        <a:pt x="1302" y="670"/>
                      </a:lnTo>
                      <a:close/>
                      <a:moveTo>
                        <a:pt x="1296" y="879"/>
                      </a:moveTo>
                      <a:lnTo>
                        <a:pt x="1305" y="855"/>
                      </a:lnTo>
                      <a:lnTo>
                        <a:pt x="1299" y="833"/>
                      </a:lnTo>
                      <a:lnTo>
                        <a:pt x="1284" y="809"/>
                      </a:lnTo>
                      <a:lnTo>
                        <a:pt x="1259" y="827"/>
                      </a:lnTo>
                      <a:lnTo>
                        <a:pt x="1250" y="858"/>
                      </a:lnTo>
                      <a:lnTo>
                        <a:pt x="1272" y="875"/>
                      </a:lnTo>
                      <a:lnTo>
                        <a:pt x="1296" y="879"/>
                      </a:lnTo>
                      <a:close/>
                      <a:moveTo>
                        <a:pt x="1399" y="893"/>
                      </a:moveTo>
                      <a:lnTo>
                        <a:pt x="1434" y="892"/>
                      </a:lnTo>
                      <a:lnTo>
                        <a:pt x="1485" y="881"/>
                      </a:lnTo>
                      <a:lnTo>
                        <a:pt x="1506" y="890"/>
                      </a:lnTo>
                      <a:lnTo>
                        <a:pt x="1532" y="876"/>
                      </a:lnTo>
                      <a:lnTo>
                        <a:pt x="1543" y="858"/>
                      </a:lnTo>
                      <a:lnTo>
                        <a:pt x="1538" y="830"/>
                      </a:lnTo>
                      <a:lnTo>
                        <a:pt x="1520" y="804"/>
                      </a:lnTo>
                      <a:lnTo>
                        <a:pt x="1492" y="799"/>
                      </a:lnTo>
                      <a:lnTo>
                        <a:pt x="1457" y="806"/>
                      </a:lnTo>
                      <a:lnTo>
                        <a:pt x="1430" y="821"/>
                      </a:lnTo>
                      <a:lnTo>
                        <a:pt x="1405" y="815"/>
                      </a:lnTo>
                      <a:lnTo>
                        <a:pt x="1382" y="812"/>
                      </a:lnTo>
                      <a:lnTo>
                        <a:pt x="1371" y="795"/>
                      </a:lnTo>
                      <a:lnTo>
                        <a:pt x="1351" y="779"/>
                      </a:lnTo>
                      <a:lnTo>
                        <a:pt x="1354" y="752"/>
                      </a:lnTo>
                      <a:lnTo>
                        <a:pt x="1341" y="727"/>
                      </a:lnTo>
                      <a:lnTo>
                        <a:pt x="1307" y="727"/>
                      </a:lnTo>
                      <a:lnTo>
                        <a:pt x="1287" y="703"/>
                      </a:lnTo>
                      <a:lnTo>
                        <a:pt x="1252" y="698"/>
                      </a:lnTo>
                      <a:lnTo>
                        <a:pt x="1245" y="729"/>
                      </a:lnTo>
                      <a:lnTo>
                        <a:pt x="1265" y="752"/>
                      </a:lnTo>
                      <a:lnTo>
                        <a:pt x="1301" y="761"/>
                      </a:lnTo>
                      <a:lnTo>
                        <a:pt x="1318" y="792"/>
                      </a:lnTo>
                      <a:lnTo>
                        <a:pt x="1321" y="827"/>
                      </a:lnTo>
                      <a:lnTo>
                        <a:pt x="1325" y="864"/>
                      </a:lnTo>
                      <a:lnTo>
                        <a:pt x="1371" y="884"/>
                      </a:lnTo>
                      <a:lnTo>
                        <a:pt x="1399" y="893"/>
                      </a:lnTo>
                      <a:close/>
                    </a:path>
                  </a:pathLst>
                </a:custGeom>
                <a:solidFill>
                  <a:schemeClr val="accent2">
                    <a:lumMod val="40000"/>
                    <a:lumOff val="60000"/>
                  </a:schemeClr>
                </a:solidFill>
                <a:ln w="4763"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1000"/>
                </a:p>
              </p:txBody>
            </p:sp>
            <p:sp>
              <p:nvSpPr>
                <p:cNvPr id="42" name="Asia" descr="{&quot;Key&quot;:&quot;asia&quot;,&quot;Name&quot;:&quot;Asia&quot;,&quot;Value&quot;:1.0,&quot;Formula&quot;:&quot;&quot;,&quot;Text&quot;:&quot;1&quot;,&quot;HasValue&quot;:true}">
                  <a:extLst>
                    <a:ext uri="{FF2B5EF4-FFF2-40B4-BE49-F238E27FC236}">
                      <a16:creationId xmlns:a16="http://schemas.microsoft.com/office/drawing/2014/main" id="{E7949C62-8CD5-923A-F755-7F78F9B4990E}"/>
                    </a:ext>
                  </a:extLst>
                </p:cNvPr>
                <p:cNvSpPr>
                  <a:spLocks noEditPoints="1"/>
                </p:cNvSpPr>
                <p:nvPr/>
              </p:nvSpPr>
              <p:spPr bwMode="auto">
                <a:xfrm>
                  <a:off x="5196" y="317"/>
                  <a:ext cx="2683" cy="2711"/>
                </a:xfrm>
                <a:custGeom>
                  <a:avLst/>
                  <a:gdLst>
                    <a:gd name="T0" fmla="*/ 1526 w 2683"/>
                    <a:gd name="T1" fmla="*/ 2346 h 2711"/>
                    <a:gd name="T2" fmla="*/ 1508 w 2683"/>
                    <a:gd name="T3" fmla="*/ 2327 h 2711"/>
                    <a:gd name="T4" fmla="*/ 1595 w 2683"/>
                    <a:gd name="T5" fmla="*/ 2675 h 2711"/>
                    <a:gd name="T6" fmla="*/ 1566 w 2683"/>
                    <a:gd name="T7" fmla="*/ 2355 h 2711"/>
                    <a:gd name="T8" fmla="*/ 1581 w 2683"/>
                    <a:gd name="T9" fmla="*/ 2426 h 2711"/>
                    <a:gd name="T10" fmla="*/ 1727 w 2683"/>
                    <a:gd name="T11" fmla="*/ 1875 h 2711"/>
                    <a:gd name="T12" fmla="*/ 1824 w 2683"/>
                    <a:gd name="T13" fmla="*/ 1889 h 2711"/>
                    <a:gd name="T14" fmla="*/ 1874 w 2683"/>
                    <a:gd name="T15" fmla="*/ 1557 h 2711"/>
                    <a:gd name="T16" fmla="*/ 469 w 2683"/>
                    <a:gd name="T17" fmla="*/ 2089 h 2711"/>
                    <a:gd name="T18" fmla="*/ 250 w 2683"/>
                    <a:gd name="T19" fmla="*/ 2038 h 2711"/>
                    <a:gd name="T20" fmla="*/ 330 w 2683"/>
                    <a:gd name="T21" fmla="*/ 2106 h 2711"/>
                    <a:gd name="T22" fmla="*/ 423 w 2683"/>
                    <a:gd name="T23" fmla="*/ 2163 h 2711"/>
                    <a:gd name="T24" fmla="*/ 308 w 2683"/>
                    <a:gd name="T25" fmla="*/ 2263 h 2711"/>
                    <a:gd name="T26" fmla="*/ 144 w 2683"/>
                    <a:gd name="T27" fmla="*/ 2269 h 2711"/>
                    <a:gd name="T28" fmla="*/ 50 w 2683"/>
                    <a:gd name="T29" fmla="*/ 2089 h 2711"/>
                    <a:gd name="T30" fmla="*/ 30 w 2683"/>
                    <a:gd name="T31" fmla="*/ 1898 h 2711"/>
                    <a:gd name="T32" fmla="*/ 181 w 2683"/>
                    <a:gd name="T33" fmla="*/ 1789 h 2711"/>
                    <a:gd name="T34" fmla="*/ 325 w 2683"/>
                    <a:gd name="T35" fmla="*/ 1798 h 2711"/>
                    <a:gd name="T36" fmla="*/ 308 w 2683"/>
                    <a:gd name="T37" fmla="*/ 1657 h 2711"/>
                    <a:gd name="T38" fmla="*/ 350 w 2683"/>
                    <a:gd name="T39" fmla="*/ 1511 h 2711"/>
                    <a:gd name="T40" fmla="*/ 391 w 2683"/>
                    <a:gd name="T41" fmla="*/ 1414 h 2711"/>
                    <a:gd name="T42" fmla="*/ 590 w 2683"/>
                    <a:gd name="T43" fmla="*/ 916 h 2711"/>
                    <a:gd name="T44" fmla="*/ 656 w 2683"/>
                    <a:gd name="T45" fmla="*/ 1002 h 2711"/>
                    <a:gd name="T46" fmla="*/ 813 w 2683"/>
                    <a:gd name="T47" fmla="*/ 731 h 2711"/>
                    <a:gd name="T48" fmla="*/ 1212 w 2683"/>
                    <a:gd name="T49" fmla="*/ 384 h 2711"/>
                    <a:gd name="T50" fmla="*/ 1531 w 2683"/>
                    <a:gd name="T51" fmla="*/ 616 h 2711"/>
                    <a:gd name="T52" fmla="*/ 2146 w 2683"/>
                    <a:gd name="T53" fmla="*/ 779 h 2711"/>
                    <a:gd name="T54" fmla="*/ 2601 w 2683"/>
                    <a:gd name="T55" fmla="*/ 962 h 2711"/>
                    <a:gd name="T56" fmla="*/ 2463 w 2683"/>
                    <a:gd name="T57" fmla="*/ 1067 h 2711"/>
                    <a:gd name="T58" fmla="*/ 2219 w 2683"/>
                    <a:gd name="T59" fmla="*/ 1317 h 2711"/>
                    <a:gd name="T60" fmla="*/ 2241 w 2683"/>
                    <a:gd name="T61" fmla="*/ 1147 h 2711"/>
                    <a:gd name="T62" fmla="*/ 1801 w 2683"/>
                    <a:gd name="T63" fmla="*/ 1420 h 2711"/>
                    <a:gd name="T64" fmla="*/ 1643 w 2683"/>
                    <a:gd name="T65" fmla="*/ 1763 h 2711"/>
                    <a:gd name="T66" fmla="*/ 1593 w 2683"/>
                    <a:gd name="T67" fmla="*/ 1851 h 2711"/>
                    <a:gd name="T68" fmla="*/ 1514 w 2683"/>
                    <a:gd name="T69" fmla="*/ 1774 h 2711"/>
                    <a:gd name="T70" fmla="*/ 1486 w 2683"/>
                    <a:gd name="T71" fmla="*/ 1924 h 2711"/>
                    <a:gd name="T72" fmla="*/ 1317 w 2683"/>
                    <a:gd name="T73" fmla="*/ 2156 h 2711"/>
                    <a:gd name="T74" fmla="*/ 1215 w 2683"/>
                    <a:gd name="T75" fmla="*/ 2373 h 2711"/>
                    <a:gd name="T76" fmla="*/ 1172 w 2683"/>
                    <a:gd name="T77" fmla="*/ 2427 h 2711"/>
                    <a:gd name="T78" fmla="*/ 1124 w 2683"/>
                    <a:gd name="T79" fmla="*/ 2406 h 2711"/>
                    <a:gd name="T80" fmla="*/ 1034 w 2683"/>
                    <a:gd name="T81" fmla="*/ 2215 h 2711"/>
                    <a:gd name="T82" fmla="*/ 900 w 2683"/>
                    <a:gd name="T83" fmla="*/ 2180 h 2711"/>
                    <a:gd name="T84" fmla="*/ 728 w 2683"/>
                    <a:gd name="T85" fmla="*/ 2379 h 2711"/>
                    <a:gd name="T86" fmla="*/ 554 w 2683"/>
                    <a:gd name="T87" fmla="*/ 2081 h 2711"/>
                    <a:gd name="T88" fmla="*/ 1899 w 2683"/>
                    <a:gd name="T89" fmla="*/ 1691 h 2711"/>
                    <a:gd name="T90" fmla="*/ 1681 w 2683"/>
                    <a:gd name="T91" fmla="*/ 2581 h 2711"/>
                    <a:gd name="T92" fmla="*/ 1477 w 2683"/>
                    <a:gd name="T93" fmla="*/ 2273 h 2711"/>
                    <a:gd name="T94" fmla="*/ 1514 w 2683"/>
                    <a:gd name="T95" fmla="*/ 2250 h 2711"/>
                    <a:gd name="T96" fmla="*/ 1689 w 2683"/>
                    <a:gd name="T97" fmla="*/ 1923 h 2711"/>
                    <a:gd name="T98" fmla="*/ 1092 w 2683"/>
                    <a:gd name="T99" fmla="*/ 249 h 2711"/>
                    <a:gd name="T100" fmla="*/ 1817 w 2683"/>
                    <a:gd name="T101" fmla="*/ 639 h 2711"/>
                    <a:gd name="T102" fmla="*/ 2525 w 2683"/>
                    <a:gd name="T103" fmla="*/ 742 h 2711"/>
                    <a:gd name="T104" fmla="*/ 1190 w 2683"/>
                    <a:gd name="T105" fmla="*/ 2544 h 2711"/>
                    <a:gd name="T106" fmla="*/ 1147 w 2683"/>
                    <a:gd name="T107" fmla="*/ 2567 h 2711"/>
                    <a:gd name="T108" fmla="*/ 1480 w 2683"/>
                    <a:gd name="T109" fmla="*/ 2708 h 2711"/>
                    <a:gd name="T110" fmla="*/ 1552 w 2683"/>
                    <a:gd name="T111" fmla="*/ 2525 h 2711"/>
                    <a:gd name="T112" fmla="*/ 1492 w 2683"/>
                    <a:gd name="T113" fmla="*/ 2578 h 2711"/>
                    <a:gd name="T114" fmla="*/ 1488 w 2683"/>
                    <a:gd name="T115" fmla="*/ 2675 h 2711"/>
                    <a:gd name="T116" fmla="*/ 1435 w 2683"/>
                    <a:gd name="T117" fmla="*/ 2430 h 2711"/>
                    <a:gd name="T118" fmla="*/ 1307 w 2683"/>
                    <a:gd name="T119" fmla="*/ 2582 h 2711"/>
                    <a:gd name="T120" fmla="*/ 1281 w 2683"/>
                    <a:gd name="T121" fmla="*/ 2210 h 2711"/>
                    <a:gd name="T122" fmla="*/ 1330 w 2683"/>
                    <a:gd name="T123" fmla="*/ 2675 h 2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83" h="2711">
                      <a:moveTo>
                        <a:pt x="1620" y="2545"/>
                      </a:moveTo>
                      <a:lnTo>
                        <a:pt x="1612" y="2536"/>
                      </a:lnTo>
                      <a:lnTo>
                        <a:pt x="1615" y="2527"/>
                      </a:lnTo>
                      <a:lnTo>
                        <a:pt x="1624" y="2529"/>
                      </a:lnTo>
                      <a:lnTo>
                        <a:pt x="1624" y="2513"/>
                      </a:lnTo>
                      <a:lnTo>
                        <a:pt x="1623" y="2505"/>
                      </a:lnTo>
                      <a:lnTo>
                        <a:pt x="1613" y="2504"/>
                      </a:lnTo>
                      <a:lnTo>
                        <a:pt x="1612" y="2495"/>
                      </a:lnTo>
                      <a:lnTo>
                        <a:pt x="1606" y="2501"/>
                      </a:lnTo>
                      <a:lnTo>
                        <a:pt x="1603" y="2515"/>
                      </a:lnTo>
                      <a:lnTo>
                        <a:pt x="1607" y="2538"/>
                      </a:lnTo>
                      <a:lnTo>
                        <a:pt x="1615" y="2548"/>
                      </a:lnTo>
                      <a:lnTo>
                        <a:pt x="1620" y="2545"/>
                      </a:lnTo>
                      <a:close/>
                      <a:moveTo>
                        <a:pt x="1581" y="2595"/>
                      </a:moveTo>
                      <a:lnTo>
                        <a:pt x="1593" y="2598"/>
                      </a:lnTo>
                      <a:lnTo>
                        <a:pt x="1600" y="2592"/>
                      </a:lnTo>
                      <a:lnTo>
                        <a:pt x="1595" y="2585"/>
                      </a:lnTo>
                      <a:lnTo>
                        <a:pt x="1578" y="2587"/>
                      </a:lnTo>
                      <a:lnTo>
                        <a:pt x="1581" y="2595"/>
                      </a:lnTo>
                      <a:close/>
                      <a:moveTo>
                        <a:pt x="1526" y="2346"/>
                      </a:moveTo>
                      <a:lnTo>
                        <a:pt x="1524" y="2356"/>
                      </a:lnTo>
                      <a:lnTo>
                        <a:pt x="1520" y="2361"/>
                      </a:lnTo>
                      <a:lnTo>
                        <a:pt x="1517" y="2366"/>
                      </a:lnTo>
                      <a:lnTo>
                        <a:pt x="1526" y="2378"/>
                      </a:lnTo>
                      <a:lnTo>
                        <a:pt x="1532" y="2372"/>
                      </a:lnTo>
                      <a:lnTo>
                        <a:pt x="1538" y="2361"/>
                      </a:lnTo>
                      <a:lnTo>
                        <a:pt x="1544" y="2355"/>
                      </a:lnTo>
                      <a:lnTo>
                        <a:pt x="1546" y="2339"/>
                      </a:lnTo>
                      <a:lnTo>
                        <a:pt x="1532" y="2355"/>
                      </a:lnTo>
                      <a:lnTo>
                        <a:pt x="1535" y="2344"/>
                      </a:lnTo>
                      <a:lnTo>
                        <a:pt x="1526" y="2346"/>
                      </a:lnTo>
                      <a:close/>
                      <a:moveTo>
                        <a:pt x="1508" y="2327"/>
                      </a:moveTo>
                      <a:lnTo>
                        <a:pt x="1511" y="2335"/>
                      </a:lnTo>
                      <a:lnTo>
                        <a:pt x="1509" y="2344"/>
                      </a:lnTo>
                      <a:lnTo>
                        <a:pt x="1509" y="2353"/>
                      </a:lnTo>
                      <a:lnTo>
                        <a:pt x="1520" y="2347"/>
                      </a:lnTo>
                      <a:lnTo>
                        <a:pt x="1529" y="2339"/>
                      </a:lnTo>
                      <a:lnTo>
                        <a:pt x="1529" y="2333"/>
                      </a:lnTo>
                      <a:lnTo>
                        <a:pt x="1518" y="2333"/>
                      </a:lnTo>
                      <a:lnTo>
                        <a:pt x="1508" y="2327"/>
                      </a:lnTo>
                      <a:close/>
                      <a:moveTo>
                        <a:pt x="1489" y="2313"/>
                      </a:moveTo>
                      <a:lnTo>
                        <a:pt x="1497" y="2321"/>
                      </a:lnTo>
                      <a:lnTo>
                        <a:pt x="1501" y="2307"/>
                      </a:lnTo>
                      <a:lnTo>
                        <a:pt x="1495" y="2299"/>
                      </a:lnTo>
                      <a:lnTo>
                        <a:pt x="1480" y="2299"/>
                      </a:lnTo>
                      <a:lnTo>
                        <a:pt x="1489" y="2313"/>
                      </a:lnTo>
                      <a:close/>
                      <a:moveTo>
                        <a:pt x="1589" y="2676"/>
                      </a:moveTo>
                      <a:lnTo>
                        <a:pt x="1578" y="2678"/>
                      </a:lnTo>
                      <a:lnTo>
                        <a:pt x="1563" y="2681"/>
                      </a:lnTo>
                      <a:lnTo>
                        <a:pt x="1561" y="2685"/>
                      </a:lnTo>
                      <a:lnTo>
                        <a:pt x="1544" y="2693"/>
                      </a:lnTo>
                      <a:lnTo>
                        <a:pt x="1537" y="2702"/>
                      </a:lnTo>
                      <a:lnTo>
                        <a:pt x="1535" y="2708"/>
                      </a:lnTo>
                      <a:lnTo>
                        <a:pt x="1537" y="2711"/>
                      </a:lnTo>
                      <a:lnTo>
                        <a:pt x="1552" y="2707"/>
                      </a:lnTo>
                      <a:lnTo>
                        <a:pt x="1563" y="2695"/>
                      </a:lnTo>
                      <a:lnTo>
                        <a:pt x="1577" y="2688"/>
                      </a:lnTo>
                      <a:lnTo>
                        <a:pt x="1595" y="2682"/>
                      </a:lnTo>
                      <a:lnTo>
                        <a:pt x="1601" y="2676"/>
                      </a:lnTo>
                      <a:lnTo>
                        <a:pt x="1595" y="2675"/>
                      </a:lnTo>
                      <a:lnTo>
                        <a:pt x="1589" y="2676"/>
                      </a:lnTo>
                      <a:close/>
                      <a:moveTo>
                        <a:pt x="1495" y="2132"/>
                      </a:moveTo>
                      <a:lnTo>
                        <a:pt x="1506" y="2101"/>
                      </a:lnTo>
                      <a:lnTo>
                        <a:pt x="1509" y="2090"/>
                      </a:lnTo>
                      <a:lnTo>
                        <a:pt x="1501" y="2084"/>
                      </a:lnTo>
                      <a:lnTo>
                        <a:pt x="1488" y="2098"/>
                      </a:lnTo>
                      <a:lnTo>
                        <a:pt x="1477" y="2117"/>
                      </a:lnTo>
                      <a:lnTo>
                        <a:pt x="1478" y="2130"/>
                      </a:lnTo>
                      <a:lnTo>
                        <a:pt x="1488" y="2146"/>
                      </a:lnTo>
                      <a:lnTo>
                        <a:pt x="1495" y="2132"/>
                      </a:lnTo>
                      <a:close/>
                      <a:moveTo>
                        <a:pt x="1570" y="2323"/>
                      </a:moveTo>
                      <a:lnTo>
                        <a:pt x="1564" y="2316"/>
                      </a:lnTo>
                      <a:lnTo>
                        <a:pt x="1549" y="2316"/>
                      </a:lnTo>
                      <a:lnTo>
                        <a:pt x="1560" y="2329"/>
                      </a:lnTo>
                      <a:lnTo>
                        <a:pt x="1560" y="2336"/>
                      </a:lnTo>
                      <a:lnTo>
                        <a:pt x="1549" y="2335"/>
                      </a:lnTo>
                      <a:lnTo>
                        <a:pt x="1552" y="2346"/>
                      </a:lnTo>
                      <a:lnTo>
                        <a:pt x="1557" y="2346"/>
                      </a:lnTo>
                      <a:lnTo>
                        <a:pt x="1558" y="2358"/>
                      </a:lnTo>
                      <a:lnTo>
                        <a:pt x="1566" y="2355"/>
                      </a:lnTo>
                      <a:lnTo>
                        <a:pt x="1561" y="2344"/>
                      </a:lnTo>
                      <a:lnTo>
                        <a:pt x="1561" y="2338"/>
                      </a:lnTo>
                      <a:lnTo>
                        <a:pt x="1575" y="2342"/>
                      </a:lnTo>
                      <a:lnTo>
                        <a:pt x="1570" y="2323"/>
                      </a:lnTo>
                      <a:close/>
                      <a:moveTo>
                        <a:pt x="1535" y="2382"/>
                      </a:moveTo>
                      <a:lnTo>
                        <a:pt x="1526" y="2390"/>
                      </a:lnTo>
                      <a:lnTo>
                        <a:pt x="1515" y="2395"/>
                      </a:lnTo>
                      <a:lnTo>
                        <a:pt x="1508" y="2409"/>
                      </a:lnTo>
                      <a:lnTo>
                        <a:pt x="1511" y="2413"/>
                      </a:lnTo>
                      <a:lnTo>
                        <a:pt x="1524" y="2404"/>
                      </a:lnTo>
                      <a:lnTo>
                        <a:pt x="1532" y="2406"/>
                      </a:lnTo>
                      <a:lnTo>
                        <a:pt x="1537" y="2398"/>
                      </a:lnTo>
                      <a:lnTo>
                        <a:pt x="1547" y="2406"/>
                      </a:lnTo>
                      <a:lnTo>
                        <a:pt x="1543" y="2415"/>
                      </a:lnTo>
                      <a:lnTo>
                        <a:pt x="1547" y="2427"/>
                      </a:lnTo>
                      <a:lnTo>
                        <a:pt x="1567" y="2436"/>
                      </a:lnTo>
                      <a:lnTo>
                        <a:pt x="1574" y="2429"/>
                      </a:lnTo>
                      <a:lnTo>
                        <a:pt x="1567" y="2416"/>
                      </a:lnTo>
                      <a:lnTo>
                        <a:pt x="1575" y="2407"/>
                      </a:lnTo>
                      <a:lnTo>
                        <a:pt x="1581" y="2426"/>
                      </a:lnTo>
                      <a:lnTo>
                        <a:pt x="1587" y="2409"/>
                      </a:lnTo>
                      <a:lnTo>
                        <a:pt x="1586" y="2399"/>
                      </a:lnTo>
                      <a:lnTo>
                        <a:pt x="1584" y="2387"/>
                      </a:lnTo>
                      <a:lnTo>
                        <a:pt x="1583" y="2381"/>
                      </a:lnTo>
                      <a:lnTo>
                        <a:pt x="1583" y="2373"/>
                      </a:lnTo>
                      <a:lnTo>
                        <a:pt x="1567" y="2364"/>
                      </a:lnTo>
                      <a:lnTo>
                        <a:pt x="1569" y="2378"/>
                      </a:lnTo>
                      <a:lnTo>
                        <a:pt x="1557" y="2378"/>
                      </a:lnTo>
                      <a:lnTo>
                        <a:pt x="1554" y="2386"/>
                      </a:lnTo>
                      <a:lnTo>
                        <a:pt x="1541" y="2390"/>
                      </a:lnTo>
                      <a:lnTo>
                        <a:pt x="1535" y="2382"/>
                      </a:lnTo>
                      <a:close/>
                      <a:moveTo>
                        <a:pt x="1825" y="1755"/>
                      </a:moveTo>
                      <a:lnTo>
                        <a:pt x="1817" y="1771"/>
                      </a:lnTo>
                      <a:lnTo>
                        <a:pt x="1820" y="1795"/>
                      </a:lnTo>
                      <a:lnTo>
                        <a:pt x="1810" y="1823"/>
                      </a:lnTo>
                      <a:lnTo>
                        <a:pt x="1799" y="1831"/>
                      </a:lnTo>
                      <a:lnTo>
                        <a:pt x="1774" y="1852"/>
                      </a:lnTo>
                      <a:lnTo>
                        <a:pt x="1762" y="1843"/>
                      </a:lnTo>
                      <a:lnTo>
                        <a:pt x="1745" y="1880"/>
                      </a:lnTo>
                      <a:lnTo>
                        <a:pt x="1727" y="1875"/>
                      </a:lnTo>
                      <a:lnTo>
                        <a:pt x="1692" y="1883"/>
                      </a:lnTo>
                      <a:lnTo>
                        <a:pt x="1679" y="1897"/>
                      </a:lnTo>
                      <a:lnTo>
                        <a:pt x="1663" y="1907"/>
                      </a:lnTo>
                      <a:lnTo>
                        <a:pt x="1653" y="1920"/>
                      </a:lnTo>
                      <a:lnTo>
                        <a:pt x="1636" y="1926"/>
                      </a:lnTo>
                      <a:lnTo>
                        <a:pt x="1644" y="1941"/>
                      </a:lnTo>
                      <a:lnTo>
                        <a:pt x="1655" y="1946"/>
                      </a:lnTo>
                      <a:lnTo>
                        <a:pt x="1650" y="1964"/>
                      </a:lnTo>
                      <a:lnTo>
                        <a:pt x="1659" y="1972"/>
                      </a:lnTo>
                      <a:lnTo>
                        <a:pt x="1670" y="1964"/>
                      </a:lnTo>
                      <a:lnTo>
                        <a:pt x="1681" y="1929"/>
                      </a:lnTo>
                      <a:lnTo>
                        <a:pt x="1664" y="1915"/>
                      </a:lnTo>
                      <a:lnTo>
                        <a:pt x="1684" y="1914"/>
                      </a:lnTo>
                      <a:lnTo>
                        <a:pt x="1705" y="1904"/>
                      </a:lnTo>
                      <a:lnTo>
                        <a:pt x="1735" y="1900"/>
                      </a:lnTo>
                      <a:lnTo>
                        <a:pt x="1736" y="1915"/>
                      </a:lnTo>
                      <a:lnTo>
                        <a:pt x="1747" y="1923"/>
                      </a:lnTo>
                      <a:lnTo>
                        <a:pt x="1771" y="1900"/>
                      </a:lnTo>
                      <a:lnTo>
                        <a:pt x="1802" y="1898"/>
                      </a:lnTo>
                      <a:lnTo>
                        <a:pt x="1824" y="1889"/>
                      </a:lnTo>
                      <a:lnTo>
                        <a:pt x="1833" y="1874"/>
                      </a:lnTo>
                      <a:lnTo>
                        <a:pt x="1830" y="1863"/>
                      </a:lnTo>
                      <a:lnTo>
                        <a:pt x="1836" y="1846"/>
                      </a:lnTo>
                      <a:lnTo>
                        <a:pt x="1836" y="1823"/>
                      </a:lnTo>
                      <a:lnTo>
                        <a:pt x="1851" y="1801"/>
                      </a:lnTo>
                      <a:lnTo>
                        <a:pt x="1853" y="1783"/>
                      </a:lnTo>
                      <a:lnTo>
                        <a:pt x="1843" y="1752"/>
                      </a:lnTo>
                      <a:lnTo>
                        <a:pt x="1825" y="1755"/>
                      </a:lnTo>
                      <a:close/>
                      <a:moveTo>
                        <a:pt x="1847" y="1486"/>
                      </a:moveTo>
                      <a:lnTo>
                        <a:pt x="1857" y="1514"/>
                      </a:lnTo>
                      <a:lnTo>
                        <a:pt x="1856" y="1549"/>
                      </a:lnTo>
                      <a:lnTo>
                        <a:pt x="1853" y="1569"/>
                      </a:lnTo>
                      <a:lnTo>
                        <a:pt x="1854" y="1597"/>
                      </a:lnTo>
                      <a:lnTo>
                        <a:pt x="1853" y="1622"/>
                      </a:lnTo>
                      <a:lnTo>
                        <a:pt x="1856" y="1643"/>
                      </a:lnTo>
                      <a:lnTo>
                        <a:pt x="1867" y="1623"/>
                      </a:lnTo>
                      <a:lnTo>
                        <a:pt x="1880" y="1638"/>
                      </a:lnTo>
                      <a:lnTo>
                        <a:pt x="1880" y="1622"/>
                      </a:lnTo>
                      <a:lnTo>
                        <a:pt x="1863" y="1595"/>
                      </a:lnTo>
                      <a:lnTo>
                        <a:pt x="1874" y="1557"/>
                      </a:lnTo>
                      <a:lnTo>
                        <a:pt x="1899" y="1566"/>
                      </a:lnTo>
                      <a:lnTo>
                        <a:pt x="1882" y="1519"/>
                      </a:lnTo>
                      <a:lnTo>
                        <a:pt x="1874" y="1491"/>
                      </a:lnTo>
                      <a:lnTo>
                        <a:pt x="1876" y="1463"/>
                      </a:lnTo>
                      <a:lnTo>
                        <a:pt x="1870" y="1436"/>
                      </a:lnTo>
                      <a:lnTo>
                        <a:pt x="1865" y="1417"/>
                      </a:lnTo>
                      <a:lnTo>
                        <a:pt x="1857" y="1420"/>
                      </a:lnTo>
                      <a:lnTo>
                        <a:pt x="1863" y="1434"/>
                      </a:lnTo>
                      <a:lnTo>
                        <a:pt x="1848" y="1448"/>
                      </a:lnTo>
                      <a:lnTo>
                        <a:pt x="1847" y="1486"/>
                      </a:lnTo>
                      <a:close/>
                      <a:moveTo>
                        <a:pt x="1636" y="2581"/>
                      </a:moveTo>
                      <a:lnTo>
                        <a:pt x="1615" y="2581"/>
                      </a:lnTo>
                      <a:lnTo>
                        <a:pt x="1610" y="2590"/>
                      </a:lnTo>
                      <a:lnTo>
                        <a:pt x="1623" y="2592"/>
                      </a:lnTo>
                      <a:lnTo>
                        <a:pt x="1633" y="2590"/>
                      </a:lnTo>
                      <a:lnTo>
                        <a:pt x="1647" y="2592"/>
                      </a:lnTo>
                      <a:lnTo>
                        <a:pt x="1661" y="2599"/>
                      </a:lnTo>
                      <a:lnTo>
                        <a:pt x="1655" y="2585"/>
                      </a:lnTo>
                      <a:lnTo>
                        <a:pt x="1636" y="2581"/>
                      </a:lnTo>
                      <a:close/>
                      <a:moveTo>
                        <a:pt x="469" y="2089"/>
                      </a:moveTo>
                      <a:lnTo>
                        <a:pt x="437" y="2083"/>
                      </a:lnTo>
                      <a:lnTo>
                        <a:pt x="417" y="2078"/>
                      </a:lnTo>
                      <a:lnTo>
                        <a:pt x="399" y="2075"/>
                      </a:lnTo>
                      <a:lnTo>
                        <a:pt x="391" y="2052"/>
                      </a:lnTo>
                      <a:lnTo>
                        <a:pt x="383" y="2049"/>
                      </a:lnTo>
                      <a:lnTo>
                        <a:pt x="369" y="2052"/>
                      </a:lnTo>
                      <a:lnTo>
                        <a:pt x="353" y="2061"/>
                      </a:lnTo>
                      <a:lnTo>
                        <a:pt x="331" y="2055"/>
                      </a:lnTo>
                      <a:lnTo>
                        <a:pt x="314" y="2041"/>
                      </a:lnTo>
                      <a:lnTo>
                        <a:pt x="297" y="2035"/>
                      </a:lnTo>
                      <a:lnTo>
                        <a:pt x="285" y="2017"/>
                      </a:lnTo>
                      <a:lnTo>
                        <a:pt x="273" y="1990"/>
                      </a:lnTo>
                      <a:lnTo>
                        <a:pt x="264" y="1994"/>
                      </a:lnTo>
                      <a:lnTo>
                        <a:pt x="253" y="1987"/>
                      </a:lnTo>
                      <a:lnTo>
                        <a:pt x="247" y="1995"/>
                      </a:lnTo>
                      <a:lnTo>
                        <a:pt x="236" y="1994"/>
                      </a:lnTo>
                      <a:lnTo>
                        <a:pt x="239" y="2003"/>
                      </a:lnTo>
                      <a:lnTo>
                        <a:pt x="238" y="2007"/>
                      </a:lnTo>
                      <a:lnTo>
                        <a:pt x="244" y="2021"/>
                      </a:lnTo>
                      <a:lnTo>
                        <a:pt x="250" y="2038"/>
                      </a:lnTo>
                      <a:lnTo>
                        <a:pt x="259" y="2043"/>
                      </a:lnTo>
                      <a:lnTo>
                        <a:pt x="262" y="2049"/>
                      </a:lnTo>
                      <a:lnTo>
                        <a:pt x="273" y="2058"/>
                      </a:lnTo>
                      <a:lnTo>
                        <a:pt x="274" y="2066"/>
                      </a:lnTo>
                      <a:lnTo>
                        <a:pt x="273" y="2072"/>
                      </a:lnTo>
                      <a:lnTo>
                        <a:pt x="274" y="2078"/>
                      </a:lnTo>
                      <a:lnTo>
                        <a:pt x="281" y="2084"/>
                      </a:lnTo>
                      <a:lnTo>
                        <a:pt x="282" y="2090"/>
                      </a:lnTo>
                      <a:lnTo>
                        <a:pt x="285" y="2095"/>
                      </a:lnTo>
                      <a:lnTo>
                        <a:pt x="284" y="2081"/>
                      </a:lnTo>
                      <a:lnTo>
                        <a:pt x="288" y="2070"/>
                      </a:lnTo>
                      <a:lnTo>
                        <a:pt x="293" y="2069"/>
                      </a:lnTo>
                      <a:lnTo>
                        <a:pt x="299" y="2075"/>
                      </a:lnTo>
                      <a:lnTo>
                        <a:pt x="299" y="2086"/>
                      </a:lnTo>
                      <a:lnTo>
                        <a:pt x="294" y="2097"/>
                      </a:lnTo>
                      <a:lnTo>
                        <a:pt x="297" y="2104"/>
                      </a:lnTo>
                      <a:lnTo>
                        <a:pt x="300" y="2103"/>
                      </a:lnTo>
                      <a:lnTo>
                        <a:pt x="302" y="2109"/>
                      </a:lnTo>
                      <a:lnTo>
                        <a:pt x="316" y="2106"/>
                      </a:lnTo>
                      <a:lnTo>
                        <a:pt x="330" y="2106"/>
                      </a:lnTo>
                      <a:lnTo>
                        <a:pt x="340" y="2106"/>
                      </a:lnTo>
                      <a:lnTo>
                        <a:pt x="351" y="2093"/>
                      </a:lnTo>
                      <a:lnTo>
                        <a:pt x="365" y="2081"/>
                      </a:lnTo>
                      <a:lnTo>
                        <a:pt x="376" y="2070"/>
                      </a:lnTo>
                      <a:lnTo>
                        <a:pt x="380" y="2063"/>
                      </a:lnTo>
                      <a:lnTo>
                        <a:pt x="383" y="2064"/>
                      </a:lnTo>
                      <a:lnTo>
                        <a:pt x="380" y="2073"/>
                      </a:lnTo>
                      <a:lnTo>
                        <a:pt x="379" y="2077"/>
                      </a:lnTo>
                      <a:lnTo>
                        <a:pt x="382" y="2092"/>
                      </a:lnTo>
                      <a:lnTo>
                        <a:pt x="389" y="2104"/>
                      </a:lnTo>
                      <a:lnTo>
                        <a:pt x="399" y="2110"/>
                      </a:lnTo>
                      <a:lnTo>
                        <a:pt x="411" y="2113"/>
                      </a:lnTo>
                      <a:lnTo>
                        <a:pt x="422" y="2117"/>
                      </a:lnTo>
                      <a:lnTo>
                        <a:pt x="429" y="2127"/>
                      </a:lnTo>
                      <a:lnTo>
                        <a:pt x="434" y="2133"/>
                      </a:lnTo>
                      <a:lnTo>
                        <a:pt x="440" y="2137"/>
                      </a:lnTo>
                      <a:lnTo>
                        <a:pt x="440" y="2140"/>
                      </a:lnTo>
                      <a:lnTo>
                        <a:pt x="434" y="2152"/>
                      </a:lnTo>
                      <a:lnTo>
                        <a:pt x="431" y="2156"/>
                      </a:lnTo>
                      <a:lnTo>
                        <a:pt x="423" y="2163"/>
                      </a:lnTo>
                      <a:lnTo>
                        <a:pt x="417" y="2175"/>
                      </a:lnTo>
                      <a:lnTo>
                        <a:pt x="409" y="2173"/>
                      </a:lnTo>
                      <a:lnTo>
                        <a:pt x="406" y="2178"/>
                      </a:lnTo>
                      <a:lnTo>
                        <a:pt x="403" y="2187"/>
                      </a:lnTo>
                      <a:lnTo>
                        <a:pt x="405" y="2200"/>
                      </a:lnTo>
                      <a:lnTo>
                        <a:pt x="403" y="2201"/>
                      </a:lnTo>
                      <a:lnTo>
                        <a:pt x="396" y="2201"/>
                      </a:lnTo>
                      <a:lnTo>
                        <a:pt x="385" y="2209"/>
                      </a:lnTo>
                      <a:lnTo>
                        <a:pt x="383" y="2218"/>
                      </a:lnTo>
                      <a:lnTo>
                        <a:pt x="379" y="2221"/>
                      </a:lnTo>
                      <a:lnTo>
                        <a:pt x="368" y="2221"/>
                      </a:lnTo>
                      <a:lnTo>
                        <a:pt x="362" y="2226"/>
                      </a:lnTo>
                      <a:lnTo>
                        <a:pt x="362" y="2233"/>
                      </a:lnTo>
                      <a:lnTo>
                        <a:pt x="354" y="2238"/>
                      </a:lnTo>
                      <a:lnTo>
                        <a:pt x="343" y="2236"/>
                      </a:lnTo>
                      <a:lnTo>
                        <a:pt x="333" y="2243"/>
                      </a:lnTo>
                      <a:lnTo>
                        <a:pt x="325" y="2243"/>
                      </a:lnTo>
                      <a:lnTo>
                        <a:pt x="313" y="2247"/>
                      </a:lnTo>
                      <a:lnTo>
                        <a:pt x="308" y="2256"/>
                      </a:lnTo>
                      <a:lnTo>
                        <a:pt x="308" y="2263"/>
                      </a:lnTo>
                      <a:lnTo>
                        <a:pt x="291" y="2269"/>
                      </a:lnTo>
                      <a:lnTo>
                        <a:pt x="264" y="2278"/>
                      </a:lnTo>
                      <a:lnTo>
                        <a:pt x="248" y="2290"/>
                      </a:lnTo>
                      <a:lnTo>
                        <a:pt x="241" y="2292"/>
                      </a:lnTo>
                      <a:lnTo>
                        <a:pt x="236" y="2290"/>
                      </a:lnTo>
                      <a:lnTo>
                        <a:pt x="225" y="2298"/>
                      </a:lnTo>
                      <a:lnTo>
                        <a:pt x="215" y="2301"/>
                      </a:lnTo>
                      <a:lnTo>
                        <a:pt x="201" y="2301"/>
                      </a:lnTo>
                      <a:lnTo>
                        <a:pt x="196" y="2303"/>
                      </a:lnTo>
                      <a:lnTo>
                        <a:pt x="192" y="2307"/>
                      </a:lnTo>
                      <a:lnTo>
                        <a:pt x="187" y="2309"/>
                      </a:lnTo>
                      <a:lnTo>
                        <a:pt x="185" y="2313"/>
                      </a:lnTo>
                      <a:lnTo>
                        <a:pt x="176" y="2313"/>
                      </a:lnTo>
                      <a:lnTo>
                        <a:pt x="170" y="2315"/>
                      </a:lnTo>
                      <a:lnTo>
                        <a:pt x="159" y="2315"/>
                      </a:lnTo>
                      <a:lnTo>
                        <a:pt x="155" y="2304"/>
                      </a:lnTo>
                      <a:lnTo>
                        <a:pt x="155" y="2295"/>
                      </a:lnTo>
                      <a:lnTo>
                        <a:pt x="152" y="2289"/>
                      </a:lnTo>
                      <a:lnTo>
                        <a:pt x="149" y="2276"/>
                      </a:lnTo>
                      <a:lnTo>
                        <a:pt x="144" y="2269"/>
                      </a:lnTo>
                      <a:lnTo>
                        <a:pt x="147" y="2267"/>
                      </a:lnTo>
                      <a:lnTo>
                        <a:pt x="146" y="2259"/>
                      </a:lnTo>
                      <a:lnTo>
                        <a:pt x="147" y="2256"/>
                      </a:lnTo>
                      <a:lnTo>
                        <a:pt x="147" y="2249"/>
                      </a:lnTo>
                      <a:lnTo>
                        <a:pt x="144" y="2241"/>
                      </a:lnTo>
                      <a:lnTo>
                        <a:pt x="139" y="2235"/>
                      </a:lnTo>
                      <a:lnTo>
                        <a:pt x="138" y="2229"/>
                      </a:lnTo>
                      <a:lnTo>
                        <a:pt x="129" y="2223"/>
                      </a:lnTo>
                      <a:lnTo>
                        <a:pt x="119" y="2207"/>
                      </a:lnTo>
                      <a:lnTo>
                        <a:pt x="115" y="2192"/>
                      </a:lnTo>
                      <a:lnTo>
                        <a:pt x="103" y="2180"/>
                      </a:lnTo>
                      <a:lnTo>
                        <a:pt x="95" y="2176"/>
                      </a:lnTo>
                      <a:lnTo>
                        <a:pt x="84" y="2160"/>
                      </a:lnTo>
                      <a:lnTo>
                        <a:pt x="83" y="2146"/>
                      </a:lnTo>
                      <a:lnTo>
                        <a:pt x="83" y="2135"/>
                      </a:lnTo>
                      <a:lnTo>
                        <a:pt x="73" y="2115"/>
                      </a:lnTo>
                      <a:lnTo>
                        <a:pt x="64" y="2107"/>
                      </a:lnTo>
                      <a:lnTo>
                        <a:pt x="55" y="2103"/>
                      </a:lnTo>
                      <a:lnTo>
                        <a:pt x="50" y="2092"/>
                      </a:lnTo>
                      <a:lnTo>
                        <a:pt x="50" y="2089"/>
                      </a:lnTo>
                      <a:lnTo>
                        <a:pt x="46" y="2078"/>
                      </a:lnTo>
                      <a:lnTo>
                        <a:pt x="41" y="2073"/>
                      </a:lnTo>
                      <a:lnTo>
                        <a:pt x="35" y="2060"/>
                      </a:lnTo>
                      <a:lnTo>
                        <a:pt x="24" y="2044"/>
                      </a:lnTo>
                      <a:lnTo>
                        <a:pt x="15" y="2030"/>
                      </a:lnTo>
                      <a:lnTo>
                        <a:pt x="6" y="2030"/>
                      </a:lnTo>
                      <a:lnTo>
                        <a:pt x="9" y="2021"/>
                      </a:lnTo>
                      <a:lnTo>
                        <a:pt x="11" y="2014"/>
                      </a:lnTo>
                      <a:lnTo>
                        <a:pt x="12" y="2006"/>
                      </a:lnTo>
                      <a:lnTo>
                        <a:pt x="12" y="2003"/>
                      </a:lnTo>
                      <a:lnTo>
                        <a:pt x="0" y="1969"/>
                      </a:lnTo>
                      <a:lnTo>
                        <a:pt x="6" y="1963"/>
                      </a:lnTo>
                      <a:lnTo>
                        <a:pt x="4" y="1961"/>
                      </a:lnTo>
                      <a:lnTo>
                        <a:pt x="9" y="1952"/>
                      </a:lnTo>
                      <a:lnTo>
                        <a:pt x="12" y="1937"/>
                      </a:lnTo>
                      <a:lnTo>
                        <a:pt x="15" y="1931"/>
                      </a:lnTo>
                      <a:lnTo>
                        <a:pt x="15" y="1931"/>
                      </a:lnTo>
                      <a:lnTo>
                        <a:pt x="21" y="1914"/>
                      </a:lnTo>
                      <a:lnTo>
                        <a:pt x="30" y="1900"/>
                      </a:lnTo>
                      <a:lnTo>
                        <a:pt x="30" y="1898"/>
                      </a:lnTo>
                      <a:lnTo>
                        <a:pt x="29" y="1883"/>
                      </a:lnTo>
                      <a:lnTo>
                        <a:pt x="32" y="1874"/>
                      </a:lnTo>
                      <a:lnTo>
                        <a:pt x="37" y="1869"/>
                      </a:lnTo>
                      <a:lnTo>
                        <a:pt x="41" y="1864"/>
                      </a:lnTo>
                      <a:lnTo>
                        <a:pt x="43" y="1852"/>
                      </a:lnTo>
                      <a:lnTo>
                        <a:pt x="49" y="1857"/>
                      </a:lnTo>
                      <a:lnTo>
                        <a:pt x="67" y="1851"/>
                      </a:lnTo>
                      <a:lnTo>
                        <a:pt x="77" y="1855"/>
                      </a:lnTo>
                      <a:lnTo>
                        <a:pt x="90" y="1855"/>
                      </a:lnTo>
                      <a:lnTo>
                        <a:pt x="110" y="1848"/>
                      </a:lnTo>
                      <a:lnTo>
                        <a:pt x="119" y="1848"/>
                      </a:lnTo>
                      <a:lnTo>
                        <a:pt x="139" y="1844"/>
                      </a:lnTo>
                      <a:lnTo>
                        <a:pt x="147" y="1840"/>
                      </a:lnTo>
                      <a:lnTo>
                        <a:pt x="167" y="1843"/>
                      </a:lnTo>
                      <a:lnTo>
                        <a:pt x="173" y="1849"/>
                      </a:lnTo>
                      <a:lnTo>
                        <a:pt x="181" y="1846"/>
                      </a:lnTo>
                      <a:lnTo>
                        <a:pt x="172" y="1828"/>
                      </a:lnTo>
                      <a:lnTo>
                        <a:pt x="175" y="1821"/>
                      </a:lnTo>
                      <a:lnTo>
                        <a:pt x="170" y="1795"/>
                      </a:lnTo>
                      <a:lnTo>
                        <a:pt x="181" y="1789"/>
                      </a:lnTo>
                      <a:lnTo>
                        <a:pt x="184" y="1798"/>
                      </a:lnTo>
                      <a:lnTo>
                        <a:pt x="193" y="1808"/>
                      </a:lnTo>
                      <a:lnTo>
                        <a:pt x="205" y="1811"/>
                      </a:lnTo>
                      <a:lnTo>
                        <a:pt x="211" y="1811"/>
                      </a:lnTo>
                      <a:lnTo>
                        <a:pt x="231" y="1794"/>
                      </a:lnTo>
                      <a:lnTo>
                        <a:pt x="238" y="1792"/>
                      </a:lnTo>
                      <a:lnTo>
                        <a:pt x="242" y="1798"/>
                      </a:lnTo>
                      <a:lnTo>
                        <a:pt x="236" y="1811"/>
                      </a:lnTo>
                      <a:lnTo>
                        <a:pt x="247" y="1821"/>
                      </a:lnTo>
                      <a:lnTo>
                        <a:pt x="251" y="1820"/>
                      </a:lnTo>
                      <a:lnTo>
                        <a:pt x="258" y="1837"/>
                      </a:lnTo>
                      <a:lnTo>
                        <a:pt x="273" y="1841"/>
                      </a:lnTo>
                      <a:lnTo>
                        <a:pt x="285" y="1852"/>
                      </a:lnTo>
                      <a:lnTo>
                        <a:pt x="310" y="1855"/>
                      </a:lnTo>
                      <a:lnTo>
                        <a:pt x="337" y="1849"/>
                      </a:lnTo>
                      <a:lnTo>
                        <a:pt x="339" y="1844"/>
                      </a:lnTo>
                      <a:lnTo>
                        <a:pt x="339" y="1844"/>
                      </a:lnTo>
                      <a:lnTo>
                        <a:pt x="336" y="1829"/>
                      </a:lnTo>
                      <a:lnTo>
                        <a:pt x="339" y="1806"/>
                      </a:lnTo>
                      <a:lnTo>
                        <a:pt x="325" y="1798"/>
                      </a:lnTo>
                      <a:lnTo>
                        <a:pt x="330" y="1783"/>
                      </a:lnTo>
                      <a:lnTo>
                        <a:pt x="317" y="1783"/>
                      </a:lnTo>
                      <a:lnTo>
                        <a:pt x="322" y="1763"/>
                      </a:lnTo>
                      <a:lnTo>
                        <a:pt x="337" y="1769"/>
                      </a:lnTo>
                      <a:lnTo>
                        <a:pt x="353" y="1761"/>
                      </a:lnTo>
                      <a:lnTo>
                        <a:pt x="340" y="1748"/>
                      </a:lnTo>
                      <a:lnTo>
                        <a:pt x="336" y="1735"/>
                      </a:lnTo>
                      <a:lnTo>
                        <a:pt x="322" y="1740"/>
                      </a:lnTo>
                      <a:lnTo>
                        <a:pt x="320" y="1757"/>
                      </a:lnTo>
                      <a:lnTo>
                        <a:pt x="314" y="1743"/>
                      </a:lnTo>
                      <a:lnTo>
                        <a:pt x="313" y="1737"/>
                      </a:lnTo>
                      <a:lnTo>
                        <a:pt x="317" y="1728"/>
                      </a:lnTo>
                      <a:lnTo>
                        <a:pt x="314" y="1718"/>
                      </a:lnTo>
                      <a:lnTo>
                        <a:pt x="294" y="1711"/>
                      </a:lnTo>
                      <a:lnTo>
                        <a:pt x="287" y="1689"/>
                      </a:lnTo>
                      <a:lnTo>
                        <a:pt x="277" y="1683"/>
                      </a:lnTo>
                      <a:lnTo>
                        <a:pt x="276" y="1675"/>
                      </a:lnTo>
                      <a:lnTo>
                        <a:pt x="293" y="1678"/>
                      </a:lnTo>
                      <a:lnTo>
                        <a:pt x="294" y="1660"/>
                      </a:lnTo>
                      <a:lnTo>
                        <a:pt x="308" y="1657"/>
                      </a:lnTo>
                      <a:lnTo>
                        <a:pt x="323" y="1660"/>
                      </a:lnTo>
                      <a:lnTo>
                        <a:pt x="327" y="1635"/>
                      </a:lnTo>
                      <a:lnTo>
                        <a:pt x="323" y="1620"/>
                      </a:lnTo>
                      <a:lnTo>
                        <a:pt x="307" y="1622"/>
                      </a:lnTo>
                      <a:lnTo>
                        <a:pt x="291" y="1615"/>
                      </a:lnTo>
                      <a:lnTo>
                        <a:pt x="271" y="1626"/>
                      </a:lnTo>
                      <a:lnTo>
                        <a:pt x="256" y="1632"/>
                      </a:lnTo>
                      <a:lnTo>
                        <a:pt x="247" y="1628"/>
                      </a:lnTo>
                      <a:lnTo>
                        <a:pt x="248" y="1615"/>
                      </a:lnTo>
                      <a:lnTo>
                        <a:pt x="238" y="1598"/>
                      </a:lnTo>
                      <a:lnTo>
                        <a:pt x="225" y="1598"/>
                      </a:lnTo>
                      <a:lnTo>
                        <a:pt x="210" y="1582"/>
                      </a:lnTo>
                      <a:lnTo>
                        <a:pt x="221" y="1562"/>
                      </a:lnTo>
                      <a:lnTo>
                        <a:pt x="216" y="1557"/>
                      </a:lnTo>
                      <a:lnTo>
                        <a:pt x="228" y="1526"/>
                      </a:lnTo>
                      <a:lnTo>
                        <a:pt x="247" y="1543"/>
                      </a:lnTo>
                      <a:lnTo>
                        <a:pt x="248" y="1523"/>
                      </a:lnTo>
                      <a:lnTo>
                        <a:pt x="285" y="1492"/>
                      </a:lnTo>
                      <a:lnTo>
                        <a:pt x="311" y="1492"/>
                      </a:lnTo>
                      <a:lnTo>
                        <a:pt x="350" y="1511"/>
                      </a:lnTo>
                      <a:lnTo>
                        <a:pt x="369" y="1522"/>
                      </a:lnTo>
                      <a:lnTo>
                        <a:pt x="388" y="1511"/>
                      </a:lnTo>
                      <a:lnTo>
                        <a:pt x="415" y="1511"/>
                      </a:lnTo>
                      <a:lnTo>
                        <a:pt x="437" y="1525"/>
                      </a:lnTo>
                      <a:lnTo>
                        <a:pt x="442" y="1517"/>
                      </a:lnTo>
                      <a:lnTo>
                        <a:pt x="466" y="1517"/>
                      </a:lnTo>
                      <a:lnTo>
                        <a:pt x="471" y="1505"/>
                      </a:lnTo>
                      <a:lnTo>
                        <a:pt x="443" y="1485"/>
                      </a:lnTo>
                      <a:lnTo>
                        <a:pt x="445" y="1483"/>
                      </a:lnTo>
                      <a:lnTo>
                        <a:pt x="443" y="1483"/>
                      </a:lnTo>
                      <a:lnTo>
                        <a:pt x="438" y="1471"/>
                      </a:lnTo>
                      <a:lnTo>
                        <a:pt x="426" y="1468"/>
                      </a:lnTo>
                      <a:lnTo>
                        <a:pt x="426" y="1451"/>
                      </a:lnTo>
                      <a:lnTo>
                        <a:pt x="432" y="1437"/>
                      </a:lnTo>
                      <a:lnTo>
                        <a:pt x="442" y="1429"/>
                      </a:lnTo>
                      <a:lnTo>
                        <a:pt x="437" y="1419"/>
                      </a:lnTo>
                      <a:lnTo>
                        <a:pt x="425" y="1411"/>
                      </a:lnTo>
                      <a:lnTo>
                        <a:pt x="414" y="1419"/>
                      </a:lnTo>
                      <a:lnTo>
                        <a:pt x="402" y="1428"/>
                      </a:lnTo>
                      <a:lnTo>
                        <a:pt x="391" y="1414"/>
                      </a:lnTo>
                      <a:lnTo>
                        <a:pt x="383" y="1402"/>
                      </a:lnTo>
                      <a:lnTo>
                        <a:pt x="376" y="1388"/>
                      </a:lnTo>
                      <a:lnTo>
                        <a:pt x="396" y="1385"/>
                      </a:lnTo>
                      <a:lnTo>
                        <a:pt x="411" y="1380"/>
                      </a:lnTo>
                      <a:lnTo>
                        <a:pt x="420" y="1365"/>
                      </a:lnTo>
                      <a:lnTo>
                        <a:pt x="419" y="1351"/>
                      </a:lnTo>
                      <a:lnTo>
                        <a:pt x="406" y="1340"/>
                      </a:lnTo>
                      <a:lnTo>
                        <a:pt x="409" y="1325"/>
                      </a:lnTo>
                      <a:lnTo>
                        <a:pt x="423" y="1309"/>
                      </a:lnTo>
                      <a:lnTo>
                        <a:pt x="434" y="1286"/>
                      </a:lnTo>
                      <a:lnTo>
                        <a:pt x="445" y="1256"/>
                      </a:lnTo>
                      <a:lnTo>
                        <a:pt x="452" y="1202"/>
                      </a:lnTo>
                      <a:lnTo>
                        <a:pt x="465" y="1079"/>
                      </a:lnTo>
                      <a:lnTo>
                        <a:pt x="497" y="1054"/>
                      </a:lnTo>
                      <a:lnTo>
                        <a:pt x="526" y="1020"/>
                      </a:lnTo>
                      <a:lnTo>
                        <a:pt x="550" y="1002"/>
                      </a:lnTo>
                      <a:lnTo>
                        <a:pt x="573" y="977"/>
                      </a:lnTo>
                      <a:lnTo>
                        <a:pt x="586" y="953"/>
                      </a:lnTo>
                      <a:lnTo>
                        <a:pt x="580" y="908"/>
                      </a:lnTo>
                      <a:lnTo>
                        <a:pt x="590" y="916"/>
                      </a:lnTo>
                      <a:lnTo>
                        <a:pt x="601" y="891"/>
                      </a:lnTo>
                      <a:lnTo>
                        <a:pt x="584" y="867"/>
                      </a:lnTo>
                      <a:lnTo>
                        <a:pt x="583" y="856"/>
                      </a:lnTo>
                      <a:lnTo>
                        <a:pt x="563" y="851"/>
                      </a:lnTo>
                      <a:lnTo>
                        <a:pt x="569" y="828"/>
                      </a:lnTo>
                      <a:lnTo>
                        <a:pt x="560" y="788"/>
                      </a:lnTo>
                      <a:lnTo>
                        <a:pt x="558" y="771"/>
                      </a:lnTo>
                      <a:lnTo>
                        <a:pt x="590" y="722"/>
                      </a:lnTo>
                      <a:lnTo>
                        <a:pt x="601" y="670"/>
                      </a:lnTo>
                      <a:lnTo>
                        <a:pt x="615" y="659"/>
                      </a:lnTo>
                      <a:lnTo>
                        <a:pt x="659" y="675"/>
                      </a:lnTo>
                      <a:lnTo>
                        <a:pt x="664" y="705"/>
                      </a:lnTo>
                      <a:lnTo>
                        <a:pt x="647" y="751"/>
                      </a:lnTo>
                      <a:lnTo>
                        <a:pt x="658" y="768"/>
                      </a:lnTo>
                      <a:lnTo>
                        <a:pt x="664" y="804"/>
                      </a:lnTo>
                      <a:lnTo>
                        <a:pt x="659" y="873"/>
                      </a:lnTo>
                      <a:lnTo>
                        <a:pt x="678" y="902"/>
                      </a:lnTo>
                      <a:lnTo>
                        <a:pt x="672" y="933"/>
                      </a:lnTo>
                      <a:lnTo>
                        <a:pt x="638" y="994"/>
                      </a:lnTo>
                      <a:lnTo>
                        <a:pt x="656" y="1002"/>
                      </a:lnTo>
                      <a:lnTo>
                        <a:pt x="664" y="985"/>
                      </a:lnTo>
                      <a:lnTo>
                        <a:pt x="682" y="974"/>
                      </a:lnTo>
                      <a:lnTo>
                        <a:pt x="687" y="953"/>
                      </a:lnTo>
                      <a:lnTo>
                        <a:pt x="702" y="931"/>
                      </a:lnTo>
                      <a:lnTo>
                        <a:pt x="692" y="905"/>
                      </a:lnTo>
                      <a:lnTo>
                        <a:pt x="701" y="874"/>
                      </a:lnTo>
                      <a:lnTo>
                        <a:pt x="681" y="870"/>
                      </a:lnTo>
                      <a:lnTo>
                        <a:pt x="678" y="842"/>
                      </a:lnTo>
                      <a:lnTo>
                        <a:pt x="692" y="791"/>
                      </a:lnTo>
                      <a:lnTo>
                        <a:pt x="669" y="748"/>
                      </a:lnTo>
                      <a:lnTo>
                        <a:pt x="699" y="711"/>
                      </a:lnTo>
                      <a:lnTo>
                        <a:pt x="696" y="672"/>
                      </a:lnTo>
                      <a:lnTo>
                        <a:pt x="704" y="670"/>
                      </a:lnTo>
                      <a:lnTo>
                        <a:pt x="713" y="701"/>
                      </a:lnTo>
                      <a:lnTo>
                        <a:pt x="707" y="755"/>
                      </a:lnTo>
                      <a:lnTo>
                        <a:pt x="725" y="764"/>
                      </a:lnTo>
                      <a:lnTo>
                        <a:pt x="716" y="725"/>
                      </a:lnTo>
                      <a:lnTo>
                        <a:pt x="745" y="704"/>
                      </a:lnTo>
                      <a:lnTo>
                        <a:pt x="781" y="701"/>
                      </a:lnTo>
                      <a:lnTo>
                        <a:pt x="813" y="731"/>
                      </a:lnTo>
                      <a:lnTo>
                        <a:pt x="797" y="685"/>
                      </a:lnTo>
                      <a:lnTo>
                        <a:pt x="796" y="622"/>
                      </a:lnTo>
                      <a:lnTo>
                        <a:pt x="827" y="610"/>
                      </a:lnTo>
                      <a:lnTo>
                        <a:pt x="868" y="613"/>
                      </a:lnTo>
                      <a:lnTo>
                        <a:pt x="905" y="604"/>
                      </a:lnTo>
                      <a:lnTo>
                        <a:pt x="891" y="572"/>
                      </a:lnTo>
                      <a:lnTo>
                        <a:pt x="911" y="529"/>
                      </a:lnTo>
                      <a:lnTo>
                        <a:pt x="931" y="525"/>
                      </a:lnTo>
                      <a:lnTo>
                        <a:pt x="963" y="492"/>
                      </a:lnTo>
                      <a:lnTo>
                        <a:pt x="1009" y="482"/>
                      </a:lnTo>
                      <a:lnTo>
                        <a:pt x="1015" y="464"/>
                      </a:lnTo>
                      <a:lnTo>
                        <a:pt x="1060" y="456"/>
                      </a:lnTo>
                      <a:lnTo>
                        <a:pt x="1074" y="473"/>
                      </a:lnTo>
                      <a:lnTo>
                        <a:pt x="1113" y="435"/>
                      </a:lnTo>
                      <a:lnTo>
                        <a:pt x="1144" y="436"/>
                      </a:lnTo>
                      <a:lnTo>
                        <a:pt x="1149" y="404"/>
                      </a:lnTo>
                      <a:lnTo>
                        <a:pt x="1166" y="370"/>
                      </a:lnTo>
                      <a:lnTo>
                        <a:pt x="1205" y="338"/>
                      </a:lnTo>
                      <a:lnTo>
                        <a:pt x="1236" y="364"/>
                      </a:lnTo>
                      <a:lnTo>
                        <a:pt x="1212" y="384"/>
                      </a:lnTo>
                      <a:lnTo>
                        <a:pt x="1251" y="395"/>
                      </a:lnTo>
                      <a:lnTo>
                        <a:pt x="1256" y="432"/>
                      </a:lnTo>
                      <a:lnTo>
                        <a:pt x="1271" y="415"/>
                      </a:lnTo>
                      <a:lnTo>
                        <a:pt x="1322" y="415"/>
                      </a:lnTo>
                      <a:lnTo>
                        <a:pt x="1360" y="452"/>
                      </a:lnTo>
                      <a:lnTo>
                        <a:pt x="1374" y="478"/>
                      </a:lnTo>
                      <a:lnTo>
                        <a:pt x="1370" y="513"/>
                      </a:lnTo>
                      <a:lnTo>
                        <a:pt x="1351" y="533"/>
                      </a:lnTo>
                      <a:lnTo>
                        <a:pt x="1307" y="570"/>
                      </a:lnTo>
                      <a:lnTo>
                        <a:pt x="1293" y="588"/>
                      </a:lnTo>
                      <a:lnTo>
                        <a:pt x="1314" y="598"/>
                      </a:lnTo>
                      <a:lnTo>
                        <a:pt x="1340" y="613"/>
                      </a:lnTo>
                      <a:lnTo>
                        <a:pt x="1356" y="602"/>
                      </a:lnTo>
                      <a:lnTo>
                        <a:pt x="1363" y="641"/>
                      </a:lnTo>
                      <a:lnTo>
                        <a:pt x="1371" y="625"/>
                      </a:lnTo>
                      <a:lnTo>
                        <a:pt x="1399" y="616"/>
                      </a:lnTo>
                      <a:lnTo>
                        <a:pt x="1454" y="625"/>
                      </a:lnTo>
                      <a:lnTo>
                        <a:pt x="1459" y="655"/>
                      </a:lnTo>
                      <a:lnTo>
                        <a:pt x="1531" y="662"/>
                      </a:lnTo>
                      <a:lnTo>
                        <a:pt x="1531" y="616"/>
                      </a:lnTo>
                      <a:lnTo>
                        <a:pt x="1567" y="627"/>
                      </a:lnTo>
                      <a:lnTo>
                        <a:pt x="1595" y="627"/>
                      </a:lnTo>
                      <a:lnTo>
                        <a:pt x="1623" y="659"/>
                      </a:lnTo>
                      <a:lnTo>
                        <a:pt x="1630" y="696"/>
                      </a:lnTo>
                      <a:lnTo>
                        <a:pt x="1621" y="719"/>
                      </a:lnTo>
                      <a:lnTo>
                        <a:pt x="1643" y="762"/>
                      </a:lnTo>
                      <a:lnTo>
                        <a:pt x="1670" y="784"/>
                      </a:lnTo>
                      <a:lnTo>
                        <a:pt x="1686" y="727"/>
                      </a:lnTo>
                      <a:lnTo>
                        <a:pt x="1713" y="751"/>
                      </a:lnTo>
                      <a:lnTo>
                        <a:pt x="1744" y="738"/>
                      </a:lnTo>
                      <a:lnTo>
                        <a:pt x="1776" y="755"/>
                      </a:lnTo>
                      <a:lnTo>
                        <a:pt x="1790" y="739"/>
                      </a:lnTo>
                      <a:lnTo>
                        <a:pt x="1817" y="747"/>
                      </a:lnTo>
                      <a:lnTo>
                        <a:pt x="1805" y="695"/>
                      </a:lnTo>
                      <a:lnTo>
                        <a:pt x="1828" y="670"/>
                      </a:lnTo>
                      <a:lnTo>
                        <a:pt x="1983" y="707"/>
                      </a:lnTo>
                      <a:lnTo>
                        <a:pt x="1997" y="741"/>
                      </a:lnTo>
                      <a:lnTo>
                        <a:pt x="2043" y="781"/>
                      </a:lnTo>
                      <a:lnTo>
                        <a:pt x="2112" y="771"/>
                      </a:lnTo>
                      <a:lnTo>
                        <a:pt x="2146" y="779"/>
                      </a:lnTo>
                      <a:lnTo>
                        <a:pt x="2161" y="801"/>
                      </a:lnTo>
                      <a:lnTo>
                        <a:pt x="2158" y="838"/>
                      </a:lnTo>
                      <a:lnTo>
                        <a:pt x="2179" y="853"/>
                      </a:lnTo>
                      <a:lnTo>
                        <a:pt x="2202" y="842"/>
                      </a:lnTo>
                      <a:lnTo>
                        <a:pt x="2233" y="841"/>
                      </a:lnTo>
                      <a:lnTo>
                        <a:pt x="2265" y="851"/>
                      </a:lnTo>
                      <a:lnTo>
                        <a:pt x="2298" y="845"/>
                      </a:lnTo>
                      <a:lnTo>
                        <a:pt x="2328" y="888"/>
                      </a:lnTo>
                      <a:lnTo>
                        <a:pt x="2350" y="873"/>
                      </a:lnTo>
                      <a:lnTo>
                        <a:pt x="2336" y="842"/>
                      </a:lnTo>
                      <a:lnTo>
                        <a:pt x="2344" y="819"/>
                      </a:lnTo>
                      <a:lnTo>
                        <a:pt x="2399" y="833"/>
                      </a:lnTo>
                      <a:lnTo>
                        <a:pt x="2434" y="830"/>
                      </a:lnTo>
                      <a:lnTo>
                        <a:pt x="2483" y="854"/>
                      </a:lnTo>
                      <a:lnTo>
                        <a:pt x="2508" y="876"/>
                      </a:lnTo>
                      <a:lnTo>
                        <a:pt x="2549" y="911"/>
                      </a:lnTo>
                      <a:lnTo>
                        <a:pt x="2595" y="956"/>
                      </a:lnTo>
                      <a:lnTo>
                        <a:pt x="2594" y="984"/>
                      </a:lnTo>
                      <a:lnTo>
                        <a:pt x="2604" y="994"/>
                      </a:lnTo>
                      <a:lnTo>
                        <a:pt x="2601" y="962"/>
                      </a:lnTo>
                      <a:lnTo>
                        <a:pt x="2647" y="970"/>
                      </a:lnTo>
                      <a:lnTo>
                        <a:pt x="2683" y="1010"/>
                      </a:lnTo>
                      <a:lnTo>
                        <a:pt x="2666" y="1028"/>
                      </a:lnTo>
                      <a:lnTo>
                        <a:pt x="2636" y="1033"/>
                      </a:lnTo>
                      <a:lnTo>
                        <a:pt x="2636" y="1073"/>
                      </a:lnTo>
                      <a:lnTo>
                        <a:pt x="2630" y="1080"/>
                      </a:lnTo>
                      <a:lnTo>
                        <a:pt x="2613" y="1079"/>
                      </a:lnTo>
                      <a:lnTo>
                        <a:pt x="2600" y="1065"/>
                      </a:lnTo>
                      <a:lnTo>
                        <a:pt x="2578" y="1054"/>
                      </a:lnTo>
                      <a:lnTo>
                        <a:pt x="2574" y="1036"/>
                      </a:lnTo>
                      <a:lnTo>
                        <a:pt x="2557" y="1030"/>
                      </a:lnTo>
                      <a:lnTo>
                        <a:pt x="2537" y="1034"/>
                      </a:lnTo>
                      <a:lnTo>
                        <a:pt x="2528" y="1020"/>
                      </a:lnTo>
                      <a:lnTo>
                        <a:pt x="2531" y="1004"/>
                      </a:lnTo>
                      <a:lnTo>
                        <a:pt x="2511" y="1014"/>
                      </a:lnTo>
                      <a:lnTo>
                        <a:pt x="2518" y="1034"/>
                      </a:lnTo>
                      <a:lnTo>
                        <a:pt x="2508" y="1051"/>
                      </a:lnTo>
                      <a:lnTo>
                        <a:pt x="2508" y="1051"/>
                      </a:lnTo>
                      <a:lnTo>
                        <a:pt x="2486" y="1070"/>
                      </a:lnTo>
                      <a:lnTo>
                        <a:pt x="2463" y="1067"/>
                      </a:lnTo>
                      <a:lnTo>
                        <a:pt x="2480" y="1088"/>
                      </a:lnTo>
                      <a:lnTo>
                        <a:pt x="2489" y="1119"/>
                      </a:lnTo>
                      <a:lnTo>
                        <a:pt x="2497" y="1130"/>
                      </a:lnTo>
                      <a:lnTo>
                        <a:pt x="2500" y="1145"/>
                      </a:lnTo>
                      <a:lnTo>
                        <a:pt x="2495" y="1156"/>
                      </a:lnTo>
                      <a:lnTo>
                        <a:pt x="2463" y="1147"/>
                      </a:lnTo>
                      <a:lnTo>
                        <a:pt x="2416" y="1174"/>
                      </a:lnTo>
                      <a:lnTo>
                        <a:pt x="2400" y="1179"/>
                      </a:lnTo>
                      <a:lnTo>
                        <a:pt x="2373" y="1205"/>
                      </a:lnTo>
                      <a:lnTo>
                        <a:pt x="2348" y="1226"/>
                      </a:lnTo>
                      <a:lnTo>
                        <a:pt x="2342" y="1242"/>
                      </a:lnTo>
                      <a:lnTo>
                        <a:pt x="2317" y="1217"/>
                      </a:lnTo>
                      <a:lnTo>
                        <a:pt x="2273" y="1245"/>
                      </a:lnTo>
                      <a:lnTo>
                        <a:pt x="2265" y="1231"/>
                      </a:lnTo>
                      <a:lnTo>
                        <a:pt x="2248" y="1246"/>
                      </a:lnTo>
                      <a:lnTo>
                        <a:pt x="2225" y="1242"/>
                      </a:lnTo>
                      <a:lnTo>
                        <a:pt x="2219" y="1265"/>
                      </a:lnTo>
                      <a:lnTo>
                        <a:pt x="2199" y="1296"/>
                      </a:lnTo>
                      <a:lnTo>
                        <a:pt x="2199" y="1309"/>
                      </a:lnTo>
                      <a:lnTo>
                        <a:pt x="2219" y="1317"/>
                      </a:lnTo>
                      <a:lnTo>
                        <a:pt x="2216" y="1362"/>
                      </a:lnTo>
                      <a:lnTo>
                        <a:pt x="2201" y="1363"/>
                      </a:lnTo>
                      <a:lnTo>
                        <a:pt x="2193" y="1389"/>
                      </a:lnTo>
                      <a:lnTo>
                        <a:pt x="2201" y="1402"/>
                      </a:lnTo>
                      <a:lnTo>
                        <a:pt x="2170" y="1417"/>
                      </a:lnTo>
                      <a:lnTo>
                        <a:pt x="2164" y="1451"/>
                      </a:lnTo>
                      <a:lnTo>
                        <a:pt x="2140" y="1457"/>
                      </a:lnTo>
                      <a:lnTo>
                        <a:pt x="2133" y="1486"/>
                      </a:lnTo>
                      <a:lnTo>
                        <a:pt x="2109" y="1512"/>
                      </a:lnTo>
                      <a:lnTo>
                        <a:pt x="2103" y="1492"/>
                      </a:lnTo>
                      <a:lnTo>
                        <a:pt x="2095" y="1452"/>
                      </a:lnTo>
                      <a:lnTo>
                        <a:pt x="2086" y="1386"/>
                      </a:lnTo>
                      <a:lnTo>
                        <a:pt x="2094" y="1343"/>
                      </a:lnTo>
                      <a:lnTo>
                        <a:pt x="2109" y="1325"/>
                      </a:lnTo>
                      <a:lnTo>
                        <a:pt x="2109" y="1309"/>
                      </a:lnTo>
                      <a:lnTo>
                        <a:pt x="2136" y="1302"/>
                      </a:lnTo>
                      <a:lnTo>
                        <a:pt x="2167" y="1260"/>
                      </a:lnTo>
                      <a:lnTo>
                        <a:pt x="2196" y="1225"/>
                      </a:lnTo>
                      <a:lnTo>
                        <a:pt x="2227" y="1197"/>
                      </a:lnTo>
                      <a:lnTo>
                        <a:pt x="2241" y="1147"/>
                      </a:lnTo>
                      <a:lnTo>
                        <a:pt x="2221" y="1150"/>
                      </a:lnTo>
                      <a:lnTo>
                        <a:pt x="2210" y="1179"/>
                      </a:lnTo>
                      <a:lnTo>
                        <a:pt x="2167" y="1219"/>
                      </a:lnTo>
                      <a:lnTo>
                        <a:pt x="2152" y="1174"/>
                      </a:lnTo>
                      <a:lnTo>
                        <a:pt x="2107" y="1186"/>
                      </a:lnTo>
                      <a:lnTo>
                        <a:pt x="2064" y="1245"/>
                      </a:lnTo>
                      <a:lnTo>
                        <a:pt x="2080" y="1266"/>
                      </a:lnTo>
                      <a:lnTo>
                        <a:pt x="2041" y="1276"/>
                      </a:lnTo>
                      <a:lnTo>
                        <a:pt x="2014" y="1279"/>
                      </a:lnTo>
                      <a:lnTo>
                        <a:pt x="2015" y="1254"/>
                      </a:lnTo>
                      <a:lnTo>
                        <a:pt x="1989" y="1250"/>
                      </a:lnTo>
                      <a:lnTo>
                        <a:pt x="1968" y="1266"/>
                      </a:lnTo>
                      <a:lnTo>
                        <a:pt x="1916" y="1260"/>
                      </a:lnTo>
                      <a:lnTo>
                        <a:pt x="1859" y="1269"/>
                      </a:lnTo>
                      <a:lnTo>
                        <a:pt x="1802" y="1334"/>
                      </a:lnTo>
                      <a:lnTo>
                        <a:pt x="1736" y="1406"/>
                      </a:lnTo>
                      <a:lnTo>
                        <a:pt x="1764" y="1409"/>
                      </a:lnTo>
                      <a:lnTo>
                        <a:pt x="1773" y="1428"/>
                      </a:lnTo>
                      <a:lnTo>
                        <a:pt x="1788" y="1434"/>
                      </a:lnTo>
                      <a:lnTo>
                        <a:pt x="1801" y="1420"/>
                      </a:lnTo>
                      <a:lnTo>
                        <a:pt x="1819" y="1422"/>
                      </a:lnTo>
                      <a:lnTo>
                        <a:pt x="1843" y="1454"/>
                      </a:lnTo>
                      <a:lnTo>
                        <a:pt x="1843" y="1477"/>
                      </a:lnTo>
                      <a:lnTo>
                        <a:pt x="1831" y="1506"/>
                      </a:lnTo>
                      <a:lnTo>
                        <a:pt x="1830" y="1539"/>
                      </a:lnTo>
                      <a:lnTo>
                        <a:pt x="1822" y="1580"/>
                      </a:lnTo>
                      <a:lnTo>
                        <a:pt x="1796" y="1617"/>
                      </a:lnTo>
                      <a:lnTo>
                        <a:pt x="1790" y="1634"/>
                      </a:lnTo>
                      <a:lnTo>
                        <a:pt x="1767" y="1663"/>
                      </a:lnTo>
                      <a:lnTo>
                        <a:pt x="1744" y="1691"/>
                      </a:lnTo>
                      <a:lnTo>
                        <a:pt x="1732" y="1705"/>
                      </a:lnTo>
                      <a:lnTo>
                        <a:pt x="1709" y="1718"/>
                      </a:lnTo>
                      <a:lnTo>
                        <a:pt x="1698" y="1718"/>
                      </a:lnTo>
                      <a:lnTo>
                        <a:pt x="1687" y="1708"/>
                      </a:lnTo>
                      <a:lnTo>
                        <a:pt x="1664" y="1725"/>
                      </a:lnTo>
                      <a:lnTo>
                        <a:pt x="1663" y="1732"/>
                      </a:lnTo>
                      <a:lnTo>
                        <a:pt x="1655" y="1731"/>
                      </a:lnTo>
                      <a:lnTo>
                        <a:pt x="1647" y="1738"/>
                      </a:lnTo>
                      <a:lnTo>
                        <a:pt x="1643" y="1746"/>
                      </a:lnTo>
                      <a:lnTo>
                        <a:pt x="1643" y="1763"/>
                      </a:lnTo>
                      <a:lnTo>
                        <a:pt x="1635" y="1768"/>
                      </a:lnTo>
                      <a:lnTo>
                        <a:pt x="1632" y="1772"/>
                      </a:lnTo>
                      <a:lnTo>
                        <a:pt x="1624" y="1778"/>
                      </a:lnTo>
                      <a:lnTo>
                        <a:pt x="1613" y="1783"/>
                      </a:lnTo>
                      <a:lnTo>
                        <a:pt x="1606" y="1789"/>
                      </a:lnTo>
                      <a:lnTo>
                        <a:pt x="1606" y="1798"/>
                      </a:lnTo>
                      <a:lnTo>
                        <a:pt x="1603" y="1801"/>
                      </a:lnTo>
                      <a:lnTo>
                        <a:pt x="1610" y="1804"/>
                      </a:lnTo>
                      <a:lnTo>
                        <a:pt x="1620" y="1814"/>
                      </a:lnTo>
                      <a:lnTo>
                        <a:pt x="1635" y="1840"/>
                      </a:lnTo>
                      <a:lnTo>
                        <a:pt x="1639" y="1854"/>
                      </a:lnTo>
                      <a:lnTo>
                        <a:pt x="1639" y="1878"/>
                      </a:lnTo>
                      <a:lnTo>
                        <a:pt x="1632" y="1889"/>
                      </a:lnTo>
                      <a:lnTo>
                        <a:pt x="1616" y="1894"/>
                      </a:lnTo>
                      <a:lnTo>
                        <a:pt x="1603" y="1903"/>
                      </a:lnTo>
                      <a:lnTo>
                        <a:pt x="1587" y="1904"/>
                      </a:lnTo>
                      <a:lnTo>
                        <a:pt x="1586" y="1892"/>
                      </a:lnTo>
                      <a:lnTo>
                        <a:pt x="1589" y="1877"/>
                      </a:lnTo>
                      <a:lnTo>
                        <a:pt x="1581" y="1855"/>
                      </a:lnTo>
                      <a:lnTo>
                        <a:pt x="1593" y="1851"/>
                      </a:lnTo>
                      <a:lnTo>
                        <a:pt x="1583" y="1832"/>
                      </a:lnTo>
                      <a:lnTo>
                        <a:pt x="1574" y="1829"/>
                      </a:lnTo>
                      <a:lnTo>
                        <a:pt x="1572" y="1832"/>
                      </a:lnTo>
                      <a:lnTo>
                        <a:pt x="1567" y="1834"/>
                      </a:lnTo>
                      <a:lnTo>
                        <a:pt x="1566" y="1831"/>
                      </a:lnTo>
                      <a:lnTo>
                        <a:pt x="1561" y="1829"/>
                      </a:lnTo>
                      <a:lnTo>
                        <a:pt x="1557" y="1824"/>
                      </a:lnTo>
                      <a:lnTo>
                        <a:pt x="1561" y="1815"/>
                      </a:lnTo>
                      <a:lnTo>
                        <a:pt x="1566" y="1812"/>
                      </a:lnTo>
                      <a:lnTo>
                        <a:pt x="1564" y="1809"/>
                      </a:lnTo>
                      <a:lnTo>
                        <a:pt x="1569" y="1797"/>
                      </a:lnTo>
                      <a:lnTo>
                        <a:pt x="1567" y="1794"/>
                      </a:lnTo>
                      <a:lnTo>
                        <a:pt x="1558" y="1791"/>
                      </a:lnTo>
                      <a:lnTo>
                        <a:pt x="1549" y="1784"/>
                      </a:lnTo>
                      <a:lnTo>
                        <a:pt x="1526" y="1791"/>
                      </a:lnTo>
                      <a:lnTo>
                        <a:pt x="1512" y="1801"/>
                      </a:lnTo>
                      <a:lnTo>
                        <a:pt x="1494" y="1808"/>
                      </a:lnTo>
                      <a:lnTo>
                        <a:pt x="1503" y="1797"/>
                      </a:lnTo>
                      <a:lnTo>
                        <a:pt x="1500" y="1789"/>
                      </a:lnTo>
                      <a:lnTo>
                        <a:pt x="1514" y="1774"/>
                      </a:lnTo>
                      <a:lnTo>
                        <a:pt x="1505" y="1761"/>
                      </a:lnTo>
                      <a:lnTo>
                        <a:pt x="1489" y="1769"/>
                      </a:lnTo>
                      <a:lnTo>
                        <a:pt x="1469" y="1786"/>
                      </a:lnTo>
                      <a:lnTo>
                        <a:pt x="1460" y="1800"/>
                      </a:lnTo>
                      <a:lnTo>
                        <a:pt x="1443" y="1801"/>
                      </a:lnTo>
                      <a:lnTo>
                        <a:pt x="1434" y="1811"/>
                      </a:lnTo>
                      <a:lnTo>
                        <a:pt x="1443" y="1826"/>
                      </a:lnTo>
                      <a:lnTo>
                        <a:pt x="1457" y="1829"/>
                      </a:lnTo>
                      <a:lnTo>
                        <a:pt x="1457" y="1840"/>
                      </a:lnTo>
                      <a:lnTo>
                        <a:pt x="1471" y="1846"/>
                      </a:lnTo>
                      <a:lnTo>
                        <a:pt x="1491" y="1831"/>
                      </a:lnTo>
                      <a:lnTo>
                        <a:pt x="1506" y="1838"/>
                      </a:lnTo>
                      <a:lnTo>
                        <a:pt x="1517" y="1838"/>
                      </a:lnTo>
                      <a:lnTo>
                        <a:pt x="1520" y="1851"/>
                      </a:lnTo>
                      <a:lnTo>
                        <a:pt x="1495" y="1857"/>
                      </a:lnTo>
                      <a:lnTo>
                        <a:pt x="1488" y="1867"/>
                      </a:lnTo>
                      <a:lnTo>
                        <a:pt x="1471" y="1878"/>
                      </a:lnTo>
                      <a:lnTo>
                        <a:pt x="1462" y="1894"/>
                      </a:lnTo>
                      <a:lnTo>
                        <a:pt x="1480" y="1904"/>
                      </a:lnTo>
                      <a:lnTo>
                        <a:pt x="1486" y="1924"/>
                      </a:lnTo>
                      <a:lnTo>
                        <a:pt x="1497" y="1944"/>
                      </a:lnTo>
                      <a:lnTo>
                        <a:pt x="1509" y="1960"/>
                      </a:lnTo>
                      <a:lnTo>
                        <a:pt x="1509" y="1974"/>
                      </a:lnTo>
                      <a:lnTo>
                        <a:pt x="1498" y="1980"/>
                      </a:lnTo>
                      <a:lnTo>
                        <a:pt x="1501" y="1990"/>
                      </a:lnTo>
                      <a:lnTo>
                        <a:pt x="1512" y="1997"/>
                      </a:lnTo>
                      <a:lnTo>
                        <a:pt x="1509" y="2012"/>
                      </a:lnTo>
                      <a:lnTo>
                        <a:pt x="1505" y="2027"/>
                      </a:lnTo>
                      <a:lnTo>
                        <a:pt x="1495" y="2029"/>
                      </a:lnTo>
                      <a:lnTo>
                        <a:pt x="1483" y="2050"/>
                      </a:lnTo>
                      <a:lnTo>
                        <a:pt x="1469" y="2075"/>
                      </a:lnTo>
                      <a:lnTo>
                        <a:pt x="1452" y="2098"/>
                      </a:lnTo>
                      <a:lnTo>
                        <a:pt x="1429" y="2115"/>
                      </a:lnTo>
                      <a:lnTo>
                        <a:pt x="1405" y="2132"/>
                      </a:lnTo>
                      <a:lnTo>
                        <a:pt x="1386" y="2133"/>
                      </a:lnTo>
                      <a:lnTo>
                        <a:pt x="1376" y="2141"/>
                      </a:lnTo>
                      <a:lnTo>
                        <a:pt x="1370" y="2137"/>
                      </a:lnTo>
                      <a:lnTo>
                        <a:pt x="1360" y="2146"/>
                      </a:lnTo>
                      <a:lnTo>
                        <a:pt x="1336" y="2155"/>
                      </a:lnTo>
                      <a:lnTo>
                        <a:pt x="1317" y="2156"/>
                      </a:lnTo>
                      <a:lnTo>
                        <a:pt x="1311" y="2176"/>
                      </a:lnTo>
                      <a:lnTo>
                        <a:pt x="1302" y="2178"/>
                      </a:lnTo>
                      <a:lnTo>
                        <a:pt x="1297" y="2164"/>
                      </a:lnTo>
                      <a:lnTo>
                        <a:pt x="1302" y="2156"/>
                      </a:lnTo>
                      <a:lnTo>
                        <a:pt x="1279" y="2152"/>
                      </a:lnTo>
                      <a:lnTo>
                        <a:pt x="1270" y="2153"/>
                      </a:lnTo>
                      <a:lnTo>
                        <a:pt x="1247" y="2170"/>
                      </a:lnTo>
                      <a:lnTo>
                        <a:pt x="1233" y="2187"/>
                      </a:lnTo>
                      <a:lnTo>
                        <a:pt x="1230" y="2200"/>
                      </a:lnTo>
                      <a:lnTo>
                        <a:pt x="1242" y="2220"/>
                      </a:lnTo>
                      <a:lnTo>
                        <a:pt x="1259" y="2243"/>
                      </a:lnTo>
                      <a:lnTo>
                        <a:pt x="1274" y="2253"/>
                      </a:lnTo>
                      <a:lnTo>
                        <a:pt x="1285" y="2267"/>
                      </a:lnTo>
                      <a:lnTo>
                        <a:pt x="1293" y="2301"/>
                      </a:lnTo>
                      <a:lnTo>
                        <a:pt x="1290" y="2332"/>
                      </a:lnTo>
                      <a:lnTo>
                        <a:pt x="1276" y="2342"/>
                      </a:lnTo>
                      <a:lnTo>
                        <a:pt x="1256" y="2353"/>
                      </a:lnTo>
                      <a:lnTo>
                        <a:pt x="1242" y="2369"/>
                      </a:lnTo>
                      <a:lnTo>
                        <a:pt x="1221" y="2384"/>
                      </a:lnTo>
                      <a:lnTo>
                        <a:pt x="1215" y="2373"/>
                      </a:lnTo>
                      <a:lnTo>
                        <a:pt x="1219" y="2361"/>
                      </a:lnTo>
                      <a:lnTo>
                        <a:pt x="1207" y="2352"/>
                      </a:lnTo>
                      <a:lnTo>
                        <a:pt x="1192" y="2349"/>
                      </a:lnTo>
                      <a:lnTo>
                        <a:pt x="1185" y="2339"/>
                      </a:lnTo>
                      <a:lnTo>
                        <a:pt x="1176" y="2323"/>
                      </a:lnTo>
                      <a:lnTo>
                        <a:pt x="1161" y="2313"/>
                      </a:lnTo>
                      <a:lnTo>
                        <a:pt x="1146" y="2315"/>
                      </a:lnTo>
                      <a:lnTo>
                        <a:pt x="1149" y="2301"/>
                      </a:lnTo>
                      <a:lnTo>
                        <a:pt x="1133" y="2301"/>
                      </a:lnTo>
                      <a:lnTo>
                        <a:pt x="1132" y="2319"/>
                      </a:lnTo>
                      <a:lnTo>
                        <a:pt x="1123" y="2346"/>
                      </a:lnTo>
                      <a:lnTo>
                        <a:pt x="1116" y="2361"/>
                      </a:lnTo>
                      <a:lnTo>
                        <a:pt x="1118" y="2373"/>
                      </a:lnTo>
                      <a:lnTo>
                        <a:pt x="1130" y="2373"/>
                      </a:lnTo>
                      <a:lnTo>
                        <a:pt x="1136" y="2390"/>
                      </a:lnTo>
                      <a:lnTo>
                        <a:pt x="1139" y="2404"/>
                      </a:lnTo>
                      <a:lnTo>
                        <a:pt x="1149" y="2415"/>
                      </a:lnTo>
                      <a:lnTo>
                        <a:pt x="1159" y="2416"/>
                      </a:lnTo>
                      <a:lnTo>
                        <a:pt x="1169" y="2426"/>
                      </a:lnTo>
                      <a:lnTo>
                        <a:pt x="1172" y="2427"/>
                      </a:lnTo>
                      <a:lnTo>
                        <a:pt x="1182" y="2438"/>
                      </a:lnTo>
                      <a:lnTo>
                        <a:pt x="1190" y="2449"/>
                      </a:lnTo>
                      <a:lnTo>
                        <a:pt x="1190" y="2461"/>
                      </a:lnTo>
                      <a:lnTo>
                        <a:pt x="1189" y="2469"/>
                      </a:lnTo>
                      <a:lnTo>
                        <a:pt x="1190" y="2475"/>
                      </a:lnTo>
                      <a:lnTo>
                        <a:pt x="1192" y="2484"/>
                      </a:lnTo>
                      <a:lnTo>
                        <a:pt x="1198" y="2489"/>
                      </a:lnTo>
                      <a:lnTo>
                        <a:pt x="1205" y="2504"/>
                      </a:lnTo>
                      <a:lnTo>
                        <a:pt x="1204" y="2510"/>
                      </a:lnTo>
                      <a:lnTo>
                        <a:pt x="1192" y="2512"/>
                      </a:lnTo>
                      <a:lnTo>
                        <a:pt x="1176" y="2499"/>
                      </a:lnTo>
                      <a:lnTo>
                        <a:pt x="1156" y="2485"/>
                      </a:lnTo>
                      <a:lnTo>
                        <a:pt x="1153" y="2476"/>
                      </a:lnTo>
                      <a:lnTo>
                        <a:pt x="1144" y="2465"/>
                      </a:lnTo>
                      <a:lnTo>
                        <a:pt x="1141" y="2450"/>
                      </a:lnTo>
                      <a:lnTo>
                        <a:pt x="1135" y="2441"/>
                      </a:lnTo>
                      <a:lnTo>
                        <a:pt x="1136" y="2429"/>
                      </a:lnTo>
                      <a:lnTo>
                        <a:pt x="1133" y="2421"/>
                      </a:lnTo>
                      <a:lnTo>
                        <a:pt x="1126" y="2415"/>
                      </a:lnTo>
                      <a:lnTo>
                        <a:pt x="1124" y="2406"/>
                      </a:lnTo>
                      <a:lnTo>
                        <a:pt x="1115" y="2396"/>
                      </a:lnTo>
                      <a:lnTo>
                        <a:pt x="1106" y="2389"/>
                      </a:lnTo>
                      <a:lnTo>
                        <a:pt x="1103" y="2398"/>
                      </a:lnTo>
                      <a:lnTo>
                        <a:pt x="1100" y="2389"/>
                      </a:lnTo>
                      <a:lnTo>
                        <a:pt x="1101" y="2378"/>
                      </a:lnTo>
                      <a:lnTo>
                        <a:pt x="1107" y="2361"/>
                      </a:lnTo>
                      <a:lnTo>
                        <a:pt x="1106" y="2349"/>
                      </a:lnTo>
                      <a:lnTo>
                        <a:pt x="1110" y="2335"/>
                      </a:lnTo>
                      <a:lnTo>
                        <a:pt x="1104" y="2324"/>
                      </a:lnTo>
                      <a:lnTo>
                        <a:pt x="1106" y="2306"/>
                      </a:lnTo>
                      <a:lnTo>
                        <a:pt x="1100" y="2296"/>
                      </a:lnTo>
                      <a:lnTo>
                        <a:pt x="1093" y="2275"/>
                      </a:lnTo>
                      <a:lnTo>
                        <a:pt x="1090" y="2253"/>
                      </a:lnTo>
                      <a:lnTo>
                        <a:pt x="1083" y="2238"/>
                      </a:lnTo>
                      <a:lnTo>
                        <a:pt x="1072" y="2247"/>
                      </a:lnTo>
                      <a:lnTo>
                        <a:pt x="1052" y="2259"/>
                      </a:lnTo>
                      <a:lnTo>
                        <a:pt x="1043" y="2258"/>
                      </a:lnTo>
                      <a:lnTo>
                        <a:pt x="1032" y="2253"/>
                      </a:lnTo>
                      <a:lnTo>
                        <a:pt x="1038" y="2232"/>
                      </a:lnTo>
                      <a:lnTo>
                        <a:pt x="1034" y="2215"/>
                      </a:lnTo>
                      <a:lnTo>
                        <a:pt x="1021" y="2195"/>
                      </a:lnTo>
                      <a:lnTo>
                        <a:pt x="1023" y="2187"/>
                      </a:lnTo>
                      <a:lnTo>
                        <a:pt x="1012" y="2186"/>
                      </a:lnTo>
                      <a:lnTo>
                        <a:pt x="1000" y="2170"/>
                      </a:lnTo>
                      <a:lnTo>
                        <a:pt x="995" y="2161"/>
                      </a:lnTo>
                      <a:lnTo>
                        <a:pt x="995" y="2152"/>
                      </a:lnTo>
                      <a:lnTo>
                        <a:pt x="991" y="2143"/>
                      </a:lnTo>
                      <a:lnTo>
                        <a:pt x="985" y="2132"/>
                      </a:lnTo>
                      <a:lnTo>
                        <a:pt x="968" y="2130"/>
                      </a:lnTo>
                      <a:lnTo>
                        <a:pt x="969" y="2138"/>
                      </a:lnTo>
                      <a:lnTo>
                        <a:pt x="965" y="2149"/>
                      </a:lnTo>
                      <a:lnTo>
                        <a:pt x="957" y="2146"/>
                      </a:lnTo>
                      <a:lnTo>
                        <a:pt x="954" y="2149"/>
                      </a:lnTo>
                      <a:lnTo>
                        <a:pt x="949" y="2146"/>
                      </a:lnTo>
                      <a:lnTo>
                        <a:pt x="943" y="2144"/>
                      </a:lnTo>
                      <a:lnTo>
                        <a:pt x="940" y="2152"/>
                      </a:lnTo>
                      <a:lnTo>
                        <a:pt x="929" y="2152"/>
                      </a:lnTo>
                      <a:lnTo>
                        <a:pt x="908" y="2155"/>
                      </a:lnTo>
                      <a:lnTo>
                        <a:pt x="909" y="2169"/>
                      </a:lnTo>
                      <a:lnTo>
                        <a:pt x="900" y="2180"/>
                      </a:lnTo>
                      <a:lnTo>
                        <a:pt x="874" y="2192"/>
                      </a:lnTo>
                      <a:lnTo>
                        <a:pt x="856" y="2213"/>
                      </a:lnTo>
                      <a:lnTo>
                        <a:pt x="842" y="2224"/>
                      </a:lnTo>
                      <a:lnTo>
                        <a:pt x="825" y="2236"/>
                      </a:lnTo>
                      <a:lnTo>
                        <a:pt x="825" y="2244"/>
                      </a:lnTo>
                      <a:lnTo>
                        <a:pt x="817" y="2249"/>
                      </a:lnTo>
                      <a:lnTo>
                        <a:pt x="802" y="2255"/>
                      </a:lnTo>
                      <a:lnTo>
                        <a:pt x="793" y="2256"/>
                      </a:lnTo>
                      <a:lnTo>
                        <a:pt x="788" y="2270"/>
                      </a:lnTo>
                      <a:lnTo>
                        <a:pt x="791" y="2293"/>
                      </a:lnTo>
                      <a:lnTo>
                        <a:pt x="793" y="2307"/>
                      </a:lnTo>
                      <a:lnTo>
                        <a:pt x="785" y="2324"/>
                      </a:lnTo>
                      <a:lnTo>
                        <a:pt x="785" y="2355"/>
                      </a:lnTo>
                      <a:lnTo>
                        <a:pt x="776" y="2355"/>
                      </a:lnTo>
                      <a:lnTo>
                        <a:pt x="768" y="2369"/>
                      </a:lnTo>
                      <a:lnTo>
                        <a:pt x="774" y="2373"/>
                      </a:lnTo>
                      <a:lnTo>
                        <a:pt x="758" y="2379"/>
                      </a:lnTo>
                      <a:lnTo>
                        <a:pt x="753" y="2390"/>
                      </a:lnTo>
                      <a:lnTo>
                        <a:pt x="745" y="2396"/>
                      </a:lnTo>
                      <a:lnTo>
                        <a:pt x="728" y="2379"/>
                      </a:lnTo>
                      <a:lnTo>
                        <a:pt x="721" y="2355"/>
                      </a:lnTo>
                      <a:lnTo>
                        <a:pt x="715" y="2338"/>
                      </a:lnTo>
                      <a:lnTo>
                        <a:pt x="708" y="2329"/>
                      </a:lnTo>
                      <a:lnTo>
                        <a:pt x="699" y="2312"/>
                      </a:lnTo>
                      <a:lnTo>
                        <a:pt x="695" y="2290"/>
                      </a:lnTo>
                      <a:lnTo>
                        <a:pt x="692" y="2279"/>
                      </a:lnTo>
                      <a:lnTo>
                        <a:pt x="676" y="2255"/>
                      </a:lnTo>
                      <a:lnTo>
                        <a:pt x="669" y="2220"/>
                      </a:lnTo>
                      <a:lnTo>
                        <a:pt x="664" y="2196"/>
                      </a:lnTo>
                      <a:lnTo>
                        <a:pt x="664" y="2175"/>
                      </a:lnTo>
                      <a:lnTo>
                        <a:pt x="661" y="2158"/>
                      </a:lnTo>
                      <a:lnTo>
                        <a:pt x="636" y="2169"/>
                      </a:lnTo>
                      <a:lnTo>
                        <a:pt x="624" y="2167"/>
                      </a:lnTo>
                      <a:lnTo>
                        <a:pt x="601" y="2144"/>
                      </a:lnTo>
                      <a:lnTo>
                        <a:pt x="609" y="2138"/>
                      </a:lnTo>
                      <a:lnTo>
                        <a:pt x="604" y="2130"/>
                      </a:lnTo>
                      <a:lnTo>
                        <a:pt x="584" y="2115"/>
                      </a:lnTo>
                      <a:lnTo>
                        <a:pt x="572" y="2110"/>
                      </a:lnTo>
                      <a:lnTo>
                        <a:pt x="566" y="2097"/>
                      </a:lnTo>
                      <a:lnTo>
                        <a:pt x="554" y="2081"/>
                      </a:lnTo>
                      <a:lnTo>
                        <a:pt x="521" y="2086"/>
                      </a:lnTo>
                      <a:lnTo>
                        <a:pt x="494" y="2086"/>
                      </a:lnTo>
                      <a:lnTo>
                        <a:pt x="469" y="2089"/>
                      </a:lnTo>
                      <a:lnTo>
                        <a:pt x="469" y="2089"/>
                      </a:lnTo>
                      <a:close/>
                      <a:moveTo>
                        <a:pt x="1899" y="1691"/>
                      </a:moveTo>
                      <a:lnTo>
                        <a:pt x="1886" y="1686"/>
                      </a:lnTo>
                      <a:lnTo>
                        <a:pt x="1873" y="1678"/>
                      </a:lnTo>
                      <a:lnTo>
                        <a:pt x="1853" y="1652"/>
                      </a:lnTo>
                      <a:lnTo>
                        <a:pt x="1848" y="1672"/>
                      </a:lnTo>
                      <a:lnTo>
                        <a:pt x="1843" y="1705"/>
                      </a:lnTo>
                      <a:lnTo>
                        <a:pt x="1825" y="1706"/>
                      </a:lnTo>
                      <a:lnTo>
                        <a:pt x="1816" y="1725"/>
                      </a:lnTo>
                      <a:lnTo>
                        <a:pt x="1819" y="1748"/>
                      </a:lnTo>
                      <a:lnTo>
                        <a:pt x="1837" y="1748"/>
                      </a:lnTo>
                      <a:lnTo>
                        <a:pt x="1847" y="1721"/>
                      </a:lnTo>
                      <a:lnTo>
                        <a:pt x="1874" y="1737"/>
                      </a:lnTo>
                      <a:lnTo>
                        <a:pt x="1890" y="1714"/>
                      </a:lnTo>
                      <a:lnTo>
                        <a:pt x="1914" y="1708"/>
                      </a:lnTo>
                      <a:lnTo>
                        <a:pt x="1911" y="1681"/>
                      </a:lnTo>
                      <a:lnTo>
                        <a:pt x="1899" y="1691"/>
                      </a:lnTo>
                      <a:close/>
                      <a:moveTo>
                        <a:pt x="1836" y="2578"/>
                      </a:moveTo>
                      <a:lnTo>
                        <a:pt x="1817" y="2573"/>
                      </a:lnTo>
                      <a:lnTo>
                        <a:pt x="1805" y="2567"/>
                      </a:lnTo>
                      <a:lnTo>
                        <a:pt x="1790" y="2562"/>
                      </a:lnTo>
                      <a:lnTo>
                        <a:pt x="1774" y="2562"/>
                      </a:lnTo>
                      <a:lnTo>
                        <a:pt x="1756" y="2572"/>
                      </a:lnTo>
                      <a:lnTo>
                        <a:pt x="1741" y="2590"/>
                      </a:lnTo>
                      <a:lnTo>
                        <a:pt x="1724" y="2579"/>
                      </a:lnTo>
                      <a:lnTo>
                        <a:pt x="1719" y="2552"/>
                      </a:lnTo>
                      <a:lnTo>
                        <a:pt x="1716" y="2545"/>
                      </a:lnTo>
                      <a:lnTo>
                        <a:pt x="1689" y="2539"/>
                      </a:lnTo>
                      <a:lnTo>
                        <a:pt x="1679" y="2544"/>
                      </a:lnTo>
                      <a:lnTo>
                        <a:pt x="1656" y="2548"/>
                      </a:lnTo>
                      <a:lnTo>
                        <a:pt x="1664" y="2556"/>
                      </a:lnTo>
                      <a:lnTo>
                        <a:pt x="1679" y="2561"/>
                      </a:lnTo>
                      <a:lnTo>
                        <a:pt x="1686" y="2570"/>
                      </a:lnTo>
                      <a:lnTo>
                        <a:pt x="1710" y="2570"/>
                      </a:lnTo>
                      <a:lnTo>
                        <a:pt x="1712" y="2575"/>
                      </a:lnTo>
                      <a:lnTo>
                        <a:pt x="1699" y="2575"/>
                      </a:lnTo>
                      <a:lnTo>
                        <a:pt x="1681" y="2581"/>
                      </a:lnTo>
                      <a:lnTo>
                        <a:pt x="1695" y="2588"/>
                      </a:lnTo>
                      <a:lnTo>
                        <a:pt x="1695" y="2596"/>
                      </a:lnTo>
                      <a:lnTo>
                        <a:pt x="1699" y="2602"/>
                      </a:lnTo>
                      <a:lnTo>
                        <a:pt x="1705" y="2601"/>
                      </a:lnTo>
                      <a:lnTo>
                        <a:pt x="1710" y="2593"/>
                      </a:lnTo>
                      <a:lnTo>
                        <a:pt x="1736" y="2608"/>
                      </a:lnTo>
                      <a:lnTo>
                        <a:pt x="1750" y="2610"/>
                      </a:lnTo>
                      <a:lnTo>
                        <a:pt x="1784" y="2625"/>
                      </a:lnTo>
                      <a:lnTo>
                        <a:pt x="1791" y="2639"/>
                      </a:lnTo>
                      <a:lnTo>
                        <a:pt x="1796" y="2658"/>
                      </a:lnTo>
                      <a:lnTo>
                        <a:pt x="1785" y="2662"/>
                      </a:lnTo>
                      <a:lnTo>
                        <a:pt x="1778" y="2678"/>
                      </a:lnTo>
                      <a:lnTo>
                        <a:pt x="1801" y="2676"/>
                      </a:lnTo>
                      <a:lnTo>
                        <a:pt x="1804" y="2671"/>
                      </a:lnTo>
                      <a:lnTo>
                        <a:pt x="1822" y="2675"/>
                      </a:lnTo>
                      <a:lnTo>
                        <a:pt x="1837" y="2688"/>
                      </a:lnTo>
                      <a:lnTo>
                        <a:pt x="1837" y="2633"/>
                      </a:lnTo>
                      <a:lnTo>
                        <a:pt x="1836" y="2578"/>
                      </a:lnTo>
                      <a:close/>
                      <a:moveTo>
                        <a:pt x="1474" y="2266"/>
                      </a:moveTo>
                      <a:lnTo>
                        <a:pt x="1477" y="2273"/>
                      </a:lnTo>
                      <a:lnTo>
                        <a:pt x="1485" y="2283"/>
                      </a:lnTo>
                      <a:lnTo>
                        <a:pt x="1488" y="2276"/>
                      </a:lnTo>
                      <a:lnTo>
                        <a:pt x="1492" y="2281"/>
                      </a:lnTo>
                      <a:lnTo>
                        <a:pt x="1486" y="2286"/>
                      </a:lnTo>
                      <a:lnTo>
                        <a:pt x="1486" y="2293"/>
                      </a:lnTo>
                      <a:lnTo>
                        <a:pt x="1494" y="2296"/>
                      </a:lnTo>
                      <a:lnTo>
                        <a:pt x="1511" y="2293"/>
                      </a:lnTo>
                      <a:lnTo>
                        <a:pt x="1521" y="2304"/>
                      </a:lnTo>
                      <a:lnTo>
                        <a:pt x="1526" y="2298"/>
                      </a:lnTo>
                      <a:lnTo>
                        <a:pt x="1532" y="2307"/>
                      </a:lnTo>
                      <a:lnTo>
                        <a:pt x="1546" y="2316"/>
                      </a:lnTo>
                      <a:lnTo>
                        <a:pt x="1547" y="2307"/>
                      </a:lnTo>
                      <a:lnTo>
                        <a:pt x="1541" y="2304"/>
                      </a:lnTo>
                      <a:lnTo>
                        <a:pt x="1543" y="2293"/>
                      </a:lnTo>
                      <a:lnTo>
                        <a:pt x="1521" y="2284"/>
                      </a:lnTo>
                      <a:lnTo>
                        <a:pt x="1514" y="2286"/>
                      </a:lnTo>
                      <a:lnTo>
                        <a:pt x="1505" y="2284"/>
                      </a:lnTo>
                      <a:lnTo>
                        <a:pt x="1501" y="2270"/>
                      </a:lnTo>
                      <a:lnTo>
                        <a:pt x="1503" y="2256"/>
                      </a:lnTo>
                      <a:lnTo>
                        <a:pt x="1514" y="2250"/>
                      </a:lnTo>
                      <a:lnTo>
                        <a:pt x="1518" y="2235"/>
                      </a:lnTo>
                      <a:lnTo>
                        <a:pt x="1512" y="2223"/>
                      </a:lnTo>
                      <a:lnTo>
                        <a:pt x="1515" y="2215"/>
                      </a:lnTo>
                      <a:lnTo>
                        <a:pt x="1514" y="2210"/>
                      </a:lnTo>
                      <a:lnTo>
                        <a:pt x="1509" y="2215"/>
                      </a:lnTo>
                      <a:lnTo>
                        <a:pt x="1498" y="2210"/>
                      </a:lnTo>
                      <a:lnTo>
                        <a:pt x="1488" y="2210"/>
                      </a:lnTo>
                      <a:lnTo>
                        <a:pt x="1482" y="2226"/>
                      </a:lnTo>
                      <a:lnTo>
                        <a:pt x="1480" y="2253"/>
                      </a:lnTo>
                      <a:lnTo>
                        <a:pt x="1474" y="2249"/>
                      </a:lnTo>
                      <a:lnTo>
                        <a:pt x="1474" y="2266"/>
                      </a:lnTo>
                      <a:close/>
                      <a:moveTo>
                        <a:pt x="1704" y="1927"/>
                      </a:moveTo>
                      <a:lnTo>
                        <a:pt x="1713" y="1921"/>
                      </a:lnTo>
                      <a:lnTo>
                        <a:pt x="1719" y="1929"/>
                      </a:lnTo>
                      <a:lnTo>
                        <a:pt x="1728" y="1917"/>
                      </a:lnTo>
                      <a:lnTo>
                        <a:pt x="1727" y="1909"/>
                      </a:lnTo>
                      <a:lnTo>
                        <a:pt x="1715" y="1904"/>
                      </a:lnTo>
                      <a:lnTo>
                        <a:pt x="1707" y="1914"/>
                      </a:lnTo>
                      <a:lnTo>
                        <a:pt x="1698" y="1911"/>
                      </a:lnTo>
                      <a:lnTo>
                        <a:pt x="1689" y="1923"/>
                      </a:lnTo>
                      <a:lnTo>
                        <a:pt x="1689" y="1934"/>
                      </a:lnTo>
                      <a:lnTo>
                        <a:pt x="1699" y="1938"/>
                      </a:lnTo>
                      <a:lnTo>
                        <a:pt x="1704" y="1927"/>
                      </a:lnTo>
                      <a:close/>
                      <a:moveTo>
                        <a:pt x="1721" y="2631"/>
                      </a:moveTo>
                      <a:lnTo>
                        <a:pt x="1718" y="2638"/>
                      </a:lnTo>
                      <a:lnTo>
                        <a:pt x="1719" y="2651"/>
                      </a:lnTo>
                      <a:lnTo>
                        <a:pt x="1728" y="2639"/>
                      </a:lnTo>
                      <a:lnTo>
                        <a:pt x="1728" y="2631"/>
                      </a:lnTo>
                      <a:lnTo>
                        <a:pt x="1724" y="2625"/>
                      </a:lnTo>
                      <a:lnTo>
                        <a:pt x="1721" y="2631"/>
                      </a:lnTo>
                      <a:close/>
                      <a:moveTo>
                        <a:pt x="1218" y="287"/>
                      </a:moveTo>
                      <a:lnTo>
                        <a:pt x="1224" y="252"/>
                      </a:lnTo>
                      <a:lnTo>
                        <a:pt x="1179" y="201"/>
                      </a:lnTo>
                      <a:lnTo>
                        <a:pt x="1167" y="195"/>
                      </a:lnTo>
                      <a:lnTo>
                        <a:pt x="1153" y="206"/>
                      </a:lnTo>
                      <a:lnTo>
                        <a:pt x="1121" y="319"/>
                      </a:lnTo>
                      <a:lnTo>
                        <a:pt x="1218" y="287"/>
                      </a:lnTo>
                      <a:close/>
                      <a:moveTo>
                        <a:pt x="1017" y="187"/>
                      </a:moveTo>
                      <a:lnTo>
                        <a:pt x="1044" y="223"/>
                      </a:lnTo>
                      <a:lnTo>
                        <a:pt x="1092" y="249"/>
                      </a:lnTo>
                      <a:lnTo>
                        <a:pt x="1130" y="238"/>
                      </a:lnTo>
                      <a:lnTo>
                        <a:pt x="1135" y="153"/>
                      </a:lnTo>
                      <a:lnTo>
                        <a:pt x="1095" y="55"/>
                      </a:lnTo>
                      <a:lnTo>
                        <a:pt x="1061" y="0"/>
                      </a:lnTo>
                      <a:lnTo>
                        <a:pt x="1024" y="26"/>
                      </a:lnTo>
                      <a:lnTo>
                        <a:pt x="980" y="98"/>
                      </a:lnTo>
                      <a:lnTo>
                        <a:pt x="1003" y="118"/>
                      </a:lnTo>
                      <a:lnTo>
                        <a:pt x="1017" y="187"/>
                      </a:lnTo>
                      <a:close/>
                      <a:moveTo>
                        <a:pt x="802" y="2373"/>
                      </a:moveTo>
                      <a:lnTo>
                        <a:pt x="790" y="2364"/>
                      </a:lnTo>
                      <a:lnTo>
                        <a:pt x="782" y="2392"/>
                      </a:lnTo>
                      <a:lnTo>
                        <a:pt x="785" y="2416"/>
                      </a:lnTo>
                      <a:lnTo>
                        <a:pt x="793" y="2430"/>
                      </a:lnTo>
                      <a:lnTo>
                        <a:pt x="808" y="2426"/>
                      </a:lnTo>
                      <a:lnTo>
                        <a:pt x="816" y="2421"/>
                      </a:lnTo>
                      <a:lnTo>
                        <a:pt x="817" y="2404"/>
                      </a:lnTo>
                      <a:lnTo>
                        <a:pt x="810" y="2386"/>
                      </a:lnTo>
                      <a:lnTo>
                        <a:pt x="802" y="2373"/>
                      </a:lnTo>
                      <a:close/>
                      <a:moveTo>
                        <a:pt x="1833" y="615"/>
                      </a:moveTo>
                      <a:lnTo>
                        <a:pt x="1817" y="639"/>
                      </a:lnTo>
                      <a:lnTo>
                        <a:pt x="1820" y="642"/>
                      </a:lnTo>
                      <a:lnTo>
                        <a:pt x="1856" y="648"/>
                      </a:lnTo>
                      <a:lnTo>
                        <a:pt x="1882" y="648"/>
                      </a:lnTo>
                      <a:lnTo>
                        <a:pt x="1879" y="633"/>
                      </a:lnTo>
                      <a:lnTo>
                        <a:pt x="1854" y="610"/>
                      </a:lnTo>
                      <a:lnTo>
                        <a:pt x="1833" y="615"/>
                      </a:lnTo>
                      <a:close/>
                      <a:moveTo>
                        <a:pt x="1830" y="545"/>
                      </a:moveTo>
                      <a:lnTo>
                        <a:pt x="1893" y="549"/>
                      </a:lnTo>
                      <a:lnTo>
                        <a:pt x="1906" y="498"/>
                      </a:lnTo>
                      <a:lnTo>
                        <a:pt x="1845" y="461"/>
                      </a:lnTo>
                      <a:lnTo>
                        <a:pt x="1799" y="458"/>
                      </a:lnTo>
                      <a:lnTo>
                        <a:pt x="1776" y="470"/>
                      </a:lnTo>
                      <a:lnTo>
                        <a:pt x="1767" y="518"/>
                      </a:lnTo>
                      <a:lnTo>
                        <a:pt x="1801" y="561"/>
                      </a:lnTo>
                      <a:lnTo>
                        <a:pt x="1830" y="545"/>
                      </a:lnTo>
                      <a:close/>
                      <a:moveTo>
                        <a:pt x="2508" y="782"/>
                      </a:moveTo>
                      <a:lnTo>
                        <a:pt x="2529" y="779"/>
                      </a:lnTo>
                      <a:lnTo>
                        <a:pt x="2548" y="765"/>
                      </a:lnTo>
                      <a:lnTo>
                        <a:pt x="2549" y="759"/>
                      </a:lnTo>
                      <a:lnTo>
                        <a:pt x="2525" y="742"/>
                      </a:lnTo>
                      <a:lnTo>
                        <a:pt x="2509" y="742"/>
                      </a:lnTo>
                      <a:lnTo>
                        <a:pt x="2508" y="745"/>
                      </a:lnTo>
                      <a:lnTo>
                        <a:pt x="2485" y="767"/>
                      </a:lnTo>
                      <a:lnTo>
                        <a:pt x="2488" y="784"/>
                      </a:lnTo>
                      <a:lnTo>
                        <a:pt x="2508" y="782"/>
                      </a:lnTo>
                      <a:close/>
                      <a:moveTo>
                        <a:pt x="1985" y="556"/>
                      </a:moveTo>
                      <a:lnTo>
                        <a:pt x="2005" y="530"/>
                      </a:lnTo>
                      <a:lnTo>
                        <a:pt x="1960" y="513"/>
                      </a:lnTo>
                      <a:lnTo>
                        <a:pt x="1928" y="502"/>
                      </a:lnTo>
                      <a:lnTo>
                        <a:pt x="1925" y="524"/>
                      </a:lnTo>
                      <a:lnTo>
                        <a:pt x="1957" y="550"/>
                      </a:lnTo>
                      <a:lnTo>
                        <a:pt x="1985" y="556"/>
                      </a:lnTo>
                      <a:close/>
                      <a:moveTo>
                        <a:pt x="1231" y="2607"/>
                      </a:moveTo>
                      <a:lnTo>
                        <a:pt x="1236" y="2585"/>
                      </a:lnTo>
                      <a:lnTo>
                        <a:pt x="1228" y="2575"/>
                      </a:lnTo>
                      <a:lnTo>
                        <a:pt x="1215" y="2573"/>
                      </a:lnTo>
                      <a:lnTo>
                        <a:pt x="1208" y="2562"/>
                      </a:lnTo>
                      <a:lnTo>
                        <a:pt x="1207" y="2552"/>
                      </a:lnTo>
                      <a:lnTo>
                        <a:pt x="1199" y="2550"/>
                      </a:lnTo>
                      <a:lnTo>
                        <a:pt x="1190" y="2544"/>
                      </a:lnTo>
                      <a:lnTo>
                        <a:pt x="1198" y="2530"/>
                      </a:lnTo>
                      <a:lnTo>
                        <a:pt x="1184" y="2522"/>
                      </a:lnTo>
                      <a:lnTo>
                        <a:pt x="1175" y="2509"/>
                      </a:lnTo>
                      <a:lnTo>
                        <a:pt x="1159" y="2496"/>
                      </a:lnTo>
                      <a:lnTo>
                        <a:pt x="1143" y="2496"/>
                      </a:lnTo>
                      <a:lnTo>
                        <a:pt x="1126" y="2478"/>
                      </a:lnTo>
                      <a:lnTo>
                        <a:pt x="1116" y="2472"/>
                      </a:lnTo>
                      <a:lnTo>
                        <a:pt x="1103" y="2459"/>
                      </a:lnTo>
                      <a:lnTo>
                        <a:pt x="1087" y="2442"/>
                      </a:lnTo>
                      <a:lnTo>
                        <a:pt x="1061" y="2439"/>
                      </a:lnTo>
                      <a:lnTo>
                        <a:pt x="1050" y="2438"/>
                      </a:lnTo>
                      <a:lnTo>
                        <a:pt x="1052" y="2447"/>
                      </a:lnTo>
                      <a:lnTo>
                        <a:pt x="1069" y="2465"/>
                      </a:lnTo>
                      <a:lnTo>
                        <a:pt x="1083" y="2476"/>
                      </a:lnTo>
                      <a:lnTo>
                        <a:pt x="1092" y="2490"/>
                      </a:lnTo>
                      <a:lnTo>
                        <a:pt x="1107" y="2501"/>
                      </a:lnTo>
                      <a:lnTo>
                        <a:pt x="1113" y="2515"/>
                      </a:lnTo>
                      <a:lnTo>
                        <a:pt x="1118" y="2530"/>
                      </a:lnTo>
                      <a:lnTo>
                        <a:pt x="1133" y="2544"/>
                      </a:lnTo>
                      <a:lnTo>
                        <a:pt x="1147" y="2567"/>
                      </a:lnTo>
                      <a:lnTo>
                        <a:pt x="1155" y="2581"/>
                      </a:lnTo>
                      <a:lnTo>
                        <a:pt x="1169" y="2595"/>
                      </a:lnTo>
                      <a:lnTo>
                        <a:pt x="1175" y="2605"/>
                      </a:lnTo>
                      <a:lnTo>
                        <a:pt x="1198" y="2619"/>
                      </a:lnTo>
                      <a:lnTo>
                        <a:pt x="1212" y="2633"/>
                      </a:lnTo>
                      <a:lnTo>
                        <a:pt x="1231" y="2633"/>
                      </a:lnTo>
                      <a:lnTo>
                        <a:pt x="1231" y="2607"/>
                      </a:lnTo>
                      <a:close/>
                      <a:moveTo>
                        <a:pt x="1455" y="2675"/>
                      </a:moveTo>
                      <a:lnTo>
                        <a:pt x="1445" y="2676"/>
                      </a:lnTo>
                      <a:lnTo>
                        <a:pt x="1439" y="2671"/>
                      </a:lnTo>
                      <a:lnTo>
                        <a:pt x="1434" y="2678"/>
                      </a:lnTo>
                      <a:lnTo>
                        <a:pt x="1425" y="2678"/>
                      </a:lnTo>
                      <a:lnTo>
                        <a:pt x="1419" y="2688"/>
                      </a:lnTo>
                      <a:lnTo>
                        <a:pt x="1428" y="2688"/>
                      </a:lnTo>
                      <a:lnTo>
                        <a:pt x="1440" y="2685"/>
                      </a:lnTo>
                      <a:lnTo>
                        <a:pt x="1460" y="2682"/>
                      </a:lnTo>
                      <a:lnTo>
                        <a:pt x="1455" y="2675"/>
                      </a:lnTo>
                      <a:close/>
                      <a:moveTo>
                        <a:pt x="1474" y="2693"/>
                      </a:moveTo>
                      <a:lnTo>
                        <a:pt x="1457" y="2698"/>
                      </a:lnTo>
                      <a:lnTo>
                        <a:pt x="1480" y="2708"/>
                      </a:lnTo>
                      <a:lnTo>
                        <a:pt x="1488" y="2708"/>
                      </a:lnTo>
                      <a:lnTo>
                        <a:pt x="1489" y="2704"/>
                      </a:lnTo>
                      <a:lnTo>
                        <a:pt x="1483" y="2699"/>
                      </a:lnTo>
                      <a:lnTo>
                        <a:pt x="1474" y="2693"/>
                      </a:lnTo>
                      <a:close/>
                      <a:moveTo>
                        <a:pt x="1459" y="2361"/>
                      </a:moveTo>
                      <a:lnTo>
                        <a:pt x="1469" y="2350"/>
                      </a:lnTo>
                      <a:lnTo>
                        <a:pt x="1466" y="2336"/>
                      </a:lnTo>
                      <a:lnTo>
                        <a:pt x="1457" y="2353"/>
                      </a:lnTo>
                      <a:lnTo>
                        <a:pt x="1448" y="2366"/>
                      </a:lnTo>
                      <a:lnTo>
                        <a:pt x="1435" y="2376"/>
                      </a:lnTo>
                      <a:lnTo>
                        <a:pt x="1426" y="2389"/>
                      </a:lnTo>
                      <a:lnTo>
                        <a:pt x="1449" y="2372"/>
                      </a:lnTo>
                      <a:lnTo>
                        <a:pt x="1459" y="2361"/>
                      </a:lnTo>
                      <a:close/>
                      <a:moveTo>
                        <a:pt x="1491" y="2556"/>
                      </a:moveTo>
                      <a:lnTo>
                        <a:pt x="1475" y="2541"/>
                      </a:lnTo>
                      <a:lnTo>
                        <a:pt x="1478" y="2529"/>
                      </a:lnTo>
                      <a:lnTo>
                        <a:pt x="1494" y="2525"/>
                      </a:lnTo>
                      <a:lnTo>
                        <a:pt x="1521" y="2525"/>
                      </a:lnTo>
                      <a:lnTo>
                        <a:pt x="1538" y="2529"/>
                      </a:lnTo>
                      <a:lnTo>
                        <a:pt x="1552" y="2525"/>
                      </a:lnTo>
                      <a:lnTo>
                        <a:pt x="1566" y="2509"/>
                      </a:lnTo>
                      <a:lnTo>
                        <a:pt x="1563" y="2504"/>
                      </a:lnTo>
                      <a:lnTo>
                        <a:pt x="1546" y="2516"/>
                      </a:lnTo>
                      <a:lnTo>
                        <a:pt x="1526" y="2518"/>
                      </a:lnTo>
                      <a:lnTo>
                        <a:pt x="1505" y="2515"/>
                      </a:lnTo>
                      <a:lnTo>
                        <a:pt x="1491" y="2510"/>
                      </a:lnTo>
                      <a:lnTo>
                        <a:pt x="1475" y="2522"/>
                      </a:lnTo>
                      <a:lnTo>
                        <a:pt x="1472" y="2530"/>
                      </a:lnTo>
                      <a:lnTo>
                        <a:pt x="1463" y="2556"/>
                      </a:lnTo>
                      <a:lnTo>
                        <a:pt x="1462" y="2568"/>
                      </a:lnTo>
                      <a:lnTo>
                        <a:pt x="1454" y="2581"/>
                      </a:lnTo>
                      <a:lnTo>
                        <a:pt x="1460" y="2592"/>
                      </a:lnTo>
                      <a:lnTo>
                        <a:pt x="1466" y="2592"/>
                      </a:lnTo>
                      <a:lnTo>
                        <a:pt x="1469" y="2608"/>
                      </a:lnTo>
                      <a:lnTo>
                        <a:pt x="1465" y="2625"/>
                      </a:lnTo>
                      <a:lnTo>
                        <a:pt x="1472" y="2630"/>
                      </a:lnTo>
                      <a:lnTo>
                        <a:pt x="1483" y="2627"/>
                      </a:lnTo>
                      <a:lnTo>
                        <a:pt x="1482" y="2602"/>
                      </a:lnTo>
                      <a:lnTo>
                        <a:pt x="1480" y="2582"/>
                      </a:lnTo>
                      <a:lnTo>
                        <a:pt x="1492" y="2578"/>
                      </a:lnTo>
                      <a:lnTo>
                        <a:pt x="1491" y="2595"/>
                      </a:lnTo>
                      <a:lnTo>
                        <a:pt x="1503" y="2604"/>
                      </a:lnTo>
                      <a:lnTo>
                        <a:pt x="1501" y="2612"/>
                      </a:lnTo>
                      <a:lnTo>
                        <a:pt x="1505" y="2616"/>
                      </a:lnTo>
                      <a:lnTo>
                        <a:pt x="1521" y="2608"/>
                      </a:lnTo>
                      <a:lnTo>
                        <a:pt x="1514" y="2622"/>
                      </a:lnTo>
                      <a:lnTo>
                        <a:pt x="1520" y="2628"/>
                      </a:lnTo>
                      <a:lnTo>
                        <a:pt x="1529" y="2624"/>
                      </a:lnTo>
                      <a:lnTo>
                        <a:pt x="1529" y="2613"/>
                      </a:lnTo>
                      <a:lnTo>
                        <a:pt x="1514" y="2593"/>
                      </a:lnTo>
                      <a:lnTo>
                        <a:pt x="1517" y="2587"/>
                      </a:lnTo>
                      <a:lnTo>
                        <a:pt x="1501" y="2565"/>
                      </a:lnTo>
                      <a:lnTo>
                        <a:pt x="1517" y="2558"/>
                      </a:lnTo>
                      <a:lnTo>
                        <a:pt x="1524" y="2548"/>
                      </a:lnTo>
                      <a:lnTo>
                        <a:pt x="1531" y="2550"/>
                      </a:lnTo>
                      <a:lnTo>
                        <a:pt x="1532" y="2542"/>
                      </a:lnTo>
                      <a:lnTo>
                        <a:pt x="1500" y="2548"/>
                      </a:lnTo>
                      <a:lnTo>
                        <a:pt x="1491" y="2556"/>
                      </a:lnTo>
                      <a:close/>
                      <a:moveTo>
                        <a:pt x="1498" y="2679"/>
                      </a:moveTo>
                      <a:lnTo>
                        <a:pt x="1488" y="2675"/>
                      </a:lnTo>
                      <a:lnTo>
                        <a:pt x="1474" y="2678"/>
                      </a:lnTo>
                      <a:lnTo>
                        <a:pt x="1474" y="2684"/>
                      </a:lnTo>
                      <a:lnTo>
                        <a:pt x="1497" y="2687"/>
                      </a:lnTo>
                      <a:lnTo>
                        <a:pt x="1523" y="2681"/>
                      </a:lnTo>
                      <a:lnTo>
                        <a:pt x="1524" y="2671"/>
                      </a:lnTo>
                      <a:lnTo>
                        <a:pt x="1509" y="2678"/>
                      </a:lnTo>
                      <a:lnTo>
                        <a:pt x="1498" y="2679"/>
                      </a:lnTo>
                      <a:close/>
                      <a:moveTo>
                        <a:pt x="1432" y="2530"/>
                      </a:moveTo>
                      <a:lnTo>
                        <a:pt x="1437" y="2519"/>
                      </a:lnTo>
                      <a:lnTo>
                        <a:pt x="1459" y="2516"/>
                      </a:lnTo>
                      <a:lnTo>
                        <a:pt x="1439" y="2501"/>
                      </a:lnTo>
                      <a:lnTo>
                        <a:pt x="1442" y="2493"/>
                      </a:lnTo>
                      <a:lnTo>
                        <a:pt x="1429" y="2476"/>
                      </a:lnTo>
                      <a:lnTo>
                        <a:pt x="1439" y="2461"/>
                      </a:lnTo>
                      <a:lnTo>
                        <a:pt x="1451" y="2456"/>
                      </a:lnTo>
                      <a:lnTo>
                        <a:pt x="1448" y="2447"/>
                      </a:lnTo>
                      <a:lnTo>
                        <a:pt x="1460" y="2447"/>
                      </a:lnTo>
                      <a:lnTo>
                        <a:pt x="1462" y="2439"/>
                      </a:lnTo>
                      <a:lnTo>
                        <a:pt x="1446" y="2435"/>
                      </a:lnTo>
                      <a:lnTo>
                        <a:pt x="1435" y="2430"/>
                      </a:lnTo>
                      <a:lnTo>
                        <a:pt x="1434" y="2422"/>
                      </a:lnTo>
                      <a:lnTo>
                        <a:pt x="1426" y="2413"/>
                      </a:lnTo>
                      <a:lnTo>
                        <a:pt x="1419" y="2413"/>
                      </a:lnTo>
                      <a:lnTo>
                        <a:pt x="1409" y="2427"/>
                      </a:lnTo>
                      <a:lnTo>
                        <a:pt x="1397" y="2439"/>
                      </a:lnTo>
                      <a:lnTo>
                        <a:pt x="1382" y="2449"/>
                      </a:lnTo>
                      <a:lnTo>
                        <a:pt x="1376" y="2455"/>
                      </a:lnTo>
                      <a:lnTo>
                        <a:pt x="1366" y="2465"/>
                      </a:lnTo>
                      <a:lnTo>
                        <a:pt x="1354" y="2479"/>
                      </a:lnTo>
                      <a:lnTo>
                        <a:pt x="1334" y="2482"/>
                      </a:lnTo>
                      <a:lnTo>
                        <a:pt x="1327" y="2487"/>
                      </a:lnTo>
                      <a:lnTo>
                        <a:pt x="1324" y="2501"/>
                      </a:lnTo>
                      <a:lnTo>
                        <a:pt x="1310" y="2504"/>
                      </a:lnTo>
                      <a:lnTo>
                        <a:pt x="1297" y="2498"/>
                      </a:lnTo>
                      <a:lnTo>
                        <a:pt x="1287" y="2510"/>
                      </a:lnTo>
                      <a:lnTo>
                        <a:pt x="1285" y="2525"/>
                      </a:lnTo>
                      <a:lnTo>
                        <a:pt x="1287" y="2541"/>
                      </a:lnTo>
                      <a:lnTo>
                        <a:pt x="1296" y="2555"/>
                      </a:lnTo>
                      <a:lnTo>
                        <a:pt x="1304" y="2559"/>
                      </a:lnTo>
                      <a:lnTo>
                        <a:pt x="1307" y="2582"/>
                      </a:lnTo>
                      <a:lnTo>
                        <a:pt x="1320" y="2585"/>
                      </a:lnTo>
                      <a:lnTo>
                        <a:pt x="1333" y="2584"/>
                      </a:lnTo>
                      <a:lnTo>
                        <a:pt x="1339" y="2592"/>
                      </a:lnTo>
                      <a:lnTo>
                        <a:pt x="1359" y="2585"/>
                      </a:lnTo>
                      <a:lnTo>
                        <a:pt x="1368" y="2592"/>
                      </a:lnTo>
                      <a:lnTo>
                        <a:pt x="1380" y="2593"/>
                      </a:lnTo>
                      <a:lnTo>
                        <a:pt x="1386" y="2602"/>
                      </a:lnTo>
                      <a:lnTo>
                        <a:pt x="1406" y="2595"/>
                      </a:lnTo>
                      <a:lnTo>
                        <a:pt x="1409" y="2601"/>
                      </a:lnTo>
                      <a:lnTo>
                        <a:pt x="1416" y="2575"/>
                      </a:lnTo>
                      <a:lnTo>
                        <a:pt x="1416" y="2558"/>
                      </a:lnTo>
                      <a:lnTo>
                        <a:pt x="1432" y="2545"/>
                      </a:lnTo>
                      <a:lnTo>
                        <a:pt x="1432" y="2530"/>
                      </a:lnTo>
                      <a:close/>
                      <a:moveTo>
                        <a:pt x="1313" y="2196"/>
                      </a:moveTo>
                      <a:lnTo>
                        <a:pt x="1320" y="2189"/>
                      </a:lnTo>
                      <a:lnTo>
                        <a:pt x="1317" y="2181"/>
                      </a:lnTo>
                      <a:lnTo>
                        <a:pt x="1307" y="2181"/>
                      </a:lnTo>
                      <a:lnTo>
                        <a:pt x="1288" y="2186"/>
                      </a:lnTo>
                      <a:lnTo>
                        <a:pt x="1279" y="2193"/>
                      </a:lnTo>
                      <a:lnTo>
                        <a:pt x="1281" y="2210"/>
                      </a:lnTo>
                      <a:lnTo>
                        <a:pt x="1294" y="2215"/>
                      </a:lnTo>
                      <a:lnTo>
                        <a:pt x="1310" y="2207"/>
                      </a:lnTo>
                      <a:lnTo>
                        <a:pt x="1313" y="2196"/>
                      </a:lnTo>
                      <a:close/>
                      <a:moveTo>
                        <a:pt x="1354" y="2662"/>
                      </a:moveTo>
                      <a:lnTo>
                        <a:pt x="1348" y="2651"/>
                      </a:lnTo>
                      <a:lnTo>
                        <a:pt x="1316" y="2644"/>
                      </a:lnTo>
                      <a:lnTo>
                        <a:pt x="1313" y="2650"/>
                      </a:lnTo>
                      <a:lnTo>
                        <a:pt x="1279" y="2648"/>
                      </a:lnTo>
                      <a:lnTo>
                        <a:pt x="1278" y="2642"/>
                      </a:lnTo>
                      <a:lnTo>
                        <a:pt x="1270" y="2641"/>
                      </a:lnTo>
                      <a:lnTo>
                        <a:pt x="1256" y="2635"/>
                      </a:lnTo>
                      <a:lnTo>
                        <a:pt x="1235" y="2633"/>
                      </a:lnTo>
                      <a:lnTo>
                        <a:pt x="1224" y="2650"/>
                      </a:lnTo>
                      <a:lnTo>
                        <a:pt x="1239" y="2651"/>
                      </a:lnTo>
                      <a:lnTo>
                        <a:pt x="1242" y="2659"/>
                      </a:lnTo>
                      <a:lnTo>
                        <a:pt x="1273" y="2665"/>
                      </a:lnTo>
                      <a:lnTo>
                        <a:pt x="1281" y="2664"/>
                      </a:lnTo>
                      <a:lnTo>
                        <a:pt x="1293" y="2665"/>
                      </a:lnTo>
                      <a:lnTo>
                        <a:pt x="1313" y="2671"/>
                      </a:lnTo>
                      <a:lnTo>
                        <a:pt x="1330" y="2675"/>
                      </a:lnTo>
                      <a:lnTo>
                        <a:pt x="1348" y="2676"/>
                      </a:lnTo>
                      <a:lnTo>
                        <a:pt x="1363" y="2676"/>
                      </a:lnTo>
                      <a:lnTo>
                        <a:pt x="1382" y="2682"/>
                      </a:lnTo>
                      <a:lnTo>
                        <a:pt x="1402" y="2676"/>
                      </a:lnTo>
                      <a:lnTo>
                        <a:pt x="1380" y="2667"/>
                      </a:lnTo>
                      <a:lnTo>
                        <a:pt x="1354" y="2662"/>
                      </a:lnTo>
                      <a:close/>
                    </a:path>
                  </a:pathLst>
                </a:custGeom>
                <a:solidFill>
                  <a:srgbClr val="D9D9D9"/>
                </a:solidFill>
                <a:ln w="4763"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1000"/>
                </a:p>
              </p:txBody>
            </p:sp>
            <p:sp>
              <p:nvSpPr>
                <p:cNvPr id="43" name="Europe" descr="{&quot;Key&quot;:&quot;europe&quot;,&quot;Name&quot;:&quot;Europe&quot;,&quot;Value&quot;:1.0,&quot;Formula&quot;:&quot;&quot;,&quot;Text&quot;:&quot;1&quot;,&quot;HasValue&quot;:true}">
                  <a:extLst>
                    <a:ext uri="{FF2B5EF4-FFF2-40B4-BE49-F238E27FC236}">
                      <a16:creationId xmlns:a16="http://schemas.microsoft.com/office/drawing/2014/main" id="{8A5E5C2A-6CDD-14E7-4E32-0F59AF8D2179}"/>
                    </a:ext>
                  </a:extLst>
                </p:cNvPr>
                <p:cNvSpPr>
                  <a:spLocks noEditPoints="1"/>
                </p:cNvSpPr>
                <p:nvPr/>
              </p:nvSpPr>
              <p:spPr bwMode="auto">
                <a:xfrm>
                  <a:off x="4188" y="354"/>
                  <a:ext cx="1603" cy="1863"/>
                </a:xfrm>
                <a:custGeom>
                  <a:avLst/>
                  <a:gdLst>
                    <a:gd name="T0" fmla="*/ 815 w 1603"/>
                    <a:gd name="T1" fmla="*/ 153 h 1863"/>
                    <a:gd name="T2" fmla="*/ 672 w 1603"/>
                    <a:gd name="T3" fmla="*/ 298 h 1863"/>
                    <a:gd name="T4" fmla="*/ 680 w 1603"/>
                    <a:gd name="T5" fmla="*/ 127 h 1863"/>
                    <a:gd name="T6" fmla="*/ 38 w 1603"/>
                    <a:gd name="T7" fmla="*/ 954 h 1863"/>
                    <a:gd name="T8" fmla="*/ 163 w 1603"/>
                    <a:gd name="T9" fmla="*/ 1039 h 1863"/>
                    <a:gd name="T10" fmla="*/ 368 w 1603"/>
                    <a:gd name="T11" fmla="*/ 1391 h 1863"/>
                    <a:gd name="T12" fmla="*/ 319 w 1603"/>
                    <a:gd name="T13" fmla="*/ 1498 h 1863"/>
                    <a:gd name="T14" fmla="*/ 448 w 1603"/>
                    <a:gd name="T15" fmla="*/ 1426 h 1863"/>
                    <a:gd name="T16" fmla="*/ 348 w 1603"/>
                    <a:gd name="T17" fmla="*/ 1282 h 1863"/>
                    <a:gd name="T18" fmla="*/ 1259 w 1603"/>
                    <a:gd name="T19" fmla="*/ 61 h 1863"/>
                    <a:gd name="T20" fmla="*/ 1219 w 1603"/>
                    <a:gd name="T21" fmla="*/ 70 h 1863"/>
                    <a:gd name="T22" fmla="*/ 1425 w 1603"/>
                    <a:gd name="T23" fmla="*/ 544 h 1863"/>
                    <a:gd name="T24" fmla="*/ 1381 w 1603"/>
                    <a:gd name="T25" fmla="*/ 524 h 1863"/>
                    <a:gd name="T26" fmla="*/ 678 w 1603"/>
                    <a:gd name="T27" fmla="*/ 1820 h 1863"/>
                    <a:gd name="T28" fmla="*/ 986 w 1603"/>
                    <a:gd name="T29" fmla="*/ 1863 h 1863"/>
                    <a:gd name="T30" fmla="*/ 844 w 1603"/>
                    <a:gd name="T31" fmla="*/ 1852 h 1863"/>
                    <a:gd name="T32" fmla="*/ 302 w 1603"/>
                    <a:gd name="T33" fmla="*/ 1355 h 1863"/>
                    <a:gd name="T34" fmla="*/ 1470 w 1603"/>
                    <a:gd name="T35" fmla="*/ 839 h 1863"/>
                    <a:gd name="T36" fmla="*/ 1242 w 1603"/>
                    <a:gd name="T37" fmla="*/ 934 h 1863"/>
                    <a:gd name="T38" fmla="*/ 1158 w 1603"/>
                    <a:gd name="T39" fmla="*/ 954 h 1863"/>
                    <a:gd name="T40" fmla="*/ 1019 w 1603"/>
                    <a:gd name="T41" fmla="*/ 996 h 1863"/>
                    <a:gd name="T42" fmla="*/ 971 w 1603"/>
                    <a:gd name="T43" fmla="*/ 791 h 1863"/>
                    <a:gd name="T44" fmla="*/ 673 w 1603"/>
                    <a:gd name="T45" fmla="*/ 893 h 1863"/>
                    <a:gd name="T46" fmla="*/ 609 w 1603"/>
                    <a:gd name="T47" fmla="*/ 1239 h 1863"/>
                    <a:gd name="T48" fmla="*/ 726 w 1603"/>
                    <a:gd name="T49" fmla="*/ 1177 h 1863"/>
                    <a:gd name="T50" fmla="*/ 805 w 1603"/>
                    <a:gd name="T51" fmla="*/ 1060 h 1863"/>
                    <a:gd name="T52" fmla="*/ 900 w 1603"/>
                    <a:gd name="T53" fmla="*/ 1217 h 1863"/>
                    <a:gd name="T54" fmla="*/ 807 w 1603"/>
                    <a:gd name="T55" fmla="*/ 1274 h 1863"/>
                    <a:gd name="T56" fmla="*/ 673 w 1603"/>
                    <a:gd name="T57" fmla="*/ 1388 h 1863"/>
                    <a:gd name="T58" fmla="*/ 603 w 1603"/>
                    <a:gd name="T59" fmla="*/ 1328 h 1863"/>
                    <a:gd name="T60" fmla="*/ 558 w 1603"/>
                    <a:gd name="T61" fmla="*/ 1345 h 1863"/>
                    <a:gd name="T62" fmla="*/ 476 w 1603"/>
                    <a:gd name="T63" fmla="*/ 1465 h 1863"/>
                    <a:gd name="T64" fmla="*/ 380 w 1603"/>
                    <a:gd name="T65" fmla="*/ 1578 h 1863"/>
                    <a:gd name="T66" fmla="*/ 264 w 1603"/>
                    <a:gd name="T67" fmla="*/ 1703 h 1863"/>
                    <a:gd name="T68" fmla="*/ 265 w 1603"/>
                    <a:gd name="T69" fmla="*/ 1814 h 1863"/>
                    <a:gd name="T70" fmla="*/ 382 w 1603"/>
                    <a:gd name="T71" fmla="*/ 1818 h 1863"/>
                    <a:gd name="T72" fmla="*/ 471 w 1603"/>
                    <a:gd name="T73" fmla="*/ 1689 h 1863"/>
                    <a:gd name="T74" fmla="*/ 612 w 1603"/>
                    <a:gd name="T75" fmla="*/ 1692 h 1863"/>
                    <a:gd name="T76" fmla="*/ 689 w 1603"/>
                    <a:gd name="T77" fmla="*/ 1786 h 1863"/>
                    <a:gd name="T78" fmla="*/ 735 w 1603"/>
                    <a:gd name="T79" fmla="*/ 1738 h 1863"/>
                    <a:gd name="T80" fmla="*/ 632 w 1603"/>
                    <a:gd name="T81" fmla="*/ 1632 h 1863"/>
                    <a:gd name="T82" fmla="*/ 684 w 1603"/>
                    <a:gd name="T83" fmla="*/ 1646 h 1863"/>
                    <a:gd name="T84" fmla="*/ 753 w 1603"/>
                    <a:gd name="T85" fmla="*/ 1714 h 1863"/>
                    <a:gd name="T86" fmla="*/ 805 w 1603"/>
                    <a:gd name="T87" fmla="*/ 1824 h 1863"/>
                    <a:gd name="T88" fmla="*/ 808 w 1603"/>
                    <a:gd name="T89" fmla="*/ 1740 h 1863"/>
                    <a:gd name="T90" fmla="*/ 887 w 1603"/>
                    <a:gd name="T91" fmla="*/ 1731 h 1863"/>
                    <a:gd name="T92" fmla="*/ 928 w 1603"/>
                    <a:gd name="T93" fmla="*/ 1628 h 1863"/>
                    <a:gd name="T94" fmla="*/ 992 w 1603"/>
                    <a:gd name="T95" fmla="*/ 1640 h 1863"/>
                    <a:gd name="T96" fmla="*/ 1077 w 1603"/>
                    <a:gd name="T97" fmla="*/ 1577 h 1863"/>
                    <a:gd name="T98" fmla="*/ 1123 w 1603"/>
                    <a:gd name="T99" fmla="*/ 1677 h 1863"/>
                    <a:gd name="T100" fmla="*/ 956 w 1603"/>
                    <a:gd name="T101" fmla="*/ 1721 h 1863"/>
                    <a:gd name="T102" fmla="*/ 942 w 1603"/>
                    <a:gd name="T103" fmla="*/ 1827 h 1863"/>
                    <a:gd name="T104" fmla="*/ 1051 w 1603"/>
                    <a:gd name="T105" fmla="*/ 1827 h 1863"/>
                    <a:gd name="T106" fmla="*/ 1181 w 1603"/>
                    <a:gd name="T107" fmla="*/ 1812 h 1863"/>
                    <a:gd name="T108" fmla="*/ 1246 w 1603"/>
                    <a:gd name="T109" fmla="*/ 1755 h 1863"/>
                    <a:gd name="T110" fmla="*/ 1273 w 1603"/>
                    <a:gd name="T111" fmla="*/ 1732 h 1863"/>
                    <a:gd name="T112" fmla="*/ 1246 w 1603"/>
                    <a:gd name="T113" fmla="*/ 1560 h 1863"/>
                    <a:gd name="T114" fmla="*/ 1377 w 1603"/>
                    <a:gd name="T115" fmla="*/ 1485 h 1863"/>
                    <a:gd name="T116" fmla="*/ 1436 w 1603"/>
                    <a:gd name="T117" fmla="*/ 1429 h 1863"/>
                    <a:gd name="T118" fmla="*/ 1404 w 1603"/>
                    <a:gd name="T119" fmla="*/ 1348 h 1863"/>
                    <a:gd name="T120" fmla="*/ 1505 w 1603"/>
                    <a:gd name="T121" fmla="*/ 1017 h 1863"/>
                    <a:gd name="T122" fmla="*/ 571 w 1603"/>
                    <a:gd name="T123" fmla="*/ 1771 h 1863"/>
                    <a:gd name="T124" fmla="*/ 569 w 1603"/>
                    <a:gd name="T125" fmla="*/ 1711 h 1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03" h="1863">
                      <a:moveTo>
                        <a:pt x="775" y="302"/>
                      </a:moveTo>
                      <a:lnTo>
                        <a:pt x="787" y="282"/>
                      </a:lnTo>
                      <a:lnTo>
                        <a:pt x="776" y="255"/>
                      </a:lnTo>
                      <a:lnTo>
                        <a:pt x="813" y="238"/>
                      </a:lnTo>
                      <a:lnTo>
                        <a:pt x="819" y="270"/>
                      </a:lnTo>
                      <a:lnTo>
                        <a:pt x="844" y="289"/>
                      </a:lnTo>
                      <a:lnTo>
                        <a:pt x="805" y="321"/>
                      </a:lnTo>
                      <a:lnTo>
                        <a:pt x="775" y="302"/>
                      </a:lnTo>
                      <a:close/>
                      <a:moveTo>
                        <a:pt x="761" y="110"/>
                      </a:moveTo>
                      <a:lnTo>
                        <a:pt x="764" y="138"/>
                      </a:lnTo>
                      <a:lnTo>
                        <a:pt x="815" y="153"/>
                      </a:lnTo>
                      <a:lnTo>
                        <a:pt x="865" y="143"/>
                      </a:lnTo>
                      <a:lnTo>
                        <a:pt x="890" y="90"/>
                      </a:lnTo>
                      <a:lnTo>
                        <a:pt x="856" y="53"/>
                      </a:lnTo>
                      <a:lnTo>
                        <a:pt x="813" y="27"/>
                      </a:lnTo>
                      <a:lnTo>
                        <a:pt x="796" y="60"/>
                      </a:lnTo>
                      <a:lnTo>
                        <a:pt x="770" y="33"/>
                      </a:lnTo>
                      <a:lnTo>
                        <a:pt x="718" y="63"/>
                      </a:lnTo>
                      <a:lnTo>
                        <a:pt x="736" y="109"/>
                      </a:lnTo>
                      <a:lnTo>
                        <a:pt x="761" y="110"/>
                      </a:lnTo>
                      <a:close/>
                      <a:moveTo>
                        <a:pt x="646" y="275"/>
                      </a:moveTo>
                      <a:lnTo>
                        <a:pt x="672" y="298"/>
                      </a:lnTo>
                      <a:lnTo>
                        <a:pt x="655" y="327"/>
                      </a:lnTo>
                      <a:lnTo>
                        <a:pt x="692" y="373"/>
                      </a:lnTo>
                      <a:lnTo>
                        <a:pt x="713" y="370"/>
                      </a:lnTo>
                      <a:lnTo>
                        <a:pt x="721" y="306"/>
                      </a:lnTo>
                      <a:lnTo>
                        <a:pt x="736" y="290"/>
                      </a:lnTo>
                      <a:lnTo>
                        <a:pt x="746" y="229"/>
                      </a:lnTo>
                      <a:lnTo>
                        <a:pt x="790" y="193"/>
                      </a:lnTo>
                      <a:lnTo>
                        <a:pt x="733" y="124"/>
                      </a:lnTo>
                      <a:lnTo>
                        <a:pt x="712" y="90"/>
                      </a:lnTo>
                      <a:lnTo>
                        <a:pt x="686" y="93"/>
                      </a:lnTo>
                      <a:lnTo>
                        <a:pt x="680" y="127"/>
                      </a:lnTo>
                      <a:lnTo>
                        <a:pt x="655" y="129"/>
                      </a:lnTo>
                      <a:lnTo>
                        <a:pt x="646" y="93"/>
                      </a:lnTo>
                      <a:lnTo>
                        <a:pt x="598" y="129"/>
                      </a:lnTo>
                      <a:lnTo>
                        <a:pt x="612" y="201"/>
                      </a:lnTo>
                      <a:lnTo>
                        <a:pt x="646" y="275"/>
                      </a:lnTo>
                      <a:close/>
                      <a:moveTo>
                        <a:pt x="169" y="953"/>
                      </a:moveTo>
                      <a:lnTo>
                        <a:pt x="141" y="950"/>
                      </a:lnTo>
                      <a:lnTo>
                        <a:pt x="112" y="973"/>
                      </a:lnTo>
                      <a:lnTo>
                        <a:pt x="91" y="960"/>
                      </a:lnTo>
                      <a:lnTo>
                        <a:pt x="65" y="983"/>
                      </a:lnTo>
                      <a:lnTo>
                        <a:pt x="38" y="954"/>
                      </a:lnTo>
                      <a:lnTo>
                        <a:pt x="12" y="960"/>
                      </a:lnTo>
                      <a:lnTo>
                        <a:pt x="0" y="988"/>
                      </a:lnTo>
                      <a:lnTo>
                        <a:pt x="37" y="997"/>
                      </a:lnTo>
                      <a:lnTo>
                        <a:pt x="37" y="1010"/>
                      </a:lnTo>
                      <a:lnTo>
                        <a:pt x="6" y="1017"/>
                      </a:lnTo>
                      <a:lnTo>
                        <a:pt x="45" y="1037"/>
                      </a:lnTo>
                      <a:lnTo>
                        <a:pt x="28" y="1054"/>
                      </a:lnTo>
                      <a:lnTo>
                        <a:pt x="75" y="1066"/>
                      </a:lnTo>
                      <a:lnTo>
                        <a:pt x="98" y="1073"/>
                      </a:lnTo>
                      <a:lnTo>
                        <a:pt x="112" y="1066"/>
                      </a:lnTo>
                      <a:lnTo>
                        <a:pt x="163" y="1039"/>
                      </a:lnTo>
                      <a:lnTo>
                        <a:pt x="184" y="1008"/>
                      </a:lnTo>
                      <a:lnTo>
                        <a:pt x="166" y="980"/>
                      </a:lnTo>
                      <a:lnTo>
                        <a:pt x="169" y="953"/>
                      </a:lnTo>
                      <a:close/>
                      <a:moveTo>
                        <a:pt x="322" y="1351"/>
                      </a:moveTo>
                      <a:lnTo>
                        <a:pt x="331" y="1337"/>
                      </a:lnTo>
                      <a:lnTo>
                        <a:pt x="338" y="1345"/>
                      </a:lnTo>
                      <a:lnTo>
                        <a:pt x="331" y="1359"/>
                      </a:lnTo>
                      <a:lnTo>
                        <a:pt x="336" y="1366"/>
                      </a:lnTo>
                      <a:lnTo>
                        <a:pt x="356" y="1372"/>
                      </a:lnTo>
                      <a:lnTo>
                        <a:pt x="356" y="1372"/>
                      </a:lnTo>
                      <a:lnTo>
                        <a:pt x="368" y="1391"/>
                      </a:lnTo>
                      <a:lnTo>
                        <a:pt x="365" y="1408"/>
                      </a:lnTo>
                      <a:lnTo>
                        <a:pt x="365" y="1408"/>
                      </a:lnTo>
                      <a:lnTo>
                        <a:pt x="341" y="1405"/>
                      </a:lnTo>
                      <a:lnTo>
                        <a:pt x="338" y="1423"/>
                      </a:lnTo>
                      <a:lnTo>
                        <a:pt x="347" y="1438"/>
                      </a:lnTo>
                      <a:lnTo>
                        <a:pt x="328" y="1448"/>
                      </a:lnTo>
                      <a:lnTo>
                        <a:pt x="333" y="1458"/>
                      </a:lnTo>
                      <a:lnTo>
                        <a:pt x="361" y="1463"/>
                      </a:lnTo>
                      <a:lnTo>
                        <a:pt x="361" y="1463"/>
                      </a:lnTo>
                      <a:lnTo>
                        <a:pt x="345" y="1469"/>
                      </a:lnTo>
                      <a:lnTo>
                        <a:pt x="319" y="1498"/>
                      </a:lnTo>
                      <a:lnTo>
                        <a:pt x="328" y="1503"/>
                      </a:lnTo>
                      <a:lnTo>
                        <a:pt x="341" y="1492"/>
                      </a:lnTo>
                      <a:lnTo>
                        <a:pt x="356" y="1495"/>
                      </a:lnTo>
                      <a:lnTo>
                        <a:pt x="368" y="1483"/>
                      </a:lnTo>
                      <a:lnTo>
                        <a:pt x="376" y="1489"/>
                      </a:lnTo>
                      <a:lnTo>
                        <a:pt x="405" y="1482"/>
                      </a:lnTo>
                      <a:lnTo>
                        <a:pt x="428" y="1482"/>
                      </a:lnTo>
                      <a:lnTo>
                        <a:pt x="443" y="1468"/>
                      </a:lnTo>
                      <a:lnTo>
                        <a:pt x="437" y="1452"/>
                      </a:lnTo>
                      <a:lnTo>
                        <a:pt x="445" y="1445"/>
                      </a:lnTo>
                      <a:lnTo>
                        <a:pt x="448" y="1426"/>
                      </a:lnTo>
                      <a:lnTo>
                        <a:pt x="426" y="1422"/>
                      </a:lnTo>
                      <a:lnTo>
                        <a:pt x="422" y="1409"/>
                      </a:lnTo>
                      <a:lnTo>
                        <a:pt x="411" y="1377"/>
                      </a:lnTo>
                      <a:lnTo>
                        <a:pt x="399" y="1372"/>
                      </a:lnTo>
                      <a:lnTo>
                        <a:pt x="384" y="1337"/>
                      </a:lnTo>
                      <a:lnTo>
                        <a:pt x="384" y="1334"/>
                      </a:lnTo>
                      <a:lnTo>
                        <a:pt x="365" y="1331"/>
                      </a:lnTo>
                      <a:lnTo>
                        <a:pt x="380" y="1303"/>
                      </a:lnTo>
                      <a:lnTo>
                        <a:pt x="385" y="1277"/>
                      </a:lnTo>
                      <a:lnTo>
                        <a:pt x="367" y="1277"/>
                      </a:lnTo>
                      <a:lnTo>
                        <a:pt x="348" y="1282"/>
                      </a:lnTo>
                      <a:lnTo>
                        <a:pt x="367" y="1246"/>
                      </a:lnTo>
                      <a:lnTo>
                        <a:pt x="347" y="1249"/>
                      </a:lnTo>
                      <a:lnTo>
                        <a:pt x="333" y="1246"/>
                      </a:lnTo>
                      <a:lnTo>
                        <a:pt x="319" y="1272"/>
                      </a:lnTo>
                      <a:lnTo>
                        <a:pt x="313" y="1306"/>
                      </a:lnTo>
                      <a:lnTo>
                        <a:pt x="322" y="1322"/>
                      </a:lnTo>
                      <a:lnTo>
                        <a:pt x="322" y="1351"/>
                      </a:lnTo>
                      <a:close/>
                      <a:moveTo>
                        <a:pt x="1219" y="70"/>
                      </a:moveTo>
                      <a:lnTo>
                        <a:pt x="1238" y="95"/>
                      </a:lnTo>
                      <a:lnTo>
                        <a:pt x="1258" y="78"/>
                      </a:lnTo>
                      <a:lnTo>
                        <a:pt x="1259" y="61"/>
                      </a:lnTo>
                      <a:lnTo>
                        <a:pt x="1275" y="53"/>
                      </a:lnTo>
                      <a:lnTo>
                        <a:pt x="1299" y="40"/>
                      </a:lnTo>
                      <a:lnTo>
                        <a:pt x="1305" y="24"/>
                      </a:lnTo>
                      <a:lnTo>
                        <a:pt x="1279" y="0"/>
                      </a:lnTo>
                      <a:lnTo>
                        <a:pt x="1264" y="18"/>
                      </a:lnTo>
                      <a:lnTo>
                        <a:pt x="1253" y="43"/>
                      </a:lnTo>
                      <a:lnTo>
                        <a:pt x="1250" y="15"/>
                      </a:lnTo>
                      <a:lnTo>
                        <a:pt x="1224" y="15"/>
                      </a:lnTo>
                      <a:lnTo>
                        <a:pt x="1190" y="35"/>
                      </a:lnTo>
                      <a:lnTo>
                        <a:pt x="1229" y="38"/>
                      </a:lnTo>
                      <a:lnTo>
                        <a:pt x="1219" y="70"/>
                      </a:lnTo>
                      <a:close/>
                      <a:moveTo>
                        <a:pt x="1322" y="668"/>
                      </a:moveTo>
                      <a:lnTo>
                        <a:pt x="1304" y="681"/>
                      </a:lnTo>
                      <a:lnTo>
                        <a:pt x="1307" y="710"/>
                      </a:lnTo>
                      <a:lnTo>
                        <a:pt x="1338" y="725"/>
                      </a:lnTo>
                      <a:lnTo>
                        <a:pt x="1342" y="748"/>
                      </a:lnTo>
                      <a:lnTo>
                        <a:pt x="1399" y="754"/>
                      </a:lnTo>
                      <a:lnTo>
                        <a:pt x="1408" y="750"/>
                      </a:lnTo>
                      <a:lnTo>
                        <a:pt x="1376" y="707"/>
                      </a:lnTo>
                      <a:lnTo>
                        <a:pt x="1373" y="661"/>
                      </a:lnTo>
                      <a:lnTo>
                        <a:pt x="1399" y="604"/>
                      </a:lnTo>
                      <a:lnTo>
                        <a:pt x="1425" y="544"/>
                      </a:lnTo>
                      <a:lnTo>
                        <a:pt x="1479" y="481"/>
                      </a:lnTo>
                      <a:lnTo>
                        <a:pt x="1531" y="448"/>
                      </a:lnTo>
                      <a:lnTo>
                        <a:pt x="1592" y="413"/>
                      </a:lnTo>
                      <a:lnTo>
                        <a:pt x="1603" y="390"/>
                      </a:lnTo>
                      <a:lnTo>
                        <a:pt x="1591" y="361"/>
                      </a:lnTo>
                      <a:lnTo>
                        <a:pt x="1558" y="370"/>
                      </a:lnTo>
                      <a:lnTo>
                        <a:pt x="1528" y="398"/>
                      </a:lnTo>
                      <a:lnTo>
                        <a:pt x="1471" y="412"/>
                      </a:lnTo>
                      <a:lnTo>
                        <a:pt x="1414" y="458"/>
                      </a:lnTo>
                      <a:lnTo>
                        <a:pt x="1376" y="493"/>
                      </a:lnTo>
                      <a:lnTo>
                        <a:pt x="1381" y="524"/>
                      </a:lnTo>
                      <a:lnTo>
                        <a:pt x="1339" y="579"/>
                      </a:lnTo>
                      <a:lnTo>
                        <a:pt x="1354" y="587"/>
                      </a:lnTo>
                      <a:lnTo>
                        <a:pt x="1321" y="638"/>
                      </a:lnTo>
                      <a:lnTo>
                        <a:pt x="1322" y="668"/>
                      </a:lnTo>
                      <a:close/>
                      <a:moveTo>
                        <a:pt x="673" y="1787"/>
                      </a:moveTo>
                      <a:lnTo>
                        <a:pt x="655" y="1789"/>
                      </a:lnTo>
                      <a:lnTo>
                        <a:pt x="635" y="1787"/>
                      </a:lnTo>
                      <a:lnTo>
                        <a:pt x="632" y="1798"/>
                      </a:lnTo>
                      <a:lnTo>
                        <a:pt x="657" y="1809"/>
                      </a:lnTo>
                      <a:lnTo>
                        <a:pt x="666" y="1812"/>
                      </a:lnTo>
                      <a:lnTo>
                        <a:pt x="678" y="1820"/>
                      </a:lnTo>
                      <a:lnTo>
                        <a:pt x="683" y="1809"/>
                      </a:lnTo>
                      <a:lnTo>
                        <a:pt x="680" y="1803"/>
                      </a:lnTo>
                      <a:lnTo>
                        <a:pt x="686" y="1786"/>
                      </a:lnTo>
                      <a:lnTo>
                        <a:pt x="673" y="1787"/>
                      </a:lnTo>
                      <a:close/>
                      <a:moveTo>
                        <a:pt x="999" y="1846"/>
                      </a:moveTo>
                      <a:lnTo>
                        <a:pt x="986" y="1846"/>
                      </a:lnTo>
                      <a:lnTo>
                        <a:pt x="983" y="1850"/>
                      </a:lnTo>
                      <a:lnTo>
                        <a:pt x="982" y="1852"/>
                      </a:lnTo>
                      <a:lnTo>
                        <a:pt x="974" y="1852"/>
                      </a:lnTo>
                      <a:lnTo>
                        <a:pt x="977" y="1861"/>
                      </a:lnTo>
                      <a:lnTo>
                        <a:pt x="986" y="1863"/>
                      </a:lnTo>
                      <a:lnTo>
                        <a:pt x="1003" y="1855"/>
                      </a:lnTo>
                      <a:lnTo>
                        <a:pt x="1003" y="1854"/>
                      </a:lnTo>
                      <a:lnTo>
                        <a:pt x="1002" y="1849"/>
                      </a:lnTo>
                      <a:lnTo>
                        <a:pt x="1014" y="1840"/>
                      </a:lnTo>
                      <a:lnTo>
                        <a:pt x="999" y="1846"/>
                      </a:lnTo>
                      <a:close/>
                      <a:moveTo>
                        <a:pt x="862" y="1847"/>
                      </a:moveTo>
                      <a:lnTo>
                        <a:pt x="850" y="1846"/>
                      </a:lnTo>
                      <a:lnTo>
                        <a:pt x="836" y="1847"/>
                      </a:lnTo>
                      <a:lnTo>
                        <a:pt x="827" y="1840"/>
                      </a:lnTo>
                      <a:lnTo>
                        <a:pt x="824" y="1849"/>
                      </a:lnTo>
                      <a:lnTo>
                        <a:pt x="844" y="1852"/>
                      </a:lnTo>
                      <a:lnTo>
                        <a:pt x="844" y="1857"/>
                      </a:lnTo>
                      <a:lnTo>
                        <a:pt x="868" y="1854"/>
                      </a:lnTo>
                      <a:lnTo>
                        <a:pt x="871" y="1847"/>
                      </a:lnTo>
                      <a:lnTo>
                        <a:pt x="862" y="1850"/>
                      </a:lnTo>
                      <a:lnTo>
                        <a:pt x="862" y="1847"/>
                      </a:lnTo>
                      <a:close/>
                      <a:moveTo>
                        <a:pt x="272" y="1457"/>
                      </a:moveTo>
                      <a:lnTo>
                        <a:pt x="302" y="1440"/>
                      </a:lnTo>
                      <a:lnTo>
                        <a:pt x="315" y="1415"/>
                      </a:lnTo>
                      <a:lnTo>
                        <a:pt x="313" y="1394"/>
                      </a:lnTo>
                      <a:lnTo>
                        <a:pt x="322" y="1374"/>
                      </a:lnTo>
                      <a:lnTo>
                        <a:pt x="302" y="1355"/>
                      </a:lnTo>
                      <a:lnTo>
                        <a:pt x="288" y="1357"/>
                      </a:lnTo>
                      <a:lnTo>
                        <a:pt x="276" y="1371"/>
                      </a:lnTo>
                      <a:lnTo>
                        <a:pt x="252" y="1394"/>
                      </a:lnTo>
                      <a:lnTo>
                        <a:pt x="261" y="1423"/>
                      </a:lnTo>
                      <a:lnTo>
                        <a:pt x="247" y="1452"/>
                      </a:lnTo>
                      <a:lnTo>
                        <a:pt x="272" y="1457"/>
                      </a:lnTo>
                      <a:close/>
                      <a:moveTo>
                        <a:pt x="1535" y="825"/>
                      </a:moveTo>
                      <a:lnTo>
                        <a:pt x="1511" y="810"/>
                      </a:lnTo>
                      <a:lnTo>
                        <a:pt x="1460" y="794"/>
                      </a:lnTo>
                      <a:lnTo>
                        <a:pt x="1451" y="811"/>
                      </a:lnTo>
                      <a:lnTo>
                        <a:pt x="1470" y="839"/>
                      </a:lnTo>
                      <a:lnTo>
                        <a:pt x="1450" y="871"/>
                      </a:lnTo>
                      <a:lnTo>
                        <a:pt x="1430" y="842"/>
                      </a:lnTo>
                      <a:lnTo>
                        <a:pt x="1405" y="862"/>
                      </a:lnTo>
                      <a:lnTo>
                        <a:pt x="1373" y="864"/>
                      </a:lnTo>
                      <a:lnTo>
                        <a:pt x="1361" y="879"/>
                      </a:lnTo>
                      <a:lnTo>
                        <a:pt x="1339" y="874"/>
                      </a:lnTo>
                      <a:lnTo>
                        <a:pt x="1356" y="845"/>
                      </a:lnTo>
                      <a:lnTo>
                        <a:pt x="1342" y="844"/>
                      </a:lnTo>
                      <a:lnTo>
                        <a:pt x="1282" y="884"/>
                      </a:lnTo>
                      <a:lnTo>
                        <a:pt x="1247" y="905"/>
                      </a:lnTo>
                      <a:lnTo>
                        <a:pt x="1242" y="934"/>
                      </a:lnTo>
                      <a:lnTo>
                        <a:pt x="1216" y="943"/>
                      </a:lnTo>
                      <a:lnTo>
                        <a:pt x="1203" y="928"/>
                      </a:lnTo>
                      <a:lnTo>
                        <a:pt x="1203" y="904"/>
                      </a:lnTo>
                      <a:lnTo>
                        <a:pt x="1224" y="897"/>
                      </a:lnTo>
                      <a:lnTo>
                        <a:pt x="1215" y="871"/>
                      </a:lnTo>
                      <a:lnTo>
                        <a:pt x="1166" y="857"/>
                      </a:lnTo>
                      <a:lnTo>
                        <a:pt x="1180" y="885"/>
                      </a:lnTo>
                      <a:lnTo>
                        <a:pt x="1170" y="913"/>
                      </a:lnTo>
                      <a:lnTo>
                        <a:pt x="1184" y="939"/>
                      </a:lnTo>
                      <a:lnTo>
                        <a:pt x="1175" y="968"/>
                      </a:lnTo>
                      <a:lnTo>
                        <a:pt x="1158" y="954"/>
                      </a:lnTo>
                      <a:lnTo>
                        <a:pt x="1143" y="951"/>
                      </a:lnTo>
                      <a:lnTo>
                        <a:pt x="1103" y="993"/>
                      </a:lnTo>
                      <a:lnTo>
                        <a:pt x="1115" y="1023"/>
                      </a:lnTo>
                      <a:lnTo>
                        <a:pt x="1100" y="1033"/>
                      </a:lnTo>
                      <a:lnTo>
                        <a:pt x="1058" y="1008"/>
                      </a:lnTo>
                      <a:lnTo>
                        <a:pt x="1048" y="1023"/>
                      </a:lnTo>
                      <a:lnTo>
                        <a:pt x="1058" y="1040"/>
                      </a:lnTo>
                      <a:lnTo>
                        <a:pt x="1055" y="1059"/>
                      </a:lnTo>
                      <a:lnTo>
                        <a:pt x="1042" y="1050"/>
                      </a:lnTo>
                      <a:lnTo>
                        <a:pt x="1020" y="1037"/>
                      </a:lnTo>
                      <a:lnTo>
                        <a:pt x="1019" y="996"/>
                      </a:lnTo>
                      <a:lnTo>
                        <a:pt x="1019" y="976"/>
                      </a:lnTo>
                      <a:lnTo>
                        <a:pt x="989" y="945"/>
                      </a:lnTo>
                      <a:lnTo>
                        <a:pt x="1003" y="939"/>
                      </a:lnTo>
                      <a:lnTo>
                        <a:pt x="1080" y="971"/>
                      </a:lnTo>
                      <a:lnTo>
                        <a:pt x="1108" y="960"/>
                      </a:lnTo>
                      <a:lnTo>
                        <a:pt x="1126" y="937"/>
                      </a:lnTo>
                      <a:lnTo>
                        <a:pt x="1126" y="908"/>
                      </a:lnTo>
                      <a:lnTo>
                        <a:pt x="1112" y="887"/>
                      </a:lnTo>
                      <a:lnTo>
                        <a:pt x="1048" y="833"/>
                      </a:lnTo>
                      <a:lnTo>
                        <a:pt x="1000" y="822"/>
                      </a:lnTo>
                      <a:lnTo>
                        <a:pt x="971" y="791"/>
                      </a:lnTo>
                      <a:lnTo>
                        <a:pt x="954" y="810"/>
                      </a:lnTo>
                      <a:lnTo>
                        <a:pt x="936" y="777"/>
                      </a:lnTo>
                      <a:lnTo>
                        <a:pt x="957" y="764"/>
                      </a:lnTo>
                      <a:lnTo>
                        <a:pt x="904" y="725"/>
                      </a:lnTo>
                      <a:lnTo>
                        <a:pt x="873" y="736"/>
                      </a:lnTo>
                      <a:lnTo>
                        <a:pt x="841" y="734"/>
                      </a:lnTo>
                      <a:lnTo>
                        <a:pt x="815" y="777"/>
                      </a:lnTo>
                      <a:lnTo>
                        <a:pt x="787" y="774"/>
                      </a:lnTo>
                      <a:lnTo>
                        <a:pt x="749" y="796"/>
                      </a:lnTo>
                      <a:lnTo>
                        <a:pt x="701" y="857"/>
                      </a:lnTo>
                      <a:lnTo>
                        <a:pt x="673" y="893"/>
                      </a:lnTo>
                      <a:lnTo>
                        <a:pt x="632" y="977"/>
                      </a:lnTo>
                      <a:lnTo>
                        <a:pt x="600" y="1034"/>
                      </a:lnTo>
                      <a:lnTo>
                        <a:pt x="566" y="1074"/>
                      </a:lnTo>
                      <a:lnTo>
                        <a:pt x="520" y="1106"/>
                      </a:lnTo>
                      <a:lnTo>
                        <a:pt x="505" y="1129"/>
                      </a:lnTo>
                      <a:lnTo>
                        <a:pt x="511" y="1211"/>
                      </a:lnTo>
                      <a:lnTo>
                        <a:pt x="517" y="1248"/>
                      </a:lnTo>
                      <a:lnTo>
                        <a:pt x="540" y="1265"/>
                      </a:lnTo>
                      <a:lnTo>
                        <a:pt x="563" y="1257"/>
                      </a:lnTo>
                      <a:lnTo>
                        <a:pt x="597" y="1219"/>
                      </a:lnTo>
                      <a:lnTo>
                        <a:pt x="609" y="1239"/>
                      </a:lnTo>
                      <a:lnTo>
                        <a:pt x="621" y="1285"/>
                      </a:lnTo>
                      <a:lnTo>
                        <a:pt x="637" y="1320"/>
                      </a:lnTo>
                      <a:lnTo>
                        <a:pt x="641" y="1349"/>
                      </a:lnTo>
                      <a:lnTo>
                        <a:pt x="661" y="1348"/>
                      </a:lnTo>
                      <a:lnTo>
                        <a:pt x="672" y="1323"/>
                      </a:lnTo>
                      <a:lnTo>
                        <a:pt x="692" y="1326"/>
                      </a:lnTo>
                      <a:lnTo>
                        <a:pt x="703" y="1297"/>
                      </a:lnTo>
                      <a:lnTo>
                        <a:pt x="709" y="1243"/>
                      </a:lnTo>
                      <a:lnTo>
                        <a:pt x="727" y="1236"/>
                      </a:lnTo>
                      <a:lnTo>
                        <a:pt x="742" y="1197"/>
                      </a:lnTo>
                      <a:lnTo>
                        <a:pt x="726" y="1177"/>
                      </a:lnTo>
                      <a:lnTo>
                        <a:pt x="713" y="1153"/>
                      </a:lnTo>
                      <a:lnTo>
                        <a:pt x="726" y="1100"/>
                      </a:lnTo>
                      <a:lnTo>
                        <a:pt x="759" y="1068"/>
                      </a:lnTo>
                      <a:lnTo>
                        <a:pt x="787" y="1037"/>
                      </a:lnTo>
                      <a:lnTo>
                        <a:pt x="784" y="1011"/>
                      </a:lnTo>
                      <a:lnTo>
                        <a:pt x="801" y="983"/>
                      </a:lnTo>
                      <a:lnTo>
                        <a:pt x="830" y="971"/>
                      </a:lnTo>
                      <a:lnTo>
                        <a:pt x="854" y="991"/>
                      </a:lnTo>
                      <a:lnTo>
                        <a:pt x="856" y="1008"/>
                      </a:lnTo>
                      <a:lnTo>
                        <a:pt x="845" y="1017"/>
                      </a:lnTo>
                      <a:lnTo>
                        <a:pt x="805" y="1060"/>
                      </a:lnTo>
                      <a:lnTo>
                        <a:pt x="790" y="1085"/>
                      </a:lnTo>
                      <a:lnTo>
                        <a:pt x="781" y="1106"/>
                      </a:lnTo>
                      <a:lnTo>
                        <a:pt x="790" y="1140"/>
                      </a:lnTo>
                      <a:lnTo>
                        <a:pt x="785" y="1176"/>
                      </a:lnTo>
                      <a:lnTo>
                        <a:pt x="802" y="1186"/>
                      </a:lnTo>
                      <a:lnTo>
                        <a:pt x="813" y="1205"/>
                      </a:lnTo>
                      <a:lnTo>
                        <a:pt x="841" y="1199"/>
                      </a:lnTo>
                      <a:lnTo>
                        <a:pt x="871" y="1185"/>
                      </a:lnTo>
                      <a:lnTo>
                        <a:pt x="902" y="1182"/>
                      </a:lnTo>
                      <a:lnTo>
                        <a:pt x="920" y="1199"/>
                      </a:lnTo>
                      <a:lnTo>
                        <a:pt x="900" y="1217"/>
                      </a:lnTo>
                      <a:lnTo>
                        <a:pt x="882" y="1219"/>
                      </a:lnTo>
                      <a:lnTo>
                        <a:pt x="864" y="1213"/>
                      </a:lnTo>
                      <a:lnTo>
                        <a:pt x="842" y="1219"/>
                      </a:lnTo>
                      <a:lnTo>
                        <a:pt x="821" y="1228"/>
                      </a:lnTo>
                      <a:lnTo>
                        <a:pt x="822" y="1246"/>
                      </a:lnTo>
                      <a:lnTo>
                        <a:pt x="833" y="1259"/>
                      </a:lnTo>
                      <a:lnTo>
                        <a:pt x="839" y="1254"/>
                      </a:lnTo>
                      <a:lnTo>
                        <a:pt x="838" y="1274"/>
                      </a:lnTo>
                      <a:lnTo>
                        <a:pt x="834" y="1299"/>
                      </a:lnTo>
                      <a:lnTo>
                        <a:pt x="821" y="1299"/>
                      </a:lnTo>
                      <a:lnTo>
                        <a:pt x="807" y="1274"/>
                      </a:lnTo>
                      <a:lnTo>
                        <a:pt x="790" y="1286"/>
                      </a:lnTo>
                      <a:lnTo>
                        <a:pt x="782" y="1306"/>
                      </a:lnTo>
                      <a:lnTo>
                        <a:pt x="781" y="1329"/>
                      </a:lnTo>
                      <a:lnTo>
                        <a:pt x="785" y="1354"/>
                      </a:lnTo>
                      <a:lnTo>
                        <a:pt x="761" y="1365"/>
                      </a:lnTo>
                      <a:lnTo>
                        <a:pt x="758" y="1377"/>
                      </a:lnTo>
                      <a:lnTo>
                        <a:pt x="741" y="1377"/>
                      </a:lnTo>
                      <a:lnTo>
                        <a:pt x="739" y="1369"/>
                      </a:lnTo>
                      <a:lnTo>
                        <a:pt x="723" y="1365"/>
                      </a:lnTo>
                      <a:lnTo>
                        <a:pt x="701" y="1375"/>
                      </a:lnTo>
                      <a:lnTo>
                        <a:pt x="673" y="1388"/>
                      </a:lnTo>
                      <a:lnTo>
                        <a:pt x="661" y="1397"/>
                      </a:lnTo>
                      <a:lnTo>
                        <a:pt x="654" y="1388"/>
                      </a:lnTo>
                      <a:lnTo>
                        <a:pt x="635" y="1375"/>
                      </a:lnTo>
                      <a:lnTo>
                        <a:pt x="624" y="1385"/>
                      </a:lnTo>
                      <a:lnTo>
                        <a:pt x="607" y="1389"/>
                      </a:lnTo>
                      <a:lnTo>
                        <a:pt x="607" y="1379"/>
                      </a:lnTo>
                      <a:lnTo>
                        <a:pt x="591" y="1372"/>
                      </a:lnTo>
                      <a:lnTo>
                        <a:pt x="589" y="1360"/>
                      </a:lnTo>
                      <a:lnTo>
                        <a:pt x="584" y="1346"/>
                      </a:lnTo>
                      <a:lnTo>
                        <a:pt x="597" y="1325"/>
                      </a:lnTo>
                      <a:lnTo>
                        <a:pt x="603" y="1328"/>
                      </a:lnTo>
                      <a:lnTo>
                        <a:pt x="607" y="1316"/>
                      </a:lnTo>
                      <a:lnTo>
                        <a:pt x="597" y="1311"/>
                      </a:lnTo>
                      <a:lnTo>
                        <a:pt x="595" y="1302"/>
                      </a:lnTo>
                      <a:lnTo>
                        <a:pt x="600" y="1292"/>
                      </a:lnTo>
                      <a:lnTo>
                        <a:pt x="601" y="1276"/>
                      </a:lnTo>
                      <a:lnTo>
                        <a:pt x="588" y="1285"/>
                      </a:lnTo>
                      <a:lnTo>
                        <a:pt x="581" y="1294"/>
                      </a:lnTo>
                      <a:lnTo>
                        <a:pt x="566" y="1296"/>
                      </a:lnTo>
                      <a:lnTo>
                        <a:pt x="561" y="1305"/>
                      </a:lnTo>
                      <a:lnTo>
                        <a:pt x="558" y="1312"/>
                      </a:lnTo>
                      <a:lnTo>
                        <a:pt x="558" y="1345"/>
                      </a:lnTo>
                      <a:lnTo>
                        <a:pt x="566" y="1362"/>
                      </a:lnTo>
                      <a:lnTo>
                        <a:pt x="566" y="1379"/>
                      </a:lnTo>
                      <a:lnTo>
                        <a:pt x="571" y="1389"/>
                      </a:lnTo>
                      <a:lnTo>
                        <a:pt x="558" y="1403"/>
                      </a:lnTo>
                      <a:lnTo>
                        <a:pt x="555" y="1397"/>
                      </a:lnTo>
                      <a:lnTo>
                        <a:pt x="542" y="1399"/>
                      </a:lnTo>
                      <a:lnTo>
                        <a:pt x="538" y="1405"/>
                      </a:lnTo>
                      <a:lnTo>
                        <a:pt x="523" y="1405"/>
                      </a:lnTo>
                      <a:lnTo>
                        <a:pt x="500" y="1415"/>
                      </a:lnTo>
                      <a:lnTo>
                        <a:pt x="485" y="1457"/>
                      </a:lnTo>
                      <a:lnTo>
                        <a:pt x="476" y="1465"/>
                      </a:lnTo>
                      <a:lnTo>
                        <a:pt x="462" y="1471"/>
                      </a:lnTo>
                      <a:lnTo>
                        <a:pt x="448" y="1475"/>
                      </a:lnTo>
                      <a:lnTo>
                        <a:pt x="442" y="1498"/>
                      </a:lnTo>
                      <a:lnTo>
                        <a:pt x="402" y="1518"/>
                      </a:lnTo>
                      <a:lnTo>
                        <a:pt x="385" y="1508"/>
                      </a:lnTo>
                      <a:lnTo>
                        <a:pt x="391" y="1537"/>
                      </a:lnTo>
                      <a:lnTo>
                        <a:pt x="362" y="1531"/>
                      </a:lnTo>
                      <a:lnTo>
                        <a:pt x="341" y="1537"/>
                      </a:lnTo>
                      <a:lnTo>
                        <a:pt x="342" y="1555"/>
                      </a:lnTo>
                      <a:lnTo>
                        <a:pt x="368" y="1565"/>
                      </a:lnTo>
                      <a:lnTo>
                        <a:pt x="380" y="1578"/>
                      </a:lnTo>
                      <a:lnTo>
                        <a:pt x="399" y="1605"/>
                      </a:lnTo>
                      <a:lnTo>
                        <a:pt x="396" y="1652"/>
                      </a:lnTo>
                      <a:lnTo>
                        <a:pt x="387" y="1668"/>
                      </a:lnTo>
                      <a:lnTo>
                        <a:pt x="359" y="1666"/>
                      </a:lnTo>
                      <a:lnTo>
                        <a:pt x="344" y="1668"/>
                      </a:lnTo>
                      <a:lnTo>
                        <a:pt x="325" y="1663"/>
                      </a:lnTo>
                      <a:lnTo>
                        <a:pt x="302" y="1663"/>
                      </a:lnTo>
                      <a:lnTo>
                        <a:pt x="282" y="1658"/>
                      </a:lnTo>
                      <a:lnTo>
                        <a:pt x="258" y="1677"/>
                      </a:lnTo>
                      <a:lnTo>
                        <a:pt x="264" y="1686"/>
                      </a:lnTo>
                      <a:lnTo>
                        <a:pt x="264" y="1703"/>
                      </a:lnTo>
                      <a:lnTo>
                        <a:pt x="264" y="1711"/>
                      </a:lnTo>
                      <a:lnTo>
                        <a:pt x="269" y="1718"/>
                      </a:lnTo>
                      <a:lnTo>
                        <a:pt x="269" y="1729"/>
                      </a:lnTo>
                      <a:lnTo>
                        <a:pt x="264" y="1741"/>
                      </a:lnTo>
                      <a:lnTo>
                        <a:pt x="264" y="1751"/>
                      </a:lnTo>
                      <a:lnTo>
                        <a:pt x="256" y="1760"/>
                      </a:lnTo>
                      <a:lnTo>
                        <a:pt x="255" y="1774"/>
                      </a:lnTo>
                      <a:lnTo>
                        <a:pt x="259" y="1781"/>
                      </a:lnTo>
                      <a:lnTo>
                        <a:pt x="267" y="1784"/>
                      </a:lnTo>
                      <a:lnTo>
                        <a:pt x="269" y="1797"/>
                      </a:lnTo>
                      <a:lnTo>
                        <a:pt x="265" y="1814"/>
                      </a:lnTo>
                      <a:lnTo>
                        <a:pt x="275" y="1812"/>
                      </a:lnTo>
                      <a:lnTo>
                        <a:pt x="284" y="1815"/>
                      </a:lnTo>
                      <a:lnTo>
                        <a:pt x="292" y="1809"/>
                      </a:lnTo>
                      <a:lnTo>
                        <a:pt x="307" y="1812"/>
                      </a:lnTo>
                      <a:lnTo>
                        <a:pt x="311" y="1824"/>
                      </a:lnTo>
                      <a:lnTo>
                        <a:pt x="318" y="1832"/>
                      </a:lnTo>
                      <a:lnTo>
                        <a:pt x="327" y="1834"/>
                      </a:lnTo>
                      <a:lnTo>
                        <a:pt x="333" y="1826"/>
                      </a:lnTo>
                      <a:lnTo>
                        <a:pt x="344" y="1818"/>
                      </a:lnTo>
                      <a:lnTo>
                        <a:pt x="361" y="1818"/>
                      </a:lnTo>
                      <a:lnTo>
                        <a:pt x="382" y="1818"/>
                      </a:lnTo>
                      <a:lnTo>
                        <a:pt x="394" y="1801"/>
                      </a:lnTo>
                      <a:lnTo>
                        <a:pt x="408" y="1798"/>
                      </a:lnTo>
                      <a:lnTo>
                        <a:pt x="411" y="1783"/>
                      </a:lnTo>
                      <a:lnTo>
                        <a:pt x="420" y="1774"/>
                      </a:lnTo>
                      <a:lnTo>
                        <a:pt x="414" y="1761"/>
                      </a:lnTo>
                      <a:lnTo>
                        <a:pt x="420" y="1743"/>
                      </a:lnTo>
                      <a:lnTo>
                        <a:pt x="431" y="1731"/>
                      </a:lnTo>
                      <a:lnTo>
                        <a:pt x="433" y="1723"/>
                      </a:lnTo>
                      <a:lnTo>
                        <a:pt x="456" y="1718"/>
                      </a:lnTo>
                      <a:lnTo>
                        <a:pt x="471" y="1703"/>
                      </a:lnTo>
                      <a:lnTo>
                        <a:pt x="471" y="1689"/>
                      </a:lnTo>
                      <a:lnTo>
                        <a:pt x="473" y="1675"/>
                      </a:lnTo>
                      <a:lnTo>
                        <a:pt x="497" y="1668"/>
                      </a:lnTo>
                      <a:lnTo>
                        <a:pt x="531" y="1674"/>
                      </a:lnTo>
                      <a:lnTo>
                        <a:pt x="548" y="1660"/>
                      </a:lnTo>
                      <a:lnTo>
                        <a:pt x="554" y="1658"/>
                      </a:lnTo>
                      <a:lnTo>
                        <a:pt x="565" y="1648"/>
                      </a:lnTo>
                      <a:lnTo>
                        <a:pt x="572" y="1644"/>
                      </a:lnTo>
                      <a:lnTo>
                        <a:pt x="586" y="1652"/>
                      </a:lnTo>
                      <a:lnTo>
                        <a:pt x="595" y="1655"/>
                      </a:lnTo>
                      <a:lnTo>
                        <a:pt x="600" y="1678"/>
                      </a:lnTo>
                      <a:lnTo>
                        <a:pt x="612" y="1692"/>
                      </a:lnTo>
                      <a:lnTo>
                        <a:pt x="627" y="1708"/>
                      </a:lnTo>
                      <a:lnTo>
                        <a:pt x="641" y="1717"/>
                      </a:lnTo>
                      <a:lnTo>
                        <a:pt x="654" y="1718"/>
                      </a:lnTo>
                      <a:lnTo>
                        <a:pt x="661" y="1727"/>
                      </a:lnTo>
                      <a:lnTo>
                        <a:pt x="672" y="1732"/>
                      </a:lnTo>
                      <a:lnTo>
                        <a:pt x="677" y="1741"/>
                      </a:lnTo>
                      <a:lnTo>
                        <a:pt x="684" y="1744"/>
                      </a:lnTo>
                      <a:lnTo>
                        <a:pt x="689" y="1757"/>
                      </a:lnTo>
                      <a:lnTo>
                        <a:pt x="696" y="1769"/>
                      </a:lnTo>
                      <a:lnTo>
                        <a:pt x="692" y="1774"/>
                      </a:lnTo>
                      <a:lnTo>
                        <a:pt x="689" y="1786"/>
                      </a:lnTo>
                      <a:lnTo>
                        <a:pt x="689" y="1792"/>
                      </a:lnTo>
                      <a:lnTo>
                        <a:pt x="696" y="1791"/>
                      </a:lnTo>
                      <a:lnTo>
                        <a:pt x="706" y="1772"/>
                      </a:lnTo>
                      <a:lnTo>
                        <a:pt x="712" y="1771"/>
                      </a:lnTo>
                      <a:lnTo>
                        <a:pt x="715" y="1758"/>
                      </a:lnTo>
                      <a:lnTo>
                        <a:pt x="703" y="1751"/>
                      </a:lnTo>
                      <a:lnTo>
                        <a:pt x="709" y="1735"/>
                      </a:lnTo>
                      <a:lnTo>
                        <a:pt x="724" y="1740"/>
                      </a:lnTo>
                      <a:lnTo>
                        <a:pt x="733" y="1751"/>
                      </a:lnTo>
                      <a:lnTo>
                        <a:pt x="736" y="1741"/>
                      </a:lnTo>
                      <a:lnTo>
                        <a:pt x="735" y="1738"/>
                      </a:lnTo>
                      <a:lnTo>
                        <a:pt x="721" y="1726"/>
                      </a:lnTo>
                      <a:lnTo>
                        <a:pt x="707" y="1720"/>
                      </a:lnTo>
                      <a:lnTo>
                        <a:pt x="692" y="1711"/>
                      </a:lnTo>
                      <a:lnTo>
                        <a:pt x="698" y="1706"/>
                      </a:lnTo>
                      <a:lnTo>
                        <a:pt x="693" y="1701"/>
                      </a:lnTo>
                      <a:lnTo>
                        <a:pt x="680" y="1701"/>
                      </a:lnTo>
                      <a:lnTo>
                        <a:pt x="661" y="1683"/>
                      </a:lnTo>
                      <a:lnTo>
                        <a:pt x="652" y="1663"/>
                      </a:lnTo>
                      <a:lnTo>
                        <a:pt x="635" y="1651"/>
                      </a:lnTo>
                      <a:lnTo>
                        <a:pt x="630" y="1638"/>
                      </a:lnTo>
                      <a:lnTo>
                        <a:pt x="632" y="1632"/>
                      </a:lnTo>
                      <a:lnTo>
                        <a:pt x="630" y="1620"/>
                      </a:lnTo>
                      <a:lnTo>
                        <a:pt x="646" y="1611"/>
                      </a:lnTo>
                      <a:lnTo>
                        <a:pt x="658" y="1615"/>
                      </a:lnTo>
                      <a:lnTo>
                        <a:pt x="655" y="1617"/>
                      </a:lnTo>
                      <a:lnTo>
                        <a:pt x="655" y="1617"/>
                      </a:lnTo>
                      <a:lnTo>
                        <a:pt x="654" y="1626"/>
                      </a:lnTo>
                      <a:lnTo>
                        <a:pt x="660" y="1634"/>
                      </a:lnTo>
                      <a:lnTo>
                        <a:pt x="664" y="1623"/>
                      </a:lnTo>
                      <a:lnTo>
                        <a:pt x="675" y="1628"/>
                      </a:lnTo>
                      <a:lnTo>
                        <a:pt x="675" y="1635"/>
                      </a:lnTo>
                      <a:lnTo>
                        <a:pt x="684" y="1646"/>
                      </a:lnTo>
                      <a:lnTo>
                        <a:pt x="680" y="1648"/>
                      </a:lnTo>
                      <a:lnTo>
                        <a:pt x="695" y="1664"/>
                      </a:lnTo>
                      <a:lnTo>
                        <a:pt x="710" y="1672"/>
                      </a:lnTo>
                      <a:lnTo>
                        <a:pt x="721" y="1680"/>
                      </a:lnTo>
                      <a:lnTo>
                        <a:pt x="736" y="1689"/>
                      </a:lnTo>
                      <a:lnTo>
                        <a:pt x="736" y="1689"/>
                      </a:lnTo>
                      <a:lnTo>
                        <a:pt x="744" y="1694"/>
                      </a:lnTo>
                      <a:lnTo>
                        <a:pt x="749" y="1701"/>
                      </a:lnTo>
                      <a:lnTo>
                        <a:pt x="752" y="1703"/>
                      </a:lnTo>
                      <a:lnTo>
                        <a:pt x="755" y="1706"/>
                      </a:lnTo>
                      <a:lnTo>
                        <a:pt x="753" y="1714"/>
                      </a:lnTo>
                      <a:lnTo>
                        <a:pt x="752" y="1729"/>
                      </a:lnTo>
                      <a:lnTo>
                        <a:pt x="753" y="1740"/>
                      </a:lnTo>
                      <a:lnTo>
                        <a:pt x="762" y="1747"/>
                      </a:lnTo>
                      <a:lnTo>
                        <a:pt x="762" y="1752"/>
                      </a:lnTo>
                      <a:lnTo>
                        <a:pt x="765" y="1754"/>
                      </a:lnTo>
                      <a:lnTo>
                        <a:pt x="767" y="1760"/>
                      </a:lnTo>
                      <a:lnTo>
                        <a:pt x="776" y="1774"/>
                      </a:lnTo>
                      <a:lnTo>
                        <a:pt x="782" y="1783"/>
                      </a:lnTo>
                      <a:lnTo>
                        <a:pt x="785" y="1798"/>
                      </a:lnTo>
                      <a:lnTo>
                        <a:pt x="792" y="1815"/>
                      </a:lnTo>
                      <a:lnTo>
                        <a:pt x="805" y="1824"/>
                      </a:lnTo>
                      <a:lnTo>
                        <a:pt x="818" y="1824"/>
                      </a:lnTo>
                      <a:lnTo>
                        <a:pt x="811" y="1804"/>
                      </a:lnTo>
                      <a:lnTo>
                        <a:pt x="822" y="1803"/>
                      </a:lnTo>
                      <a:lnTo>
                        <a:pt x="816" y="1792"/>
                      </a:lnTo>
                      <a:lnTo>
                        <a:pt x="833" y="1797"/>
                      </a:lnTo>
                      <a:lnTo>
                        <a:pt x="833" y="1784"/>
                      </a:lnTo>
                      <a:lnTo>
                        <a:pt x="824" y="1778"/>
                      </a:lnTo>
                      <a:lnTo>
                        <a:pt x="815" y="1769"/>
                      </a:lnTo>
                      <a:lnTo>
                        <a:pt x="821" y="1764"/>
                      </a:lnTo>
                      <a:lnTo>
                        <a:pt x="811" y="1754"/>
                      </a:lnTo>
                      <a:lnTo>
                        <a:pt x="808" y="1740"/>
                      </a:lnTo>
                      <a:lnTo>
                        <a:pt x="811" y="1735"/>
                      </a:lnTo>
                      <a:lnTo>
                        <a:pt x="821" y="1746"/>
                      </a:lnTo>
                      <a:lnTo>
                        <a:pt x="830" y="1746"/>
                      </a:lnTo>
                      <a:lnTo>
                        <a:pt x="839" y="1743"/>
                      </a:lnTo>
                      <a:lnTo>
                        <a:pt x="827" y="1731"/>
                      </a:lnTo>
                      <a:lnTo>
                        <a:pt x="848" y="1724"/>
                      </a:lnTo>
                      <a:lnTo>
                        <a:pt x="858" y="1726"/>
                      </a:lnTo>
                      <a:lnTo>
                        <a:pt x="867" y="1727"/>
                      </a:lnTo>
                      <a:lnTo>
                        <a:pt x="867" y="1732"/>
                      </a:lnTo>
                      <a:lnTo>
                        <a:pt x="873" y="1743"/>
                      </a:lnTo>
                      <a:lnTo>
                        <a:pt x="887" y="1731"/>
                      </a:lnTo>
                      <a:lnTo>
                        <a:pt x="894" y="1723"/>
                      </a:lnTo>
                      <a:lnTo>
                        <a:pt x="914" y="1721"/>
                      </a:lnTo>
                      <a:lnTo>
                        <a:pt x="917" y="1717"/>
                      </a:lnTo>
                      <a:lnTo>
                        <a:pt x="902" y="1709"/>
                      </a:lnTo>
                      <a:lnTo>
                        <a:pt x="900" y="1700"/>
                      </a:lnTo>
                      <a:lnTo>
                        <a:pt x="896" y="1688"/>
                      </a:lnTo>
                      <a:lnTo>
                        <a:pt x="902" y="1671"/>
                      </a:lnTo>
                      <a:lnTo>
                        <a:pt x="910" y="1660"/>
                      </a:lnTo>
                      <a:lnTo>
                        <a:pt x="916" y="1631"/>
                      </a:lnTo>
                      <a:lnTo>
                        <a:pt x="920" y="1634"/>
                      </a:lnTo>
                      <a:lnTo>
                        <a:pt x="928" y="1628"/>
                      </a:lnTo>
                      <a:lnTo>
                        <a:pt x="928" y="1621"/>
                      </a:lnTo>
                      <a:lnTo>
                        <a:pt x="942" y="1605"/>
                      </a:lnTo>
                      <a:lnTo>
                        <a:pt x="948" y="1591"/>
                      </a:lnTo>
                      <a:lnTo>
                        <a:pt x="963" y="1588"/>
                      </a:lnTo>
                      <a:lnTo>
                        <a:pt x="965" y="1597"/>
                      </a:lnTo>
                      <a:lnTo>
                        <a:pt x="992" y="1603"/>
                      </a:lnTo>
                      <a:lnTo>
                        <a:pt x="997" y="1608"/>
                      </a:lnTo>
                      <a:lnTo>
                        <a:pt x="980" y="1617"/>
                      </a:lnTo>
                      <a:lnTo>
                        <a:pt x="977" y="1621"/>
                      </a:lnTo>
                      <a:lnTo>
                        <a:pt x="996" y="1628"/>
                      </a:lnTo>
                      <a:lnTo>
                        <a:pt x="992" y="1640"/>
                      </a:lnTo>
                      <a:lnTo>
                        <a:pt x="1002" y="1644"/>
                      </a:lnTo>
                      <a:lnTo>
                        <a:pt x="1025" y="1631"/>
                      </a:lnTo>
                      <a:lnTo>
                        <a:pt x="1045" y="1626"/>
                      </a:lnTo>
                      <a:lnTo>
                        <a:pt x="1048" y="1617"/>
                      </a:lnTo>
                      <a:lnTo>
                        <a:pt x="1029" y="1618"/>
                      </a:lnTo>
                      <a:lnTo>
                        <a:pt x="1022" y="1614"/>
                      </a:lnTo>
                      <a:lnTo>
                        <a:pt x="1020" y="1598"/>
                      </a:lnTo>
                      <a:lnTo>
                        <a:pt x="1035" y="1589"/>
                      </a:lnTo>
                      <a:lnTo>
                        <a:pt x="1052" y="1588"/>
                      </a:lnTo>
                      <a:lnTo>
                        <a:pt x="1063" y="1578"/>
                      </a:lnTo>
                      <a:lnTo>
                        <a:pt x="1077" y="1577"/>
                      </a:lnTo>
                      <a:lnTo>
                        <a:pt x="1092" y="1572"/>
                      </a:lnTo>
                      <a:lnTo>
                        <a:pt x="1092" y="1578"/>
                      </a:lnTo>
                      <a:lnTo>
                        <a:pt x="1068" y="1589"/>
                      </a:lnTo>
                      <a:lnTo>
                        <a:pt x="1077" y="1598"/>
                      </a:lnTo>
                      <a:lnTo>
                        <a:pt x="1063" y="1620"/>
                      </a:lnTo>
                      <a:lnTo>
                        <a:pt x="1051" y="1623"/>
                      </a:lnTo>
                      <a:lnTo>
                        <a:pt x="1065" y="1637"/>
                      </a:lnTo>
                      <a:lnTo>
                        <a:pt x="1085" y="1646"/>
                      </a:lnTo>
                      <a:lnTo>
                        <a:pt x="1106" y="1666"/>
                      </a:lnTo>
                      <a:lnTo>
                        <a:pt x="1112" y="1674"/>
                      </a:lnTo>
                      <a:lnTo>
                        <a:pt x="1123" y="1677"/>
                      </a:lnTo>
                      <a:lnTo>
                        <a:pt x="1132" y="1684"/>
                      </a:lnTo>
                      <a:lnTo>
                        <a:pt x="1137" y="1701"/>
                      </a:lnTo>
                      <a:lnTo>
                        <a:pt x="1134" y="1711"/>
                      </a:lnTo>
                      <a:lnTo>
                        <a:pt x="1114" y="1723"/>
                      </a:lnTo>
                      <a:lnTo>
                        <a:pt x="1098" y="1721"/>
                      </a:lnTo>
                      <a:lnTo>
                        <a:pt x="1078" y="1724"/>
                      </a:lnTo>
                      <a:lnTo>
                        <a:pt x="1054" y="1715"/>
                      </a:lnTo>
                      <a:lnTo>
                        <a:pt x="1025" y="1700"/>
                      </a:lnTo>
                      <a:lnTo>
                        <a:pt x="996" y="1700"/>
                      </a:lnTo>
                      <a:lnTo>
                        <a:pt x="976" y="1706"/>
                      </a:lnTo>
                      <a:lnTo>
                        <a:pt x="956" y="1721"/>
                      </a:lnTo>
                      <a:lnTo>
                        <a:pt x="922" y="1718"/>
                      </a:lnTo>
                      <a:lnTo>
                        <a:pt x="914" y="1735"/>
                      </a:lnTo>
                      <a:lnTo>
                        <a:pt x="888" y="1737"/>
                      </a:lnTo>
                      <a:lnTo>
                        <a:pt x="870" y="1758"/>
                      </a:lnTo>
                      <a:lnTo>
                        <a:pt x="881" y="1769"/>
                      </a:lnTo>
                      <a:lnTo>
                        <a:pt x="871" y="1786"/>
                      </a:lnTo>
                      <a:lnTo>
                        <a:pt x="885" y="1798"/>
                      </a:lnTo>
                      <a:lnTo>
                        <a:pt x="894" y="1818"/>
                      </a:lnTo>
                      <a:lnTo>
                        <a:pt x="914" y="1818"/>
                      </a:lnTo>
                      <a:lnTo>
                        <a:pt x="930" y="1830"/>
                      </a:lnTo>
                      <a:lnTo>
                        <a:pt x="942" y="1827"/>
                      </a:lnTo>
                      <a:lnTo>
                        <a:pt x="946" y="1818"/>
                      </a:lnTo>
                      <a:lnTo>
                        <a:pt x="965" y="1820"/>
                      </a:lnTo>
                      <a:lnTo>
                        <a:pt x="979" y="1830"/>
                      </a:lnTo>
                      <a:lnTo>
                        <a:pt x="1005" y="1829"/>
                      </a:lnTo>
                      <a:lnTo>
                        <a:pt x="1017" y="1817"/>
                      </a:lnTo>
                      <a:lnTo>
                        <a:pt x="1031" y="1821"/>
                      </a:lnTo>
                      <a:lnTo>
                        <a:pt x="1042" y="1820"/>
                      </a:lnTo>
                      <a:lnTo>
                        <a:pt x="1035" y="1827"/>
                      </a:lnTo>
                      <a:lnTo>
                        <a:pt x="1042" y="1837"/>
                      </a:lnTo>
                      <a:lnTo>
                        <a:pt x="1046" y="1832"/>
                      </a:lnTo>
                      <a:lnTo>
                        <a:pt x="1051" y="1827"/>
                      </a:lnTo>
                      <a:lnTo>
                        <a:pt x="1051" y="1815"/>
                      </a:lnTo>
                      <a:lnTo>
                        <a:pt x="1057" y="1820"/>
                      </a:lnTo>
                      <a:lnTo>
                        <a:pt x="1075" y="1814"/>
                      </a:lnTo>
                      <a:lnTo>
                        <a:pt x="1085" y="1818"/>
                      </a:lnTo>
                      <a:lnTo>
                        <a:pt x="1100" y="1818"/>
                      </a:lnTo>
                      <a:lnTo>
                        <a:pt x="1120" y="1809"/>
                      </a:lnTo>
                      <a:lnTo>
                        <a:pt x="1129" y="1811"/>
                      </a:lnTo>
                      <a:lnTo>
                        <a:pt x="1147" y="1806"/>
                      </a:lnTo>
                      <a:lnTo>
                        <a:pt x="1155" y="1803"/>
                      </a:lnTo>
                      <a:lnTo>
                        <a:pt x="1175" y="1806"/>
                      </a:lnTo>
                      <a:lnTo>
                        <a:pt x="1181" y="1812"/>
                      </a:lnTo>
                      <a:lnTo>
                        <a:pt x="1189" y="1807"/>
                      </a:lnTo>
                      <a:lnTo>
                        <a:pt x="1180" y="1791"/>
                      </a:lnTo>
                      <a:lnTo>
                        <a:pt x="1184" y="1784"/>
                      </a:lnTo>
                      <a:lnTo>
                        <a:pt x="1178" y="1758"/>
                      </a:lnTo>
                      <a:lnTo>
                        <a:pt x="1190" y="1752"/>
                      </a:lnTo>
                      <a:lnTo>
                        <a:pt x="1192" y="1761"/>
                      </a:lnTo>
                      <a:lnTo>
                        <a:pt x="1201" y="1771"/>
                      </a:lnTo>
                      <a:lnTo>
                        <a:pt x="1213" y="1774"/>
                      </a:lnTo>
                      <a:lnTo>
                        <a:pt x="1219" y="1774"/>
                      </a:lnTo>
                      <a:lnTo>
                        <a:pt x="1239" y="1757"/>
                      </a:lnTo>
                      <a:lnTo>
                        <a:pt x="1246" y="1755"/>
                      </a:lnTo>
                      <a:lnTo>
                        <a:pt x="1252" y="1761"/>
                      </a:lnTo>
                      <a:lnTo>
                        <a:pt x="1246" y="1772"/>
                      </a:lnTo>
                      <a:lnTo>
                        <a:pt x="1256" y="1784"/>
                      </a:lnTo>
                      <a:lnTo>
                        <a:pt x="1261" y="1783"/>
                      </a:lnTo>
                      <a:lnTo>
                        <a:pt x="1259" y="1772"/>
                      </a:lnTo>
                      <a:lnTo>
                        <a:pt x="1266" y="1767"/>
                      </a:lnTo>
                      <a:lnTo>
                        <a:pt x="1269" y="1760"/>
                      </a:lnTo>
                      <a:lnTo>
                        <a:pt x="1272" y="1741"/>
                      </a:lnTo>
                      <a:lnTo>
                        <a:pt x="1285" y="1740"/>
                      </a:lnTo>
                      <a:lnTo>
                        <a:pt x="1281" y="1734"/>
                      </a:lnTo>
                      <a:lnTo>
                        <a:pt x="1273" y="1732"/>
                      </a:lnTo>
                      <a:lnTo>
                        <a:pt x="1264" y="1717"/>
                      </a:lnTo>
                      <a:lnTo>
                        <a:pt x="1255" y="1704"/>
                      </a:lnTo>
                      <a:lnTo>
                        <a:pt x="1236" y="1677"/>
                      </a:lnTo>
                      <a:lnTo>
                        <a:pt x="1238" y="1661"/>
                      </a:lnTo>
                      <a:lnTo>
                        <a:pt x="1223" y="1638"/>
                      </a:lnTo>
                      <a:lnTo>
                        <a:pt x="1239" y="1614"/>
                      </a:lnTo>
                      <a:lnTo>
                        <a:pt x="1256" y="1609"/>
                      </a:lnTo>
                      <a:lnTo>
                        <a:pt x="1264" y="1595"/>
                      </a:lnTo>
                      <a:lnTo>
                        <a:pt x="1255" y="1591"/>
                      </a:lnTo>
                      <a:lnTo>
                        <a:pt x="1256" y="1578"/>
                      </a:lnTo>
                      <a:lnTo>
                        <a:pt x="1246" y="1560"/>
                      </a:lnTo>
                      <a:lnTo>
                        <a:pt x="1233" y="1561"/>
                      </a:lnTo>
                      <a:lnTo>
                        <a:pt x="1218" y="1545"/>
                      </a:lnTo>
                      <a:lnTo>
                        <a:pt x="1229" y="1525"/>
                      </a:lnTo>
                      <a:lnTo>
                        <a:pt x="1224" y="1518"/>
                      </a:lnTo>
                      <a:lnTo>
                        <a:pt x="1238" y="1489"/>
                      </a:lnTo>
                      <a:lnTo>
                        <a:pt x="1255" y="1505"/>
                      </a:lnTo>
                      <a:lnTo>
                        <a:pt x="1258" y="1486"/>
                      </a:lnTo>
                      <a:lnTo>
                        <a:pt x="1293" y="1455"/>
                      </a:lnTo>
                      <a:lnTo>
                        <a:pt x="1319" y="1455"/>
                      </a:lnTo>
                      <a:lnTo>
                        <a:pt x="1358" y="1474"/>
                      </a:lnTo>
                      <a:lnTo>
                        <a:pt x="1377" y="1485"/>
                      </a:lnTo>
                      <a:lnTo>
                        <a:pt x="1396" y="1474"/>
                      </a:lnTo>
                      <a:lnTo>
                        <a:pt x="1423" y="1472"/>
                      </a:lnTo>
                      <a:lnTo>
                        <a:pt x="1445" y="1488"/>
                      </a:lnTo>
                      <a:lnTo>
                        <a:pt x="1451" y="1478"/>
                      </a:lnTo>
                      <a:lnTo>
                        <a:pt x="1474" y="1480"/>
                      </a:lnTo>
                      <a:lnTo>
                        <a:pt x="1479" y="1468"/>
                      </a:lnTo>
                      <a:lnTo>
                        <a:pt x="1451" y="1448"/>
                      </a:lnTo>
                      <a:lnTo>
                        <a:pt x="1453" y="1446"/>
                      </a:lnTo>
                      <a:lnTo>
                        <a:pt x="1451" y="1446"/>
                      </a:lnTo>
                      <a:lnTo>
                        <a:pt x="1446" y="1434"/>
                      </a:lnTo>
                      <a:lnTo>
                        <a:pt x="1436" y="1429"/>
                      </a:lnTo>
                      <a:lnTo>
                        <a:pt x="1434" y="1414"/>
                      </a:lnTo>
                      <a:lnTo>
                        <a:pt x="1442" y="1400"/>
                      </a:lnTo>
                      <a:lnTo>
                        <a:pt x="1450" y="1391"/>
                      </a:lnTo>
                      <a:lnTo>
                        <a:pt x="1445" y="1380"/>
                      </a:lnTo>
                      <a:lnTo>
                        <a:pt x="1434" y="1374"/>
                      </a:lnTo>
                      <a:lnTo>
                        <a:pt x="1422" y="1382"/>
                      </a:lnTo>
                      <a:lnTo>
                        <a:pt x="1411" y="1391"/>
                      </a:lnTo>
                      <a:lnTo>
                        <a:pt x="1399" y="1375"/>
                      </a:lnTo>
                      <a:lnTo>
                        <a:pt x="1393" y="1365"/>
                      </a:lnTo>
                      <a:lnTo>
                        <a:pt x="1384" y="1349"/>
                      </a:lnTo>
                      <a:lnTo>
                        <a:pt x="1404" y="1348"/>
                      </a:lnTo>
                      <a:lnTo>
                        <a:pt x="1419" y="1343"/>
                      </a:lnTo>
                      <a:lnTo>
                        <a:pt x="1430" y="1328"/>
                      </a:lnTo>
                      <a:lnTo>
                        <a:pt x="1427" y="1314"/>
                      </a:lnTo>
                      <a:lnTo>
                        <a:pt x="1414" y="1303"/>
                      </a:lnTo>
                      <a:lnTo>
                        <a:pt x="1417" y="1288"/>
                      </a:lnTo>
                      <a:lnTo>
                        <a:pt x="1431" y="1271"/>
                      </a:lnTo>
                      <a:lnTo>
                        <a:pt x="1442" y="1249"/>
                      </a:lnTo>
                      <a:lnTo>
                        <a:pt x="1453" y="1219"/>
                      </a:lnTo>
                      <a:lnTo>
                        <a:pt x="1460" y="1165"/>
                      </a:lnTo>
                      <a:lnTo>
                        <a:pt x="1473" y="1042"/>
                      </a:lnTo>
                      <a:lnTo>
                        <a:pt x="1505" y="1017"/>
                      </a:lnTo>
                      <a:lnTo>
                        <a:pt x="1534" y="983"/>
                      </a:lnTo>
                      <a:lnTo>
                        <a:pt x="1558" y="963"/>
                      </a:lnTo>
                      <a:lnTo>
                        <a:pt x="1581" y="940"/>
                      </a:lnTo>
                      <a:lnTo>
                        <a:pt x="1594" y="916"/>
                      </a:lnTo>
                      <a:lnTo>
                        <a:pt x="1588" y="870"/>
                      </a:lnTo>
                      <a:lnTo>
                        <a:pt x="1535" y="825"/>
                      </a:lnTo>
                      <a:close/>
                      <a:moveTo>
                        <a:pt x="569" y="1726"/>
                      </a:moveTo>
                      <a:lnTo>
                        <a:pt x="560" y="1724"/>
                      </a:lnTo>
                      <a:lnTo>
                        <a:pt x="563" y="1737"/>
                      </a:lnTo>
                      <a:lnTo>
                        <a:pt x="565" y="1764"/>
                      </a:lnTo>
                      <a:lnTo>
                        <a:pt x="571" y="1771"/>
                      </a:lnTo>
                      <a:lnTo>
                        <a:pt x="577" y="1763"/>
                      </a:lnTo>
                      <a:lnTo>
                        <a:pt x="584" y="1764"/>
                      </a:lnTo>
                      <a:lnTo>
                        <a:pt x="588" y="1735"/>
                      </a:lnTo>
                      <a:lnTo>
                        <a:pt x="577" y="1718"/>
                      </a:lnTo>
                      <a:lnTo>
                        <a:pt x="569" y="1726"/>
                      </a:lnTo>
                      <a:close/>
                      <a:moveTo>
                        <a:pt x="578" y="1715"/>
                      </a:moveTo>
                      <a:lnTo>
                        <a:pt x="583" y="1697"/>
                      </a:lnTo>
                      <a:lnTo>
                        <a:pt x="580" y="1677"/>
                      </a:lnTo>
                      <a:lnTo>
                        <a:pt x="569" y="1686"/>
                      </a:lnTo>
                      <a:lnTo>
                        <a:pt x="566" y="1695"/>
                      </a:lnTo>
                      <a:lnTo>
                        <a:pt x="569" y="1711"/>
                      </a:lnTo>
                      <a:lnTo>
                        <a:pt x="578" y="1715"/>
                      </a:lnTo>
                      <a:close/>
                      <a:moveTo>
                        <a:pt x="627" y="1366"/>
                      </a:moveTo>
                      <a:lnTo>
                        <a:pt x="637" y="1342"/>
                      </a:lnTo>
                      <a:lnTo>
                        <a:pt x="632" y="1326"/>
                      </a:lnTo>
                      <a:lnTo>
                        <a:pt x="606" y="1337"/>
                      </a:lnTo>
                      <a:lnTo>
                        <a:pt x="609" y="1349"/>
                      </a:lnTo>
                      <a:lnTo>
                        <a:pt x="627" y="1366"/>
                      </a:lnTo>
                      <a:close/>
                    </a:path>
                  </a:pathLst>
                </a:custGeom>
                <a:solidFill>
                  <a:schemeClr val="accent2">
                    <a:lumMod val="40000"/>
                    <a:lumOff val="60000"/>
                  </a:schemeClr>
                </a:solidFill>
                <a:ln w="4763"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1000"/>
                </a:p>
              </p:txBody>
            </p:sp>
            <p:sp>
              <p:nvSpPr>
                <p:cNvPr id="44" name="Oceania" descr="{&quot;Key&quot;:&quot;oceania&quot;,&quot;Name&quot;:&quot;Oceania&quot;,&quot;Value&quot;:1.0,&quot;Formula&quot;:&quot;&quot;,&quot;Text&quot;:&quot;1&quot;,&quot;HasValue&quot;:true}">
                  <a:extLst>
                    <a:ext uri="{FF2B5EF4-FFF2-40B4-BE49-F238E27FC236}">
                      <a16:creationId xmlns:a16="http://schemas.microsoft.com/office/drawing/2014/main" id="{935DFA72-5955-23D0-FCB8-F77F04BC1071}"/>
                    </a:ext>
                  </a:extLst>
                </p:cNvPr>
                <p:cNvSpPr>
                  <a:spLocks noEditPoints="1"/>
                </p:cNvSpPr>
                <p:nvPr/>
              </p:nvSpPr>
              <p:spPr bwMode="auto">
                <a:xfrm>
                  <a:off x="5789" y="2892"/>
                  <a:ext cx="1918" cy="945"/>
                </a:xfrm>
                <a:custGeom>
                  <a:avLst/>
                  <a:gdLst>
                    <a:gd name="T0" fmla="*/ 1695 w 1918"/>
                    <a:gd name="T1" fmla="*/ 230 h 945"/>
                    <a:gd name="T2" fmla="*/ 0 w 1918"/>
                    <a:gd name="T3" fmla="*/ 931 h 945"/>
                    <a:gd name="T4" fmla="*/ 1563 w 1918"/>
                    <a:gd name="T5" fmla="*/ 123 h 945"/>
                    <a:gd name="T6" fmla="*/ 1517 w 1918"/>
                    <a:gd name="T7" fmla="*/ 81 h 945"/>
                    <a:gd name="T8" fmla="*/ 1542 w 1918"/>
                    <a:gd name="T9" fmla="*/ 83 h 945"/>
                    <a:gd name="T10" fmla="*/ 1600 w 1918"/>
                    <a:gd name="T11" fmla="*/ 144 h 945"/>
                    <a:gd name="T12" fmla="*/ 1580 w 1918"/>
                    <a:gd name="T13" fmla="*/ 101 h 945"/>
                    <a:gd name="T14" fmla="*/ 1293 w 1918"/>
                    <a:gd name="T15" fmla="*/ 93 h 945"/>
                    <a:gd name="T16" fmla="*/ 1399 w 1918"/>
                    <a:gd name="T17" fmla="*/ 141 h 945"/>
                    <a:gd name="T18" fmla="*/ 1366 w 1918"/>
                    <a:gd name="T19" fmla="*/ 95 h 945"/>
                    <a:gd name="T20" fmla="*/ 1306 w 1918"/>
                    <a:gd name="T21" fmla="*/ 24 h 945"/>
                    <a:gd name="T22" fmla="*/ 1421 w 1918"/>
                    <a:gd name="T23" fmla="*/ 58 h 945"/>
                    <a:gd name="T24" fmla="*/ 1418 w 1918"/>
                    <a:gd name="T25" fmla="*/ 46 h 945"/>
                    <a:gd name="T26" fmla="*/ 1370 w 1918"/>
                    <a:gd name="T27" fmla="*/ 56 h 945"/>
                    <a:gd name="T28" fmla="*/ 1450 w 1918"/>
                    <a:gd name="T29" fmla="*/ 26 h 945"/>
                    <a:gd name="T30" fmla="*/ 1431 w 1918"/>
                    <a:gd name="T31" fmla="*/ 17 h 945"/>
                    <a:gd name="T32" fmla="*/ 1499 w 1918"/>
                    <a:gd name="T33" fmla="*/ 75 h 945"/>
                    <a:gd name="T34" fmla="*/ 1778 w 1918"/>
                    <a:gd name="T35" fmla="*/ 728 h 945"/>
                    <a:gd name="T36" fmla="*/ 1692 w 1918"/>
                    <a:gd name="T37" fmla="*/ 827 h 945"/>
                    <a:gd name="T38" fmla="*/ 1763 w 1918"/>
                    <a:gd name="T39" fmla="*/ 821 h 945"/>
                    <a:gd name="T40" fmla="*/ 1815 w 1918"/>
                    <a:gd name="T41" fmla="*/ 738 h 945"/>
                    <a:gd name="T42" fmla="*/ 1821 w 1918"/>
                    <a:gd name="T43" fmla="*/ 622 h 945"/>
                    <a:gd name="T44" fmla="*/ 1816 w 1918"/>
                    <a:gd name="T45" fmla="*/ 635 h 945"/>
                    <a:gd name="T46" fmla="*/ 1823 w 1918"/>
                    <a:gd name="T47" fmla="*/ 736 h 945"/>
                    <a:gd name="T48" fmla="*/ 1866 w 1918"/>
                    <a:gd name="T49" fmla="*/ 688 h 945"/>
                    <a:gd name="T50" fmla="*/ 1669 w 1918"/>
                    <a:gd name="T51" fmla="*/ 327 h 945"/>
                    <a:gd name="T52" fmla="*/ 1677 w 1918"/>
                    <a:gd name="T53" fmla="*/ 347 h 945"/>
                    <a:gd name="T54" fmla="*/ 1904 w 1918"/>
                    <a:gd name="T55" fmla="*/ 250 h 945"/>
                    <a:gd name="T56" fmla="*/ 1869 w 1918"/>
                    <a:gd name="T57" fmla="*/ 273 h 945"/>
                    <a:gd name="T58" fmla="*/ 1336 w 1918"/>
                    <a:gd name="T59" fmla="*/ 733 h 945"/>
                    <a:gd name="T60" fmla="*/ 1344 w 1918"/>
                    <a:gd name="T61" fmla="*/ 791 h 945"/>
                    <a:gd name="T62" fmla="*/ 1453 w 1918"/>
                    <a:gd name="T63" fmla="*/ 421 h 945"/>
                    <a:gd name="T64" fmla="*/ 1393 w 1918"/>
                    <a:gd name="T65" fmla="*/ 350 h 945"/>
                    <a:gd name="T66" fmla="*/ 1332 w 1918"/>
                    <a:gd name="T67" fmla="*/ 267 h 945"/>
                    <a:gd name="T68" fmla="*/ 1293 w 1918"/>
                    <a:gd name="T69" fmla="*/ 209 h 945"/>
                    <a:gd name="T70" fmla="*/ 1269 w 1918"/>
                    <a:gd name="T71" fmla="*/ 141 h 945"/>
                    <a:gd name="T72" fmla="*/ 1254 w 1918"/>
                    <a:gd name="T73" fmla="*/ 204 h 945"/>
                    <a:gd name="T74" fmla="*/ 1214 w 1918"/>
                    <a:gd name="T75" fmla="*/ 259 h 945"/>
                    <a:gd name="T76" fmla="*/ 1148 w 1918"/>
                    <a:gd name="T77" fmla="*/ 212 h 945"/>
                    <a:gd name="T78" fmla="*/ 1162 w 1918"/>
                    <a:gd name="T79" fmla="*/ 166 h 945"/>
                    <a:gd name="T80" fmla="*/ 1085 w 1918"/>
                    <a:gd name="T81" fmla="*/ 152 h 945"/>
                    <a:gd name="T82" fmla="*/ 1053 w 1918"/>
                    <a:gd name="T83" fmla="*/ 193 h 945"/>
                    <a:gd name="T84" fmla="*/ 988 w 1918"/>
                    <a:gd name="T85" fmla="*/ 201 h 945"/>
                    <a:gd name="T86" fmla="*/ 948 w 1918"/>
                    <a:gd name="T87" fmla="*/ 236 h 945"/>
                    <a:gd name="T88" fmla="*/ 910 w 1918"/>
                    <a:gd name="T89" fmla="*/ 284 h 945"/>
                    <a:gd name="T90" fmla="*/ 838 w 1918"/>
                    <a:gd name="T91" fmla="*/ 321 h 945"/>
                    <a:gd name="T92" fmla="*/ 775 w 1918"/>
                    <a:gd name="T93" fmla="*/ 353 h 945"/>
                    <a:gd name="T94" fmla="*/ 783 w 1918"/>
                    <a:gd name="T95" fmla="*/ 424 h 945"/>
                    <a:gd name="T96" fmla="*/ 790 w 1918"/>
                    <a:gd name="T97" fmla="*/ 467 h 945"/>
                    <a:gd name="T98" fmla="*/ 809 w 1918"/>
                    <a:gd name="T99" fmla="*/ 562 h 945"/>
                    <a:gd name="T100" fmla="*/ 856 w 1918"/>
                    <a:gd name="T101" fmla="*/ 593 h 945"/>
                    <a:gd name="T102" fmla="*/ 945 w 1918"/>
                    <a:gd name="T103" fmla="*/ 576 h 945"/>
                    <a:gd name="T104" fmla="*/ 1077 w 1918"/>
                    <a:gd name="T105" fmla="*/ 527 h 945"/>
                    <a:gd name="T106" fmla="*/ 1157 w 1918"/>
                    <a:gd name="T107" fmla="*/ 596 h 945"/>
                    <a:gd name="T108" fmla="*/ 1188 w 1918"/>
                    <a:gd name="T109" fmla="*/ 601 h 945"/>
                    <a:gd name="T110" fmla="*/ 1237 w 1918"/>
                    <a:gd name="T111" fmla="*/ 662 h 945"/>
                    <a:gd name="T112" fmla="*/ 1321 w 1918"/>
                    <a:gd name="T113" fmla="*/ 676 h 945"/>
                    <a:gd name="T114" fmla="*/ 1399 w 1918"/>
                    <a:gd name="T115" fmla="*/ 628 h 945"/>
                    <a:gd name="T116" fmla="*/ 1451 w 1918"/>
                    <a:gd name="T117" fmla="*/ 515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18" h="945">
                      <a:moveTo>
                        <a:pt x="1694" y="233"/>
                      </a:moveTo>
                      <a:lnTo>
                        <a:pt x="1705" y="244"/>
                      </a:lnTo>
                      <a:lnTo>
                        <a:pt x="1700" y="246"/>
                      </a:lnTo>
                      <a:lnTo>
                        <a:pt x="1694" y="238"/>
                      </a:lnTo>
                      <a:lnTo>
                        <a:pt x="1694" y="233"/>
                      </a:lnTo>
                      <a:close/>
                      <a:moveTo>
                        <a:pt x="1688" y="229"/>
                      </a:moveTo>
                      <a:lnTo>
                        <a:pt x="1691" y="229"/>
                      </a:lnTo>
                      <a:lnTo>
                        <a:pt x="1695" y="230"/>
                      </a:lnTo>
                      <a:lnTo>
                        <a:pt x="1692" y="216"/>
                      </a:lnTo>
                      <a:lnTo>
                        <a:pt x="1685" y="210"/>
                      </a:lnTo>
                      <a:lnTo>
                        <a:pt x="1685" y="224"/>
                      </a:lnTo>
                      <a:lnTo>
                        <a:pt x="1688" y="229"/>
                      </a:lnTo>
                      <a:close/>
                      <a:moveTo>
                        <a:pt x="14" y="922"/>
                      </a:moveTo>
                      <a:lnTo>
                        <a:pt x="3" y="914"/>
                      </a:lnTo>
                      <a:lnTo>
                        <a:pt x="2" y="920"/>
                      </a:lnTo>
                      <a:lnTo>
                        <a:pt x="0" y="931"/>
                      </a:lnTo>
                      <a:lnTo>
                        <a:pt x="0" y="945"/>
                      </a:lnTo>
                      <a:lnTo>
                        <a:pt x="26" y="943"/>
                      </a:lnTo>
                      <a:lnTo>
                        <a:pt x="31" y="931"/>
                      </a:lnTo>
                      <a:lnTo>
                        <a:pt x="31" y="927"/>
                      </a:lnTo>
                      <a:lnTo>
                        <a:pt x="14" y="922"/>
                      </a:lnTo>
                      <a:close/>
                      <a:moveTo>
                        <a:pt x="1577" y="120"/>
                      </a:moveTo>
                      <a:lnTo>
                        <a:pt x="1565" y="116"/>
                      </a:lnTo>
                      <a:lnTo>
                        <a:pt x="1563" y="123"/>
                      </a:lnTo>
                      <a:lnTo>
                        <a:pt x="1568" y="126"/>
                      </a:lnTo>
                      <a:lnTo>
                        <a:pt x="1579" y="127"/>
                      </a:lnTo>
                      <a:lnTo>
                        <a:pt x="1585" y="127"/>
                      </a:lnTo>
                      <a:lnTo>
                        <a:pt x="1582" y="123"/>
                      </a:lnTo>
                      <a:lnTo>
                        <a:pt x="1577" y="120"/>
                      </a:lnTo>
                      <a:close/>
                      <a:moveTo>
                        <a:pt x="1511" y="70"/>
                      </a:moveTo>
                      <a:lnTo>
                        <a:pt x="1510" y="73"/>
                      </a:lnTo>
                      <a:lnTo>
                        <a:pt x="1517" y="81"/>
                      </a:lnTo>
                      <a:lnTo>
                        <a:pt x="1525" y="84"/>
                      </a:lnTo>
                      <a:lnTo>
                        <a:pt x="1528" y="84"/>
                      </a:lnTo>
                      <a:lnTo>
                        <a:pt x="1520" y="78"/>
                      </a:lnTo>
                      <a:lnTo>
                        <a:pt x="1511" y="70"/>
                      </a:lnTo>
                      <a:close/>
                      <a:moveTo>
                        <a:pt x="1568" y="101"/>
                      </a:moveTo>
                      <a:lnTo>
                        <a:pt x="1563" y="95"/>
                      </a:lnTo>
                      <a:lnTo>
                        <a:pt x="1550" y="87"/>
                      </a:lnTo>
                      <a:lnTo>
                        <a:pt x="1542" y="83"/>
                      </a:lnTo>
                      <a:lnTo>
                        <a:pt x="1539" y="86"/>
                      </a:lnTo>
                      <a:lnTo>
                        <a:pt x="1547" y="90"/>
                      </a:lnTo>
                      <a:lnTo>
                        <a:pt x="1556" y="96"/>
                      </a:lnTo>
                      <a:lnTo>
                        <a:pt x="1570" y="104"/>
                      </a:lnTo>
                      <a:lnTo>
                        <a:pt x="1568" y="101"/>
                      </a:lnTo>
                      <a:close/>
                      <a:moveTo>
                        <a:pt x="1603" y="138"/>
                      </a:moveTo>
                      <a:lnTo>
                        <a:pt x="1593" y="133"/>
                      </a:lnTo>
                      <a:lnTo>
                        <a:pt x="1600" y="144"/>
                      </a:lnTo>
                      <a:lnTo>
                        <a:pt x="1611" y="144"/>
                      </a:lnTo>
                      <a:lnTo>
                        <a:pt x="1606" y="138"/>
                      </a:lnTo>
                      <a:lnTo>
                        <a:pt x="1603" y="138"/>
                      </a:lnTo>
                      <a:close/>
                      <a:moveTo>
                        <a:pt x="1597" y="126"/>
                      </a:moveTo>
                      <a:lnTo>
                        <a:pt x="1599" y="123"/>
                      </a:lnTo>
                      <a:lnTo>
                        <a:pt x="1593" y="115"/>
                      </a:lnTo>
                      <a:lnTo>
                        <a:pt x="1586" y="101"/>
                      </a:lnTo>
                      <a:lnTo>
                        <a:pt x="1580" y="101"/>
                      </a:lnTo>
                      <a:lnTo>
                        <a:pt x="1583" y="110"/>
                      </a:lnTo>
                      <a:lnTo>
                        <a:pt x="1597" y="126"/>
                      </a:lnTo>
                      <a:close/>
                      <a:moveTo>
                        <a:pt x="1244" y="115"/>
                      </a:moveTo>
                      <a:lnTo>
                        <a:pt x="1261" y="115"/>
                      </a:lnTo>
                      <a:lnTo>
                        <a:pt x="1272" y="118"/>
                      </a:lnTo>
                      <a:lnTo>
                        <a:pt x="1284" y="112"/>
                      </a:lnTo>
                      <a:lnTo>
                        <a:pt x="1283" y="100"/>
                      </a:lnTo>
                      <a:lnTo>
                        <a:pt x="1293" y="93"/>
                      </a:lnTo>
                      <a:lnTo>
                        <a:pt x="1307" y="89"/>
                      </a:lnTo>
                      <a:lnTo>
                        <a:pt x="1330" y="96"/>
                      </a:lnTo>
                      <a:lnTo>
                        <a:pt x="1339" y="112"/>
                      </a:lnTo>
                      <a:lnTo>
                        <a:pt x="1349" y="121"/>
                      </a:lnTo>
                      <a:lnTo>
                        <a:pt x="1362" y="132"/>
                      </a:lnTo>
                      <a:lnTo>
                        <a:pt x="1379" y="135"/>
                      </a:lnTo>
                      <a:lnTo>
                        <a:pt x="1395" y="136"/>
                      </a:lnTo>
                      <a:lnTo>
                        <a:pt x="1399" y="141"/>
                      </a:lnTo>
                      <a:lnTo>
                        <a:pt x="1410" y="140"/>
                      </a:lnTo>
                      <a:lnTo>
                        <a:pt x="1412" y="135"/>
                      </a:lnTo>
                      <a:lnTo>
                        <a:pt x="1393" y="127"/>
                      </a:lnTo>
                      <a:lnTo>
                        <a:pt x="1399" y="124"/>
                      </a:lnTo>
                      <a:lnTo>
                        <a:pt x="1385" y="121"/>
                      </a:lnTo>
                      <a:lnTo>
                        <a:pt x="1387" y="113"/>
                      </a:lnTo>
                      <a:lnTo>
                        <a:pt x="1376" y="113"/>
                      </a:lnTo>
                      <a:lnTo>
                        <a:pt x="1366" y="95"/>
                      </a:lnTo>
                      <a:lnTo>
                        <a:pt x="1350" y="84"/>
                      </a:lnTo>
                      <a:lnTo>
                        <a:pt x="1346" y="73"/>
                      </a:lnTo>
                      <a:lnTo>
                        <a:pt x="1362" y="70"/>
                      </a:lnTo>
                      <a:lnTo>
                        <a:pt x="1358" y="61"/>
                      </a:lnTo>
                      <a:lnTo>
                        <a:pt x="1329" y="50"/>
                      </a:lnTo>
                      <a:lnTo>
                        <a:pt x="1327" y="41"/>
                      </a:lnTo>
                      <a:lnTo>
                        <a:pt x="1316" y="32"/>
                      </a:lnTo>
                      <a:lnTo>
                        <a:pt x="1306" y="24"/>
                      </a:lnTo>
                      <a:lnTo>
                        <a:pt x="1274" y="13"/>
                      </a:lnTo>
                      <a:lnTo>
                        <a:pt x="1243" y="1"/>
                      </a:lnTo>
                      <a:lnTo>
                        <a:pt x="1244" y="58"/>
                      </a:lnTo>
                      <a:lnTo>
                        <a:pt x="1244" y="115"/>
                      </a:lnTo>
                      <a:close/>
                      <a:moveTo>
                        <a:pt x="1393" y="66"/>
                      </a:moveTo>
                      <a:lnTo>
                        <a:pt x="1402" y="66"/>
                      </a:lnTo>
                      <a:lnTo>
                        <a:pt x="1412" y="61"/>
                      </a:lnTo>
                      <a:lnTo>
                        <a:pt x="1421" y="58"/>
                      </a:lnTo>
                      <a:lnTo>
                        <a:pt x="1424" y="53"/>
                      </a:lnTo>
                      <a:lnTo>
                        <a:pt x="1433" y="52"/>
                      </a:lnTo>
                      <a:lnTo>
                        <a:pt x="1438" y="41"/>
                      </a:lnTo>
                      <a:lnTo>
                        <a:pt x="1439" y="32"/>
                      </a:lnTo>
                      <a:lnTo>
                        <a:pt x="1435" y="29"/>
                      </a:lnTo>
                      <a:lnTo>
                        <a:pt x="1425" y="29"/>
                      </a:lnTo>
                      <a:lnTo>
                        <a:pt x="1427" y="40"/>
                      </a:lnTo>
                      <a:lnTo>
                        <a:pt x="1418" y="46"/>
                      </a:lnTo>
                      <a:lnTo>
                        <a:pt x="1412" y="50"/>
                      </a:lnTo>
                      <a:lnTo>
                        <a:pt x="1402" y="52"/>
                      </a:lnTo>
                      <a:lnTo>
                        <a:pt x="1401" y="43"/>
                      </a:lnTo>
                      <a:lnTo>
                        <a:pt x="1398" y="44"/>
                      </a:lnTo>
                      <a:lnTo>
                        <a:pt x="1396" y="52"/>
                      </a:lnTo>
                      <a:lnTo>
                        <a:pt x="1385" y="53"/>
                      </a:lnTo>
                      <a:lnTo>
                        <a:pt x="1370" y="50"/>
                      </a:lnTo>
                      <a:lnTo>
                        <a:pt x="1370" y="56"/>
                      </a:lnTo>
                      <a:lnTo>
                        <a:pt x="1379" y="61"/>
                      </a:lnTo>
                      <a:lnTo>
                        <a:pt x="1393" y="66"/>
                      </a:lnTo>
                      <a:close/>
                      <a:moveTo>
                        <a:pt x="1431" y="17"/>
                      </a:moveTo>
                      <a:lnTo>
                        <a:pt x="1439" y="23"/>
                      </a:lnTo>
                      <a:lnTo>
                        <a:pt x="1444" y="29"/>
                      </a:lnTo>
                      <a:lnTo>
                        <a:pt x="1447" y="40"/>
                      </a:lnTo>
                      <a:lnTo>
                        <a:pt x="1453" y="35"/>
                      </a:lnTo>
                      <a:lnTo>
                        <a:pt x="1450" y="26"/>
                      </a:lnTo>
                      <a:lnTo>
                        <a:pt x="1444" y="20"/>
                      </a:lnTo>
                      <a:lnTo>
                        <a:pt x="1436" y="13"/>
                      </a:lnTo>
                      <a:lnTo>
                        <a:pt x="1430" y="9"/>
                      </a:lnTo>
                      <a:lnTo>
                        <a:pt x="1424" y="6"/>
                      </a:lnTo>
                      <a:lnTo>
                        <a:pt x="1415" y="0"/>
                      </a:lnTo>
                      <a:lnTo>
                        <a:pt x="1410" y="4"/>
                      </a:lnTo>
                      <a:lnTo>
                        <a:pt x="1422" y="9"/>
                      </a:lnTo>
                      <a:lnTo>
                        <a:pt x="1431" y="17"/>
                      </a:lnTo>
                      <a:close/>
                      <a:moveTo>
                        <a:pt x="1485" y="53"/>
                      </a:moveTo>
                      <a:lnTo>
                        <a:pt x="1481" y="49"/>
                      </a:lnTo>
                      <a:lnTo>
                        <a:pt x="1479" y="44"/>
                      </a:lnTo>
                      <a:lnTo>
                        <a:pt x="1476" y="46"/>
                      </a:lnTo>
                      <a:lnTo>
                        <a:pt x="1479" y="58"/>
                      </a:lnTo>
                      <a:lnTo>
                        <a:pt x="1487" y="70"/>
                      </a:lnTo>
                      <a:lnTo>
                        <a:pt x="1494" y="76"/>
                      </a:lnTo>
                      <a:lnTo>
                        <a:pt x="1499" y="75"/>
                      </a:lnTo>
                      <a:lnTo>
                        <a:pt x="1502" y="70"/>
                      </a:lnTo>
                      <a:lnTo>
                        <a:pt x="1494" y="64"/>
                      </a:lnTo>
                      <a:lnTo>
                        <a:pt x="1485" y="53"/>
                      </a:lnTo>
                      <a:close/>
                      <a:moveTo>
                        <a:pt x="1810" y="728"/>
                      </a:moveTo>
                      <a:lnTo>
                        <a:pt x="1798" y="738"/>
                      </a:lnTo>
                      <a:lnTo>
                        <a:pt x="1795" y="728"/>
                      </a:lnTo>
                      <a:lnTo>
                        <a:pt x="1790" y="718"/>
                      </a:lnTo>
                      <a:lnTo>
                        <a:pt x="1778" y="728"/>
                      </a:lnTo>
                      <a:lnTo>
                        <a:pt x="1775" y="741"/>
                      </a:lnTo>
                      <a:lnTo>
                        <a:pt x="1769" y="747"/>
                      </a:lnTo>
                      <a:lnTo>
                        <a:pt x="1761" y="764"/>
                      </a:lnTo>
                      <a:lnTo>
                        <a:pt x="1752" y="776"/>
                      </a:lnTo>
                      <a:lnTo>
                        <a:pt x="1737" y="788"/>
                      </a:lnTo>
                      <a:lnTo>
                        <a:pt x="1724" y="797"/>
                      </a:lnTo>
                      <a:lnTo>
                        <a:pt x="1714" y="802"/>
                      </a:lnTo>
                      <a:lnTo>
                        <a:pt x="1692" y="827"/>
                      </a:lnTo>
                      <a:lnTo>
                        <a:pt x="1682" y="844"/>
                      </a:lnTo>
                      <a:lnTo>
                        <a:pt x="1685" y="853"/>
                      </a:lnTo>
                      <a:lnTo>
                        <a:pt x="1705" y="854"/>
                      </a:lnTo>
                      <a:lnTo>
                        <a:pt x="1715" y="864"/>
                      </a:lnTo>
                      <a:lnTo>
                        <a:pt x="1731" y="864"/>
                      </a:lnTo>
                      <a:lnTo>
                        <a:pt x="1740" y="857"/>
                      </a:lnTo>
                      <a:lnTo>
                        <a:pt x="1754" y="845"/>
                      </a:lnTo>
                      <a:lnTo>
                        <a:pt x="1763" y="821"/>
                      </a:lnTo>
                      <a:lnTo>
                        <a:pt x="1767" y="805"/>
                      </a:lnTo>
                      <a:lnTo>
                        <a:pt x="1783" y="796"/>
                      </a:lnTo>
                      <a:lnTo>
                        <a:pt x="1795" y="796"/>
                      </a:lnTo>
                      <a:lnTo>
                        <a:pt x="1789" y="784"/>
                      </a:lnTo>
                      <a:lnTo>
                        <a:pt x="1798" y="774"/>
                      </a:lnTo>
                      <a:lnTo>
                        <a:pt x="1809" y="757"/>
                      </a:lnTo>
                      <a:lnTo>
                        <a:pt x="1815" y="747"/>
                      </a:lnTo>
                      <a:lnTo>
                        <a:pt x="1815" y="738"/>
                      </a:lnTo>
                      <a:lnTo>
                        <a:pt x="1810" y="728"/>
                      </a:lnTo>
                      <a:close/>
                      <a:moveTo>
                        <a:pt x="1870" y="662"/>
                      </a:moveTo>
                      <a:lnTo>
                        <a:pt x="1859" y="661"/>
                      </a:lnTo>
                      <a:lnTo>
                        <a:pt x="1844" y="653"/>
                      </a:lnTo>
                      <a:lnTo>
                        <a:pt x="1843" y="636"/>
                      </a:lnTo>
                      <a:lnTo>
                        <a:pt x="1835" y="631"/>
                      </a:lnTo>
                      <a:lnTo>
                        <a:pt x="1833" y="645"/>
                      </a:lnTo>
                      <a:lnTo>
                        <a:pt x="1821" y="622"/>
                      </a:lnTo>
                      <a:lnTo>
                        <a:pt x="1816" y="604"/>
                      </a:lnTo>
                      <a:lnTo>
                        <a:pt x="1803" y="599"/>
                      </a:lnTo>
                      <a:lnTo>
                        <a:pt x="1793" y="587"/>
                      </a:lnTo>
                      <a:lnTo>
                        <a:pt x="1787" y="588"/>
                      </a:lnTo>
                      <a:lnTo>
                        <a:pt x="1795" y="604"/>
                      </a:lnTo>
                      <a:lnTo>
                        <a:pt x="1809" y="622"/>
                      </a:lnTo>
                      <a:lnTo>
                        <a:pt x="1816" y="631"/>
                      </a:lnTo>
                      <a:lnTo>
                        <a:pt x="1816" y="635"/>
                      </a:lnTo>
                      <a:lnTo>
                        <a:pt x="1823" y="648"/>
                      </a:lnTo>
                      <a:lnTo>
                        <a:pt x="1824" y="664"/>
                      </a:lnTo>
                      <a:lnTo>
                        <a:pt x="1821" y="681"/>
                      </a:lnTo>
                      <a:lnTo>
                        <a:pt x="1809" y="688"/>
                      </a:lnTo>
                      <a:lnTo>
                        <a:pt x="1809" y="696"/>
                      </a:lnTo>
                      <a:lnTo>
                        <a:pt x="1827" y="705"/>
                      </a:lnTo>
                      <a:lnTo>
                        <a:pt x="1832" y="718"/>
                      </a:lnTo>
                      <a:lnTo>
                        <a:pt x="1823" y="736"/>
                      </a:lnTo>
                      <a:lnTo>
                        <a:pt x="1829" y="739"/>
                      </a:lnTo>
                      <a:lnTo>
                        <a:pt x="1832" y="745"/>
                      </a:lnTo>
                      <a:lnTo>
                        <a:pt x="1846" y="736"/>
                      </a:lnTo>
                      <a:lnTo>
                        <a:pt x="1855" y="721"/>
                      </a:lnTo>
                      <a:lnTo>
                        <a:pt x="1861" y="708"/>
                      </a:lnTo>
                      <a:lnTo>
                        <a:pt x="1864" y="704"/>
                      </a:lnTo>
                      <a:lnTo>
                        <a:pt x="1861" y="694"/>
                      </a:lnTo>
                      <a:lnTo>
                        <a:pt x="1866" y="688"/>
                      </a:lnTo>
                      <a:lnTo>
                        <a:pt x="1879" y="688"/>
                      </a:lnTo>
                      <a:lnTo>
                        <a:pt x="1884" y="674"/>
                      </a:lnTo>
                      <a:lnTo>
                        <a:pt x="1889" y="656"/>
                      </a:lnTo>
                      <a:lnTo>
                        <a:pt x="1879" y="653"/>
                      </a:lnTo>
                      <a:lnTo>
                        <a:pt x="1870" y="662"/>
                      </a:lnTo>
                      <a:close/>
                      <a:moveTo>
                        <a:pt x="1692" y="347"/>
                      </a:moveTo>
                      <a:lnTo>
                        <a:pt x="1683" y="338"/>
                      </a:lnTo>
                      <a:lnTo>
                        <a:pt x="1669" y="327"/>
                      </a:lnTo>
                      <a:lnTo>
                        <a:pt x="1665" y="322"/>
                      </a:lnTo>
                      <a:lnTo>
                        <a:pt x="1657" y="316"/>
                      </a:lnTo>
                      <a:lnTo>
                        <a:pt x="1646" y="309"/>
                      </a:lnTo>
                      <a:lnTo>
                        <a:pt x="1640" y="309"/>
                      </a:lnTo>
                      <a:lnTo>
                        <a:pt x="1642" y="315"/>
                      </a:lnTo>
                      <a:lnTo>
                        <a:pt x="1654" y="329"/>
                      </a:lnTo>
                      <a:lnTo>
                        <a:pt x="1665" y="338"/>
                      </a:lnTo>
                      <a:lnTo>
                        <a:pt x="1677" y="347"/>
                      </a:lnTo>
                      <a:lnTo>
                        <a:pt x="1686" y="352"/>
                      </a:lnTo>
                      <a:lnTo>
                        <a:pt x="1692" y="347"/>
                      </a:lnTo>
                      <a:close/>
                      <a:moveTo>
                        <a:pt x="1915" y="236"/>
                      </a:moveTo>
                      <a:lnTo>
                        <a:pt x="1904" y="243"/>
                      </a:lnTo>
                      <a:lnTo>
                        <a:pt x="1899" y="243"/>
                      </a:lnTo>
                      <a:lnTo>
                        <a:pt x="1890" y="247"/>
                      </a:lnTo>
                      <a:lnTo>
                        <a:pt x="1893" y="253"/>
                      </a:lnTo>
                      <a:lnTo>
                        <a:pt x="1904" y="250"/>
                      </a:lnTo>
                      <a:lnTo>
                        <a:pt x="1915" y="246"/>
                      </a:lnTo>
                      <a:lnTo>
                        <a:pt x="1916" y="244"/>
                      </a:lnTo>
                      <a:lnTo>
                        <a:pt x="1918" y="235"/>
                      </a:lnTo>
                      <a:lnTo>
                        <a:pt x="1915" y="236"/>
                      </a:lnTo>
                      <a:close/>
                      <a:moveTo>
                        <a:pt x="1882" y="262"/>
                      </a:moveTo>
                      <a:lnTo>
                        <a:pt x="1875" y="259"/>
                      </a:lnTo>
                      <a:lnTo>
                        <a:pt x="1867" y="266"/>
                      </a:lnTo>
                      <a:lnTo>
                        <a:pt x="1869" y="273"/>
                      </a:lnTo>
                      <a:lnTo>
                        <a:pt x="1879" y="276"/>
                      </a:lnTo>
                      <a:lnTo>
                        <a:pt x="1890" y="273"/>
                      </a:lnTo>
                      <a:lnTo>
                        <a:pt x="1892" y="264"/>
                      </a:lnTo>
                      <a:lnTo>
                        <a:pt x="1887" y="259"/>
                      </a:lnTo>
                      <a:lnTo>
                        <a:pt x="1882" y="262"/>
                      </a:lnTo>
                      <a:close/>
                      <a:moveTo>
                        <a:pt x="1358" y="725"/>
                      </a:moveTo>
                      <a:lnTo>
                        <a:pt x="1346" y="730"/>
                      </a:lnTo>
                      <a:lnTo>
                        <a:pt x="1336" y="733"/>
                      </a:lnTo>
                      <a:lnTo>
                        <a:pt x="1320" y="725"/>
                      </a:lnTo>
                      <a:lnTo>
                        <a:pt x="1307" y="722"/>
                      </a:lnTo>
                      <a:lnTo>
                        <a:pt x="1307" y="733"/>
                      </a:lnTo>
                      <a:lnTo>
                        <a:pt x="1318" y="753"/>
                      </a:lnTo>
                      <a:lnTo>
                        <a:pt x="1320" y="768"/>
                      </a:lnTo>
                      <a:lnTo>
                        <a:pt x="1330" y="788"/>
                      </a:lnTo>
                      <a:lnTo>
                        <a:pt x="1341" y="790"/>
                      </a:lnTo>
                      <a:lnTo>
                        <a:pt x="1344" y="791"/>
                      </a:lnTo>
                      <a:lnTo>
                        <a:pt x="1356" y="774"/>
                      </a:lnTo>
                      <a:lnTo>
                        <a:pt x="1362" y="781"/>
                      </a:lnTo>
                      <a:lnTo>
                        <a:pt x="1364" y="762"/>
                      </a:lnTo>
                      <a:lnTo>
                        <a:pt x="1370" y="754"/>
                      </a:lnTo>
                      <a:lnTo>
                        <a:pt x="1369" y="727"/>
                      </a:lnTo>
                      <a:lnTo>
                        <a:pt x="1358" y="725"/>
                      </a:lnTo>
                      <a:close/>
                      <a:moveTo>
                        <a:pt x="1453" y="432"/>
                      </a:moveTo>
                      <a:lnTo>
                        <a:pt x="1453" y="421"/>
                      </a:lnTo>
                      <a:lnTo>
                        <a:pt x="1447" y="405"/>
                      </a:lnTo>
                      <a:lnTo>
                        <a:pt x="1435" y="390"/>
                      </a:lnTo>
                      <a:lnTo>
                        <a:pt x="1425" y="382"/>
                      </a:lnTo>
                      <a:lnTo>
                        <a:pt x="1413" y="372"/>
                      </a:lnTo>
                      <a:lnTo>
                        <a:pt x="1412" y="352"/>
                      </a:lnTo>
                      <a:lnTo>
                        <a:pt x="1407" y="355"/>
                      </a:lnTo>
                      <a:lnTo>
                        <a:pt x="1399" y="346"/>
                      </a:lnTo>
                      <a:lnTo>
                        <a:pt x="1393" y="350"/>
                      </a:lnTo>
                      <a:lnTo>
                        <a:pt x="1385" y="330"/>
                      </a:lnTo>
                      <a:lnTo>
                        <a:pt x="1376" y="319"/>
                      </a:lnTo>
                      <a:lnTo>
                        <a:pt x="1378" y="315"/>
                      </a:lnTo>
                      <a:lnTo>
                        <a:pt x="1367" y="307"/>
                      </a:lnTo>
                      <a:lnTo>
                        <a:pt x="1355" y="298"/>
                      </a:lnTo>
                      <a:lnTo>
                        <a:pt x="1336" y="289"/>
                      </a:lnTo>
                      <a:lnTo>
                        <a:pt x="1330" y="276"/>
                      </a:lnTo>
                      <a:lnTo>
                        <a:pt x="1332" y="267"/>
                      </a:lnTo>
                      <a:lnTo>
                        <a:pt x="1327" y="252"/>
                      </a:lnTo>
                      <a:lnTo>
                        <a:pt x="1323" y="249"/>
                      </a:lnTo>
                      <a:lnTo>
                        <a:pt x="1321" y="239"/>
                      </a:lnTo>
                      <a:lnTo>
                        <a:pt x="1316" y="226"/>
                      </a:lnTo>
                      <a:lnTo>
                        <a:pt x="1318" y="216"/>
                      </a:lnTo>
                      <a:lnTo>
                        <a:pt x="1310" y="210"/>
                      </a:lnTo>
                      <a:lnTo>
                        <a:pt x="1304" y="203"/>
                      </a:lnTo>
                      <a:lnTo>
                        <a:pt x="1293" y="209"/>
                      </a:lnTo>
                      <a:lnTo>
                        <a:pt x="1287" y="195"/>
                      </a:lnTo>
                      <a:lnTo>
                        <a:pt x="1287" y="189"/>
                      </a:lnTo>
                      <a:lnTo>
                        <a:pt x="1287" y="179"/>
                      </a:lnTo>
                      <a:lnTo>
                        <a:pt x="1281" y="170"/>
                      </a:lnTo>
                      <a:lnTo>
                        <a:pt x="1280" y="163"/>
                      </a:lnTo>
                      <a:lnTo>
                        <a:pt x="1275" y="161"/>
                      </a:lnTo>
                      <a:lnTo>
                        <a:pt x="1275" y="150"/>
                      </a:lnTo>
                      <a:lnTo>
                        <a:pt x="1269" y="141"/>
                      </a:lnTo>
                      <a:lnTo>
                        <a:pt x="1263" y="147"/>
                      </a:lnTo>
                      <a:lnTo>
                        <a:pt x="1263" y="153"/>
                      </a:lnTo>
                      <a:lnTo>
                        <a:pt x="1260" y="163"/>
                      </a:lnTo>
                      <a:lnTo>
                        <a:pt x="1255" y="172"/>
                      </a:lnTo>
                      <a:lnTo>
                        <a:pt x="1258" y="178"/>
                      </a:lnTo>
                      <a:lnTo>
                        <a:pt x="1255" y="181"/>
                      </a:lnTo>
                      <a:lnTo>
                        <a:pt x="1252" y="195"/>
                      </a:lnTo>
                      <a:lnTo>
                        <a:pt x="1254" y="204"/>
                      </a:lnTo>
                      <a:lnTo>
                        <a:pt x="1254" y="210"/>
                      </a:lnTo>
                      <a:lnTo>
                        <a:pt x="1255" y="218"/>
                      </a:lnTo>
                      <a:lnTo>
                        <a:pt x="1250" y="232"/>
                      </a:lnTo>
                      <a:lnTo>
                        <a:pt x="1247" y="243"/>
                      </a:lnTo>
                      <a:lnTo>
                        <a:pt x="1244" y="250"/>
                      </a:lnTo>
                      <a:lnTo>
                        <a:pt x="1241" y="259"/>
                      </a:lnTo>
                      <a:lnTo>
                        <a:pt x="1231" y="266"/>
                      </a:lnTo>
                      <a:lnTo>
                        <a:pt x="1214" y="259"/>
                      </a:lnTo>
                      <a:lnTo>
                        <a:pt x="1211" y="255"/>
                      </a:lnTo>
                      <a:lnTo>
                        <a:pt x="1201" y="250"/>
                      </a:lnTo>
                      <a:lnTo>
                        <a:pt x="1197" y="250"/>
                      </a:lnTo>
                      <a:lnTo>
                        <a:pt x="1185" y="239"/>
                      </a:lnTo>
                      <a:lnTo>
                        <a:pt x="1175" y="233"/>
                      </a:lnTo>
                      <a:lnTo>
                        <a:pt x="1163" y="227"/>
                      </a:lnTo>
                      <a:lnTo>
                        <a:pt x="1149" y="218"/>
                      </a:lnTo>
                      <a:lnTo>
                        <a:pt x="1148" y="212"/>
                      </a:lnTo>
                      <a:lnTo>
                        <a:pt x="1154" y="204"/>
                      </a:lnTo>
                      <a:lnTo>
                        <a:pt x="1158" y="195"/>
                      </a:lnTo>
                      <a:lnTo>
                        <a:pt x="1157" y="187"/>
                      </a:lnTo>
                      <a:lnTo>
                        <a:pt x="1163" y="187"/>
                      </a:lnTo>
                      <a:lnTo>
                        <a:pt x="1169" y="179"/>
                      </a:lnTo>
                      <a:lnTo>
                        <a:pt x="1174" y="170"/>
                      </a:lnTo>
                      <a:lnTo>
                        <a:pt x="1166" y="163"/>
                      </a:lnTo>
                      <a:lnTo>
                        <a:pt x="1162" y="166"/>
                      </a:lnTo>
                      <a:lnTo>
                        <a:pt x="1155" y="164"/>
                      </a:lnTo>
                      <a:lnTo>
                        <a:pt x="1145" y="169"/>
                      </a:lnTo>
                      <a:lnTo>
                        <a:pt x="1134" y="163"/>
                      </a:lnTo>
                      <a:lnTo>
                        <a:pt x="1129" y="166"/>
                      </a:lnTo>
                      <a:lnTo>
                        <a:pt x="1116" y="161"/>
                      </a:lnTo>
                      <a:lnTo>
                        <a:pt x="1106" y="153"/>
                      </a:lnTo>
                      <a:lnTo>
                        <a:pt x="1094" y="149"/>
                      </a:lnTo>
                      <a:lnTo>
                        <a:pt x="1085" y="152"/>
                      </a:lnTo>
                      <a:lnTo>
                        <a:pt x="1099" y="158"/>
                      </a:lnTo>
                      <a:lnTo>
                        <a:pt x="1099" y="166"/>
                      </a:lnTo>
                      <a:lnTo>
                        <a:pt x="1083" y="170"/>
                      </a:lnTo>
                      <a:lnTo>
                        <a:pt x="1076" y="167"/>
                      </a:lnTo>
                      <a:lnTo>
                        <a:pt x="1065" y="173"/>
                      </a:lnTo>
                      <a:lnTo>
                        <a:pt x="1057" y="184"/>
                      </a:lnTo>
                      <a:lnTo>
                        <a:pt x="1060" y="189"/>
                      </a:lnTo>
                      <a:lnTo>
                        <a:pt x="1053" y="193"/>
                      </a:lnTo>
                      <a:lnTo>
                        <a:pt x="1043" y="207"/>
                      </a:lnTo>
                      <a:lnTo>
                        <a:pt x="1048" y="216"/>
                      </a:lnTo>
                      <a:lnTo>
                        <a:pt x="1037" y="215"/>
                      </a:lnTo>
                      <a:lnTo>
                        <a:pt x="1027" y="215"/>
                      </a:lnTo>
                      <a:lnTo>
                        <a:pt x="1016" y="204"/>
                      </a:lnTo>
                      <a:lnTo>
                        <a:pt x="1004" y="196"/>
                      </a:lnTo>
                      <a:lnTo>
                        <a:pt x="996" y="198"/>
                      </a:lnTo>
                      <a:lnTo>
                        <a:pt x="988" y="201"/>
                      </a:lnTo>
                      <a:lnTo>
                        <a:pt x="987" y="206"/>
                      </a:lnTo>
                      <a:lnTo>
                        <a:pt x="981" y="204"/>
                      </a:lnTo>
                      <a:lnTo>
                        <a:pt x="979" y="209"/>
                      </a:lnTo>
                      <a:lnTo>
                        <a:pt x="971" y="212"/>
                      </a:lnTo>
                      <a:lnTo>
                        <a:pt x="967" y="218"/>
                      </a:lnTo>
                      <a:lnTo>
                        <a:pt x="958" y="227"/>
                      </a:lnTo>
                      <a:lnTo>
                        <a:pt x="956" y="241"/>
                      </a:lnTo>
                      <a:lnTo>
                        <a:pt x="948" y="236"/>
                      </a:lnTo>
                      <a:lnTo>
                        <a:pt x="942" y="246"/>
                      </a:lnTo>
                      <a:lnTo>
                        <a:pt x="948" y="253"/>
                      </a:lnTo>
                      <a:lnTo>
                        <a:pt x="941" y="258"/>
                      </a:lnTo>
                      <a:lnTo>
                        <a:pt x="935" y="243"/>
                      </a:lnTo>
                      <a:lnTo>
                        <a:pt x="922" y="258"/>
                      </a:lnTo>
                      <a:lnTo>
                        <a:pt x="921" y="267"/>
                      </a:lnTo>
                      <a:lnTo>
                        <a:pt x="921" y="275"/>
                      </a:lnTo>
                      <a:lnTo>
                        <a:pt x="910" y="284"/>
                      </a:lnTo>
                      <a:lnTo>
                        <a:pt x="905" y="293"/>
                      </a:lnTo>
                      <a:lnTo>
                        <a:pt x="896" y="301"/>
                      </a:lnTo>
                      <a:lnTo>
                        <a:pt x="879" y="307"/>
                      </a:lnTo>
                      <a:lnTo>
                        <a:pt x="869" y="306"/>
                      </a:lnTo>
                      <a:lnTo>
                        <a:pt x="864" y="307"/>
                      </a:lnTo>
                      <a:lnTo>
                        <a:pt x="862" y="312"/>
                      </a:lnTo>
                      <a:lnTo>
                        <a:pt x="852" y="313"/>
                      </a:lnTo>
                      <a:lnTo>
                        <a:pt x="838" y="321"/>
                      </a:lnTo>
                      <a:lnTo>
                        <a:pt x="833" y="318"/>
                      </a:lnTo>
                      <a:lnTo>
                        <a:pt x="826" y="319"/>
                      </a:lnTo>
                      <a:lnTo>
                        <a:pt x="812" y="327"/>
                      </a:lnTo>
                      <a:lnTo>
                        <a:pt x="804" y="335"/>
                      </a:lnTo>
                      <a:lnTo>
                        <a:pt x="790" y="341"/>
                      </a:lnTo>
                      <a:lnTo>
                        <a:pt x="783" y="353"/>
                      </a:lnTo>
                      <a:lnTo>
                        <a:pt x="781" y="339"/>
                      </a:lnTo>
                      <a:lnTo>
                        <a:pt x="775" y="353"/>
                      </a:lnTo>
                      <a:lnTo>
                        <a:pt x="777" y="364"/>
                      </a:lnTo>
                      <a:lnTo>
                        <a:pt x="773" y="373"/>
                      </a:lnTo>
                      <a:lnTo>
                        <a:pt x="770" y="378"/>
                      </a:lnTo>
                      <a:lnTo>
                        <a:pt x="769" y="389"/>
                      </a:lnTo>
                      <a:lnTo>
                        <a:pt x="772" y="395"/>
                      </a:lnTo>
                      <a:lnTo>
                        <a:pt x="773" y="399"/>
                      </a:lnTo>
                      <a:lnTo>
                        <a:pt x="783" y="415"/>
                      </a:lnTo>
                      <a:lnTo>
                        <a:pt x="783" y="424"/>
                      </a:lnTo>
                      <a:lnTo>
                        <a:pt x="778" y="418"/>
                      </a:lnTo>
                      <a:lnTo>
                        <a:pt x="769" y="412"/>
                      </a:lnTo>
                      <a:lnTo>
                        <a:pt x="775" y="430"/>
                      </a:lnTo>
                      <a:lnTo>
                        <a:pt x="767" y="421"/>
                      </a:lnTo>
                      <a:lnTo>
                        <a:pt x="770" y="430"/>
                      </a:lnTo>
                      <a:lnTo>
                        <a:pt x="780" y="444"/>
                      </a:lnTo>
                      <a:lnTo>
                        <a:pt x="783" y="459"/>
                      </a:lnTo>
                      <a:lnTo>
                        <a:pt x="790" y="467"/>
                      </a:lnTo>
                      <a:lnTo>
                        <a:pt x="790" y="473"/>
                      </a:lnTo>
                      <a:lnTo>
                        <a:pt x="796" y="485"/>
                      </a:lnTo>
                      <a:lnTo>
                        <a:pt x="796" y="498"/>
                      </a:lnTo>
                      <a:lnTo>
                        <a:pt x="800" y="508"/>
                      </a:lnTo>
                      <a:lnTo>
                        <a:pt x="809" y="528"/>
                      </a:lnTo>
                      <a:lnTo>
                        <a:pt x="810" y="541"/>
                      </a:lnTo>
                      <a:lnTo>
                        <a:pt x="807" y="555"/>
                      </a:lnTo>
                      <a:lnTo>
                        <a:pt x="809" y="562"/>
                      </a:lnTo>
                      <a:lnTo>
                        <a:pt x="806" y="567"/>
                      </a:lnTo>
                      <a:lnTo>
                        <a:pt x="796" y="570"/>
                      </a:lnTo>
                      <a:lnTo>
                        <a:pt x="796" y="582"/>
                      </a:lnTo>
                      <a:lnTo>
                        <a:pt x="806" y="585"/>
                      </a:lnTo>
                      <a:lnTo>
                        <a:pt x="824" y="599"/>
                      </a:lnTo>
                      <a:lnTo>
                        <a:pt x="836" y="599"/>
                      </a:lnTo>
                      <a:lnTo>
                        <a:pt x="849" y="599"/>
                      </a:lnTo>
                      <a:lnTo>
                        <a:pt x="856" y="593"/>
                      </a:lnTo>
                      <a:lnTo>
                        <a:pt x="866" y="587"/>
                      </a:lnTo>
                      <a:lnTo>
                        <a:pt x="870" y="588"/>
                      </a:lnTo>
                      <a:lnTo>
                        <a:pt x="881" y="578"/>
                      </a:lnTo>
                      <a:lnTo>
                        <a:pt x="892" y="576"/>
                      </a:lnTo>
                      <a:lnTo>
                        <a:pt x="905" y="575"/>
                      </a:lnTo>
                      <a:lnTo>
                        <a:pt x="919" y="578"/>
                      </a:lnTo>
                      <a:lnTo>
                        <a:pt x="931" y="576"/>
                      </a:lnTo>
                      <a:lnTo>
                        <a:pt x="945" y="576"/>
                      </a:lnTo>
                      <a:lnTo>
                        <a:pt x="951" y="567"/>
                      </a:lnTo>
                      <a:lnTo>
                        <a:pt x="954" y="556"/>
                      </a:lnTo>
                      <a:lnTo>
                        <a:pt x="970" y="551"/>
                      </a:lnTo>
                      <a:lnTo>
                        <a:pt x="988" y="541"/>
                      </a:lnTo>
                      <a:lnTo>
                        <a:pt x="1005" y="542"/>
                      </a:lnTo>
                      <a:lnTo>
                        <a:pt x="1023" y="536"/>
                      </a:lnTo>
                      <a:lnTo>
                        <a:pt x="1046" y="528"/>
                      </a:lnTo>
                      <a:lnTo>
                        <a:pt x="1077" y="527"/>
                      </a:lnTo>
                      <a:lnTo>
                        <a:pt x="1094" y="536"/>
                      </a:lnTo>
                      <a:lnTo>
                        <a:pt x="1106" y="536"/>
                      </a:lnTo>
                      <a:lnTo>
                        <a:pt x="1128" y="548"/>
                      </a:lnTo>
                      <a:lnTo>
                        <a:pt x="1125" y="555"/>
                      </a:lnTo>
                      <a:lnTo>
                        <a:pt x="1134" y="562"/>
                      </a:lnTo>
                      <a:lnTo>
                        <a:pt x="1145" y="576"/>
                      </a:lnTo>
                      <a:lnTo>
                        <a:pt x="1145" y="587"/>
                      </a:lnTo>
                      <a:lnTo>
                        <a:pt x="1157" y="596"/>
                      </a:lnTo>
                      <a:lnTo>
                        <a:pt x="1165" y="579"/>
                      </a:lnTo>
                      <a:lnTo>
                        <a:pt x="1175" y="573"/>
                      </a:lnTo>
                      <a:lnTo>
                        <a:pt x="1189" y="555"/>
                      </a:lnTo>
                      <a:lnTo>
                        <a:pt x="1191" y="570"/>
                      </a:lnTo>
                      <a:lnTo>
                        <a:pt x="1183" y="581"/>
                      </a:lnTo>
                      <a:lnTo>
                        <a:pt x="1181" y="593"/>
                      </a:lnTo>
                      <a:lnTo>
                        <a:pt x="1172" y="604"/>
                      </a:lnTo>
                      <a:lnTo>
                        <a:pt x="1188" y="601"/>
                      </a:lnTo>
                      <a:lnTo>
                        <a:pt x="1195" y="585"/>
                      </a:lnTo>
                      <a:lnTo>
                        <a:pt x="1200" y="601"/>
                      </a:lnTo>
                      <a:lnTo>
                        <a:pt x="1194" y="611"/>
                      </a:lnTo>
                      <a:lnTo>
                        <a:pt x="1211" y="615"/>
                      </a:lnTo>
                      <a:lnTo>
                        <a:pt x="1220" y="622"/>
                      </a:lnTo>
                      <a:lnTo>
                        <a:pt x="1223" y="633"/>
                      </a:lnTo>
                      <a:lnTo>
                        <a:pt x="1226" y="650"/>
                      </a:lnTo>
                      <a:lnTo>
                        <a:pt x="1237" y="662"/>
                      </a:lnTo>
                      <a:lnTo>
                        <a:pt x="1254" y="670"/>
                      </a:lnTo>
                      <a:lnTo>
                        <a:pt x="1264" y="671"/>
                      </a:lnTo>
                      <a:lnTo>
                        <a:pt x="1274" y="674"/>
                      </a:lnTo>
                      <a:lnTo>
                        <a:pt x="1289" y="681"/>
                      </a:lnTo>
                      <a:lnTo>
                        <a:pt x="1304" y="664"/>
                      </a:lnTo>
                      <a:lnTo>
                        <a:pt x="1313" y="661"/>
                      </a:lnTo>
                      <a:lnTo>
                        <a:pt x="1310" y="671"/>
                      </a:lnTo>
                      <a:lnTo>
                        <a:pt x="1321" y="676"/>
                      </a:lnTo>
                      <a:lnTo>
                        <a:pt x="1335" y="685"/>
                      </a:lnTo>
                      <a:lnTo>
                        <a:pt x="1346" y="676"/>
                      </a:lnTo>
                      <a:lnTo>
                        <a:pt x="1353" y="667"/>
                      </a:lnTo>
                      <a:lnTo>
                        <a:pt x="1369" y="658"/>
                      </a:lnTo>
                      <a:lnTo>
                        <a:pt x="1389" y="658"/>
                      </a:lnTo>
                      <a:lnTo>
                        <a:pt x="1398" y="650"/>
                      </a:lnTo>
                      <a:lnTo>
                        <a:pt x="1398" y="644"/>
                      </a:lnTo>
                      <a:lnTo>
                        <a:pt x="1399" y="628"/>
                      </a:lnTo>
                      <a:lnTo>
                        <a:pt x="1404" y="613"/>
                      </a:lnTo>
                      <a:lnTo>
                        <a:pt x="1410" y="602"/>
                      </a:lnTo>
                      <a:lnTo>
                        <a:pt x="1416" y="584"/>
                      </a:lnTo>
                      <a:lnTo>
                        <a:pt x="1422" y="573"/>
                      </a:lnTo>
                      <a:lnTo>
                        <a:pt x="1428" y="558"/>
                      </a:lnTo>
                      <a:lnTo>
                        <a:pt x="1441" y="548"/>
                      </a:lnTo>
                      <a:lnTo>
                        <a:pt x="1448" y="530"/>
                      </a:lnTo>
                      <a:lnTo>
                        <a:pt x="1451" y="515"/>
                      </a:lnTo>
                      <a:lnTo>
                        <a:pt x="1451" y="504"/>
                      </a:lnTo>
                      <a:lnTo>
                        <a:pt x="1456" y="485"/>
                      </a:lnTo>
                      <a:lnTo>
                        <a:pt x="1459" y="476"/>
                      </a:lnTo>
                      <a:lnTo>
                        <a:pt x="1459" y="459"/>
                      </a:lnTo>
                      <a:lnTo>
                        <a:pt x="1451" y="442"/>
                      </a:lnTo>
                      <a:lnTo>
                        <a:pt x="1453" y="432"/>
                      </a:lnTo>
                      <a:close/>
                    </a:path>
                  </a:pathLst>
                </a:custGeom>
                <a:solidFill>
                  <a:schemeClr val="accent2">
                    <a:lumMod val="40000"/>
                    <a:lumOff val="60000"/>
                  </a:schemeClr>
                </a:solidFill>
                <a:ln w="4763"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1000"/>
                </a:p>
              </p:txBody>
            </p:sp>
            <p:sp>
              <p:nvSpPr>
                <p:cNvPr id="45" name="Africa" descr="{&quot;Key&quot;:&quot;africa&quot;,&quot;Name&quot;:&quot;Africa&quot;,&quot;Value&quot;:1.0,&quot;Formula&quot;:&quot;&quot;,&quot;Text&quot;:&quot;1&quot;,&quot;HasValue&quot;:true}">
                  <a:extLst>
                    <a:ext uri="{FF2B5EF4-FFF2-40B4-BE49-F238E27FC236}">
                      <a16:creationId xmlns:a16="http://schemas.microsoft.com/office/drawing/2014/main" id="{D069C6DE-0A42-C10D-FFE8-E1068C2EA4F0}"/>
                    </a:ext>
                  </a:extLst>
                </p:cNvPr>
                <p:cNvSpPr>
                  <a:spLocks noEditPoints="1"/>
                </p:cNvSpPr>
                <p:nvPr/>
              </p:nvSpPr>
              <p:spPr bwMode="auto">
                <a:xfrm>
                  <a:off x="4303" y="2158"/>
                  <a:ext cx="1184" cy="1329"/>
                </a:xfrm>
                <a:custGeom>
                  <a:avLst/>
                  <a:gdLst>
                    <a:gd name="T0" fmla="*/ 1146 w 1184"/>
                    <a:gd name="T1" fmla="*/ 495 h 1329"/>
                    <a:gd name="T2" fmla="*/ 1063 w 1184"/>
                    <a:gd name="T3" fmla="*/ 512 h 1329"/>
                    <a:gd name="T4" fmla="*/ 1045 w 1184"/>
                    <a:gd name="T5" fmla="*/ 472 h 1329"/>
                    <a:gd name="T6" fmla="*/ 974 w 1184"/>
                    <a:gd name="T7" fmla="*/ 399 h 1329"/>
                    <a:gd name="T8" fmla="*/ 939 w 1184"/>
                    <a:gd name="T9" fmla="*/ 305 h 1329"/>
                    <a:gd name="T10" fmla="*/ 891 w 1184"/>
                    <a:gd name="T11" fmla="*/ 228 h 1329"/>
                    <a:gd name="T12" fmla="*/ 887 w 1184"/>
                    <a:gd name="T13" fmla="*/ 199 h 1329"/>
                    <a:gd name="T14" fmla="*/ 871 w 1184"/>
                    <a:gd name="T15" fmla="*/ 133 h 1329"/>
                    <a:gd name="T16" fmla="*/ 801 w 1184"/>
                    <a:gd name="T17" fmla="*/ 136 h 1329"/>
                    <a:gd name="T18" fmla="*/ 710 w 1184"/>
                    <a:gd name="T19" fmla="*/ 108 h 1329"/>
                    <a:gd name="T20" fmla="*/ 649 w 1184"/>
                    <a:gd name="T21" fmla="*/ 133 h 1329"/>
                    <a:gd name="T22" fmla="*/ 543 w 1184"/>
                    <a:gd name="T23" fmla="*/ 97 h 1329"/>
                    <a:gd name="T24" fmla="*/ 479 w 1184"/>
                    <a:gd name="T25" fmla="*/ 65 h 1329"/>
                    <a:gd name="T26" fmla="*/ 479 w 1184"/>
                    <a:gd name="T27" fmla="*/ 14 h 1329"/>
                    <a:gd name="T28" fmla="*/ 396 w 1184"/>
                    <a:gd name="T29" fmla="*/ 14 h 1329"/>
                    <a:gd name="T30" fmla="*/ 267 w 1184"/>
                    <a:gd name="T31" fmla="*/ 46 h 1329"/>
                    <a:gd name="T32" fmla="*/ 186 w 1184"/>
                    <a:gd name="T33" fmla="*/ 70 h 1329"/>
                    <a:gd name="T34" fmla="*/ 124 w 1184"/>
                    <a:gd name="T35" fmla="*/ 169 h 1329"/>
                    <a:gd name="T36" fmla="*/ 55 w 1184"/>
                    <a:gd name="T37" fmla="*/ 225 h 1329"/>
                    <a:gd name="T38" fmla="*/ 25 w 1184"/>
                    <a:gd name="T39" fmla="*/ 292 h 1329"/>
                    <a:gd name="T40" fmla="*/ 22 w 1184"/>
                    <a:gd name="T41" fmla="*/ 349 h 1329"/>
                    <a:gd name="T42" fmla="*/ 8 w 1184"/>
                    <a:gd name="T43" fmla="*/ 434 h 1329"/>
                    <a:gd name="T44" fmla="*/ 23 w 1184"/>
                    <a:gd name="T45" fmla="*/ 486 h 1329"/>
                    <a:gd name="T46" fmla="*/ 54 w 1184"/>
                    <a:gd name="T47" fmla="*/ 515 h 1329"/>
                    <a:gd name="T48" fmla="*/ 91 w 1184"/>
                    <a:gd name="T49" fmla="*/ 568 h 1329"/>
                    <a:gd name="T50" fmla="*/ 172 w 1184"/>
                    <a:gd name="T51" fmla="*/ 617 h 1329"/>
                    <a:gd name="T52" fmla="*/ 255 w 1184"/>
                    <a:gd name="T53" fmla="*/ 606 h 1329"/>
                    <a:gd name="T54" fmla="*/ 365 w 1184"/>
                    <a:gd name="T55" fmla="*/ 585 h 1329"/>
                    <a:gd name="T56" fmla="*/ 433 w 1184"/>
                    <a:gd name="T57" fmla="*/ 617 h 1329"/>
                    <a:gd name="T58" fmla="*/ 469 w 1184"/>
                    <a:gd name="T59" fmla="*/ 652 h 1329"/>
                    <a:gd name="T60" fmla="*/ 466 w 1184"/>
                    <a:gd name="T61" fmla="*/ 729 h 1329"/>
                    <a:gd name="T62" fmla="*/ 523 w 1184"/>
                    <a:gd name="T63" fmla="*/ 810 h 1329"/>
                    <a:gd name="T64" fmla="*/ 540 w 1184"/>
                    <a:gd name="T65" fmla="*/ 877 h 1329"/>
                    <a:gd name="T66" fmla="*/ 512 w 1184"/>
                    <a:gd name="T67" fmla="*/ 949 h 1329"/>
                    <a:gd name="T68" fmla="*/ 534 w 1184"/>
                    <a:gd name="T69" fmla="*/ 1058 h 1329"/>
                    <a:gd name="T70" fmla="*/ 566 w 1184"/>
                    <a:gd name="T71" fmla="*/ 1173 h 1329"/>
                    <a:gd name="T72" fmla="*/ 618 w 1184"/>
                    <a:gd name="T73" fmla="*/ 1279 h 1329"/>
                    <a:gd name="T74" fmla="*/ 634 w 1184"/>
                    <a:gd name="T75" fmla="*/ 1321 h 1329"/>
                    <a:gd name="T76" fmla="*/ 710 w 1184"/>
                    <a:gd name="T77" fmla="*/ 1307 h 1329"/>
                    <a:gd name="T78" fmla="*/ 790 w 1184"/>
                    <a:gd name="T79" fmla="*/ 1287 h 1329"/>
                    <a:gd name="T80" fmla="*/ 858 w 1184"/>
                    <a:gd name="T81" fmla="*/ 1207 h 1329"/>
                    <a:gd name="T82" fmla="*/ 871 w 1184"/>
                    <a:gd name="T83" fmla="*/ 1141 h 1329"/>
                    <a:gd name="T84" fmla="*/ 916 w 1184"/>
                    <a:gd name="T85" fmla="*/ 1080 h 1329"/>
                    <a:gd name="T86" fmla="*/ 922 w 1184"/>
                    <a:gd name="T87" fmla="*/ 1021 h 1329"/>
                    <a:gd name="T88" fmla="*/ 1005 w 1184"/>
                    <a:gd name="T89" fmla="*/ 946 h 1329"/>
                    <a:gd name="T90" fmla="*/ 983 w 1184"/>
                    <a:gd name="T91" fmla="*/ 849 h 1329"/>
                    <a:gd name="T92" fmla="*/ 971 w 1184"/>
                    <a:gd name="T93" fmla="*/ 794 h 1329"/>
                    <a:gd name="T94" fmla="*/ 1008 w 1184"/>
                    <a:gd name="T95" fmla="*/ 727 h 1329"/>
                    <a:gd name="T96" fmla="*/ 1104 w 1184"/>
                    <a:gd name="T97" fmla="*/ 643 h 1329"/>
                    <a:gd name="T98" fmla="*/ 1183 w 1184"/>
                    <a:gd name="T99" fmla="*/ 508 h 1329"/>
                    <a:gd name="T100" fmla="*/ 1161 w 1184"/>
                    <a:gd name="T101" fmla="*/ 958 h 1329"/>
                    <a:gd name="T102" fmla="*/ 1140 w 1184"/>
                    <a:gd name="T103" fmla="*/ 1050 h 1329"/>
                    <a:gd name="T104" fmla="*/ 1062 w 1184"/>
                    <a:gd name="T105" fmla="*/ 1133 h 1329"/>
                    <a:gd name="T106" fmla="*/ 1058 w 1184"/>
                    <a:gd name="T107" fmla="*/ 1056 h 1329"/>
                    <a:gd name="T108" fmla="*/ 1069 w 1184"/>
                    <a:gd name="T109" fmla="*/ 973 h 1329"/>
                    <a:gd name="T110" fmla="*/ 1129 w 1184"/>
                    <a:gd name="T111" fmla="*/ 935 h 1329"/>
                    <a:gd name="T112" fmla="*/ 1161 w 1184"/>
                    <a:gd name="T113" fmla="*/ 913 h 1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84" h="1329">
                      <a:moveTo>
                        <a:pt x="1184" y="489"/>
                      </a:moveTo>
                      <a:lnTo>
                        <a:pt x="1183" y="485"/>
                      </a:lnTo>
                      <a:lnTo>
                        <a:pt x="1177" y="485"/>
                      </a:lnTo>
                      <a:lnTo>
                        <a:pt x="1169" y="489"/>
                      </a:lnTo>
                      <a:lnTo>
                        <a:pt x="1160" y="492"/>
                      </a:lnTo>
                      <a:lnTo>
                        <a:pt x="1152" y="494"/>
                      </a:lnTo>
                      <a:lnTo>
                        <a:pt x="1146" y="495"/>
                      </a:lnTo>
                      <a:lnTo>
                        <a:pt x="1137" y="495"/>
                      </a:lnTo>
                      <a:lnTo>
                        <a:pt x="1131" y="498"/>
                      </a:lnTo>
                      <a:lnTo>
                        <a:pt x="1121" y="500"/>
                      </a:lnTo>
                      <a:lnTo>
                        <a:pt x="1106" y="505"/>
                      </a:lnTo>
                      <a:lnTo>
                        <a:pt x="1088" y="508"/>
                      </a:lnTo>
                      <a:lnTo>
                        <a:pt x="1071" y="512"/>
                      </a:lnTo>
                      <a:lnTo>
                        <a:pt x="1063" y="512"/>
                      </a:lnTo>
                      <a:lnTo>
                        <a:pt x="1055" y="505"/>
                      </a:lnTo>
                      <a:lnTo>
                        <a:pt x="1052" y="497"/>
                      </a:lnTo>
                      <a:lnTo>
                        <a:pt x="1046" y="494"/>
                      </a:lnTo>
                      <a:lnTo>
                        <a:pt x="1039" y="489"/>
                      </a:lnTo>
                      <a:lnTo>
                        <a:pt x="1049" y="485"/>
                      </a:lnTo>
                      <a:lnTo>
                        <a:pt x="1049" y="477"/>
                      </a:lnTo>
                      <a:lnTo>
                        <a:pt x="1045" y="472"/>
                      </a:lnTo>
                      <a:lnTo>
                        <a:pt x="1037" y="468"/>
                      </a:lnTo>
                      <a:lnTo>
                        <a:pt x="1031" y="462"/>
                      </a:lnTo>
                      <a:lnTo>
                        <a:pt x="1022" y="451"/>
                      </a:lnTo>
                      <a:lnTo>
                        <a:pt x="1012" y="440"/>
                      </a:lnTo>
                      <a:lnTo>
                        <a:pt x="989" y="425"/>
                      </a:lnTo>
                      <a:lnTo>
                        <a:pt x="979" y="415"/>
                      </a:lnTo>
                      <a:lnTo>
                        <a:pt x="974" y="399"/>
                      </a:lnTo>
                      <a:lnTo>
                        <a:pt x="965" y="379"/>
                      </a:lnTo>
                      <a:lnTo>
                        <a:pt x="956" y="371"/>
                      </a:lnTo>
                      <a:lnTo>
                        <a:pt x="948" y="368"/>
                      </a:lnTo>
                      <a:lnTo>
                        <a:pt x="942" y="345"/>
                      </a:lnTo>
                      <a:lnTo>
                        <a:pt x="940" y="326"/>
                      </a:lnTo>
                      <a:lnTo>
                        <a:pt x="943" y="323"/>
                      </a:lnTo>
                      <a:lnTo>
                        <a:pt x="939" y="305"/>
                      </a:lnTo>
                      <a:lnTo>
                        <a:pt x="936" y="302"/>
                      </a:lnTo>
                      <a:lnTo>
                        <a:pt x="914" y="285"/>
                      </a:lnTo>
                      <a:lnTo>
                        <a:pt x="914" y="272"/>
                      </a:lnTo>
                      <a:lnTo>
                        <a:pt x="917" y="269"/>
                      </a:lnTo>
                      <a:lnTo>
                        <a:pt x="902" y="248"/>
                      </a:lnTo>
                      <a:lnTo>
                        <a:pt x="897" y="237"/>
                      </a:lnTo>
                      <a:lnTo>
                        <a:pt x="891" y="228"/>
                      </a:lnTo>
                      <a:lnTo>
                        <a:pt x="877" y="197"/>
                      </a:lnTo>
                      <a:lnTo>
                        <a:pt x="867" y="177"/>
                      </a:lnTo>
                      <a:lnTo>
                        <a:pt x="861" y="157"/>
                      </a:lnTo>
                      <a:lnTo>
                        <a:pt x="862" y="156"/>
                      </a:lnTo>
                      <a:lnTo>
                        <a:pt x="874" y="183"/>
                      </a:lnTo>
                      <a:lnTo>
                        <a:pt x="882" y="193"/>
                      </a:lnTo>
                      <a:lnTo>
                        <a:pt x="887" y="199"/>
                      </a:lnTo>
                      <a:lnTo>
                        <a:pt x="891" y="196"/>
                      </a:lnTo>
                      <a:lnTo>
                        <a:pt x="896" y="185"/>
                      </a:lnTo>
                      <a:lnTo>
                        <a:pt x="900" y="169"/>
                      </a:lnTo>
                      <a:lnTo>
                        <a:pt x="905" y="162"/>
                      </a:lnTo>
                      <a:lnTo>
                        <a:pt x="893" y="128"/>
                      </a:lnTo>
                      <a:lnTo>
                        <a:pt x="885" y="133"/>
                      </a:lnTo>
                      <a:lnTo>
                        <a:pt x="871" y="133"/>
                      </a:lnTo>
                      <a:lnTo>
                        <a:pt x="858" y="128"/>
                      </a:lnTo>
                      <a:lnTo>
                        <a:pt x="853" y="134"/>
                      </a:lnTo>
                      <a:lnTo>
                        <a:pt x="848" y="123"/>
                      </a:lnTo>
                      <a:lnTo>
                        <a:pt x="836" y="122"/>
                      </a:lnTo>
                      <a:lnTo>
                        <a:pt x="822" y="123"/>
                      </a:lnTo>
                      <a:lnTo>
                        <a:pt x="815" y="129"/>
                      </a:lnTo>
                      <a:lnTo>
                        <a:pt x="801" y="136"/>
                      </a:lnTo>
                      <a:lnTo>
                        <a:pt x="793" y="133"/>
                      </a:lnTo>
                      <a:lnTo>
                        <a:pt x="776" y="126"/>
                      </a:lnTo>
                      <a:lnTo>
                        <a:pt x="759" y="120"/>
                      </a:lnTo>
                      <a:lnTo>
                        <a:pt x="736" y="122"/>
                      </a:lnTo>
                      <a:lnTo>
                        <a:pt x="733" y="114"/>
                      </a:lnTo>
                      <a:lnTo>
                        <a:pt x="715" y="113"/>
                      </a:lnTo>
                      <a:lnTo>
                        <a:pt x="710" y="108"/>
                      </a:lnTo>
                      <a:lnTo>
                        <a:pt x="704" y="108"/>
                      </a:lnTo>
                      <a:lnTo>
                        <a:pt x="698" y="99"/>
                      </a:lnTo>
                      <a:lnTo>
                        <a:pt x="675" y="96"/>
                      </a:lnTo>
                      <a:lnTo>
                        <a:pt x="663" y="99"/>
                      </a:lnTo>
                      <a:lnTo>
                        <a:pt x="650" y="108"/>
                      </a:lnTo>
                      <a:lnTo>
                        <a:pt x="644" y="117"/>
                      </a:lnTo>
                      <a:lnTo>
                        <a:pt x="649" y="133"/>
                      </a:lnTo>
                      <a:lnTo>
                        <a:pt x="641" y="142"/>
                      </a:lnTo>
                      <a:lnTo>
                        <a:pt x="632" y="146"/>
                      </a:lnTo>
                      <a:lnTo>
                        <a:pt x="614" y="137"/>
                      </a:lnTo>
                      <a:lnTo>
                        <a:pt x="589" y="129"/>
                      </a:lnTo>
                      <a:lnTo>
                        <a:pt x="574" y="125"/>
                      </a:lnTo>
                      <a:lnTo>
                        <a:pt x="566" y="106"/>
                      </a:lnTo>
                      <a:lnTo>
                        <a:pt x="543" y="97"/>
                      </a:lnTo>
                      <a:lnTo>
                        <a:pt x="529" y="94"/>
                      </a:lnTo>
                      <a:lnTo>
                        <a:pt x="522" y="96"/>
                      </a:lnTo>
                      <a:lnTo>
                        <a:pt x="502" y="90"/>
                      </a:lnTo>
                      <a:lnTo>
                        <a:pt x="496" y="86"/>
                      </a:lnTo>
                      <a:lnTo>
                        <a:pt x="491" y="76"/>
                      </a:lnTo>
                      <a:lnTo>
                        <a:pt x="482" y="76"/>
                      </a:lnTo>
                      <a:lnTo>
                        <a:pt x="479" y="65"/>
                      </a:lnTo>
                      <a:lnTo>
                        <a:pt x="489" y="54"/>
                      </a:lnTo>
                      <a:lnTo>
                        <a:pt x="492" y="36"/>
                      </a:lnTo>
                      <a:lnTo>
                        <a:pt x="486" y="31"/>
                      </a:lnTo>
                      <a:lnTo>
                        <a:pt x="486" y="20"/>
                      </a:lnTo>
                      <a:lnTo>
                        <a:pt x="496" y="10"/>
                      </a:lnTo>
                      <a:lnTo>
                        <a:pt x="494" y="7"/>
                      </a:lnTo>
                      <a:lnTo>
                        <a:pt x="479" y="14"/>
                      </a:lnTo>
                      <a:lnTo>
                        <a:pt x="480" y="3"/>
                      </a:lnTo>
                      <a:lnTo>
                        <a:pt x="468" y="0"/>
                      </a:lnTo>
                      <a:lnTo>
                        <a:pt x="450" y="10"/>
                      </a:lnTo>
                      <a:lnTo>
                        <a:pt x="437" y="11"/>
                      </a:lnTo>
                      <a:lnTo>
                        <a:pt x="430" y="5"/>
                      </a:lnTo>
                      <a:lnTo>
                        <a:pt x="411" y="7"/>
                      </a:lnTo>
                      <a:lnTo>
                        <a:pt x="396" y="14"/>
                      </a:lnTo>
                      <a:lnTo>
                        <a:pt x="387" y="11"/>
                      </a:lnTo>
                      <a:lnTo>
                        <a:pt x="359" y="13"/>
                      </a:lnTo>
                      <a:lnTo>
                        <a:pt x="330" y="17"/>
                      </a:lnTo>
                      <a:lnTo>
                        <a:pt x="313" y="23"/>
                      </a:lnTo>
                      <a:lnTo>
                        <a:pt x="302" y="33"/>
                      </a:lnTo>
                      <a:lnTo>
                        <a:pt x="284" y="36"/>
                      </a:lnTo>
                      <a:lnTo>
                        <a:pt x="267" y="46"/>
                      </a:lnTo>
                      <a:lnTo>
                        <a:pt x="259" y="46"/>
                      </a:lnTo>
                      <a:lnTo>
                        <a:pt x="241" y="42"/>
                      </a:lnTo>
                      <a:lnTo>
                        <a:pt x="226" y="43"/>
                      </a:lnTo>
                      <a:lnTo>
                        <a:pt x="215" y="34"/>
                      </a:lnTo>
                      <a:lnTo>
                        <a:pt x="203" y="34"/>
                      </a:lnTo>
                      <a:lnTo>
                        <a:pt x="196" y="48"/>
                      </a:lnTo>
                      <a:lnTo>
                        <a:pt x="186" y="70"/>
                      </a:lnTo>
                      <a:lnTo>
                        <a:pt x="172" y="77"/>
                      </a:lnTo>
                      <a:lnTo>
                        <a:pt x="155" y="86"/>
                      </a:lnTo>
                      <a:lnTo>
                        <a:pt x="144" y="100"/>
                      </a:lnTo>
                      <a:lnTo>
                        <a:pt x="141" y="111"/>
                      </a:lnTo>
                      <a:lnTo>
                        <a:pt x="135" y="129"/>
                      </a:lnTo>
                      <a:lnTo>
                        <a:pt x="140" y="154"/>
                      </a:lnTo>
                      <a:lnTo>
                        <a:pt x="124" y="169"/>
                      </a:lnTo>
                      <a:lnTo>
                        <a:pt x="117" y="176"/>
                      </a:lnTo>
                      <a:lnTo>
                        <a:pt x="103" y="189"/>
                      </a:lnTo>
                      <a:lnTo>
                        <a:pt x="88" y="191"/>
                      </a:lnTo>
                      <a:lnTo>
                        <a:pt x="78" y="199"/>
                      </a:lnTo>
                      <a:lnTo>
                        <a:pt x="78" y="199"/>
                      </a:lnTo>
                      <a:lnTo>
                        <a:pt x="68" y="219"/>
                      </a:lnTo>
                      <a:lnTo>
                        <a:pt x="55" y="225"/>
                      </a:lnTo>
                      <a:lnTo>
                        <a:pt x="49" y="237"/>
                      </a:lnTo>
                      <a:lnTo>
                        <a:pt x="49" y="248"/>
                      </a:lnTo>
                      <a:lnTo>
                        <a:pt x="45" y="259"/>
                      </a:lnTo>
                      <a:lnTo>
                        <a:pt x="38" y="262"/>
                      </a:lnTo>
                      <a:lnTo>
                        <a:pt x="29" y="272"/>
                      </a:lnTo>
                      <a:lnTo>
                        <a:pt x="23" y="286"/>
                      </a:lnTo>
                      <a:lnTo>
                        <a:pt x="25" y="292"/>
                      </a:lnTo>
                      <a:lnTo>
                        <a:pt x="19" y="302"/>
                      </a:lnTo>
                      <a:lnTo>
                        <a:pt x="12" y="308"/>
                      </a:lnTo>
                      <a:lnTo>
                        <a:pt x="11" y="315"/>
                      </a:lnTo>
                      <a:lnTo>
                        <a:pt x="11" y="323"/>
                      </a:lnTo>
                      <a:lnTo>
                        <a:pt x="20" y="331"/>
                      </a:lnTo>
                      <a:lnTo>
                        <a:pt x="23" y="340"/>
                      </a:lnTo>
                      <a:lnTo>
                        <a:pt x="22" y="349"/>
                      </a:lnTo>
                      <a:lnTo>
                        <a:pt x="25" y="359"/>
                      </a:lnTo>
                      <a:lnTo>
                        <a:pt x="26" y="375"/>
                      </a:lnTo>
                      <a:lnTo>
                        <a:pt x="25" y="392"/>
                      </a:lnTo>
                      <a:lnTo>
                        <a:pt x="19" y="402"/>
                      </a:lnTo>
                      <a:lnTo>
                        <a:pt x="20" y="412"/>
                      </a:lnTo>
                      <a:lnTo>
                        <a:pt x="17" y="420"/>
                      </a:lnTo>
                      <a:lnTo>
                        <a:pt x="8" y="434"/>
                      </a:lnTo>
                      <a:lnTo>
                        <a:pt x="0" y="437"/>
                      </a:lnTo>
                      <a:lnTo>
                        <a:pt x="9" y="443"/>
                      </a:lnTo>
                      <a:lnTo>
                        <a:pt x="17" y="457"/>
                      </a:lnTo>
                      <a:lnTo>
                        <a:pt x="14" y="465"/>
                      </a:lnTo>
                      <a:lnTo>
                        <a:pt x="17" y="478"/>
                      </a:lnTo>
                      <a:lnTo>
                        <a:pt x="19" y="482"/>
                      </a:lnTo>
                      <a:lnTo>
                        <a:pt x="23" y="486"/>
                      </a:lnTo>
                      <a:lnTo>
                        <a:pt x="23" y="488"/>
                      </a:lnTo>
                      <a:lnTo>
                        <a:pt x="28" y="492"/>
                      </a:lnTo>
                      <a:lnTo>
                        <a:pt x="34" y="494"/>
                      </a:lnTo>
                      <a:lnTo>
                        <a:pt x="43" y="501"/>
                      </a:lnTo>
                      <a:lnTo>
                        <a:pt x="49" y="505"/>
                      </a:lnTo>
                      <a:lnTo>
                        <a:pt x="51" y="508"/>
                      </a:lnTo>
                      <a:lnTo>
                        <a:pt x="54" y="515"/>
                      </a:lnTo>
                      <a:lnTo>
                        <a:pt x="57" y="520"/>
                      </a:lnTo>
                      <a:lnTo>
                        <a:pt x="61" y="521"/>
                      </a:lnTo>
                      <a:lnTo>
                        <a:pt x="69" y="528"/>
                      </a:lnTo>
                      <a:lnTo>
                        <a:pt x="75" y="538"/>
                      </a:lnTo>
                      <a:lnTo>
                        <a:pt x="78" y="551"/>
                      </a:lnTo>
                      <a:lnTo>
                        <a:pt x="81" y="558"/>
                      </a:lnTo>
                      <a:lnTo>
                        <a:pt x="91" y="568"/>
                      </a:lnTo>
                      <a:lnTo>
                        <a:pt x="103" y="574"/>
                      </a:lnTo>
                      <a:lnTo>
                        <a:pt x="107" y="575"/>
                      </a:lnTo>
                      <a:lnTo>
                        <a:pt x="118" y="586"/>
                      </a:lnTo>
                      <a:lnTo>
                        <a:pt x="134" y="595"/>
                      </a:lnTo>
                      <a:lnTo>
                        <a:pt x="149" y="609"/>
                      </a:lnTo>
                      <a:lnTo>
                        <a:pt x="167" y="617"/>
                      </a:lnTo>
                      <a:lnTo>
                        <a:pt x="172" y="617"/>
                      </a:lnTo>
                      <a:lnTo>
                        <a:pt x="175" y="617"/>
                      </a:lnTo>
                      <a:lnTo>
                        <a:pt x="192" y="611"/>
                      </a:lnTo>
                      <a:lnTo>
                        <a:pt x="204" y="606"/>
                      </a:lnTo>
                      <a:lnTo>
                        <a:pt x="224" y="603"/>
                      </a:lnTo>
                      <a:lnTo>
                        <a:pt x="235" y="603"/>
                      </a:lnTo>
                      <a:lnTo>
                        <a:pt x="247" y="606"/>
                      </a:lnTo>
                      <a:lnTo>
                        <a:pt x="255" y="606"/>
                      </a:lnTo>
                      <a:lnTo>
                        <a:pt x="270" y="611"/>
                      </a:lnTo>
                      <a:lnTo>
                        <a:pt x="285" y="606"/>
                      </a:lnTo>
                      <a:lnTo>
                        <a:pt x="295" y="600"/>
                      </a:lnTo>
                      <a:lnTo>
                        <a:pt x="322" y="591"/>
                      </a:lnTo>
                      <a:lnTo>
                        <a:pt x="336" y="586"/>
                      </a:lnTo>
                      <a:lnTo>
                        <a:pt x="350" y="585"/>
                      </a:lnTo>
                      <a:lnTo>
                        <a:pt x="365" y="585"/>
                      </a:lnTo>
                      <a:lnTo>
                        <a:pt x="379" y="585"/>
                      </a:lnTo>
                      <a:lnTo>
                        <a:pt x="391" y="595"/>
                      </a:lnTo>
                      <a:lnTo>
                        <a:pt x="396" y="608"/>
                      </a:lnTo>
                      <a:lnTo>
                        <a:pt x="405" y="618"/>
                      </a:lnTo>
                      <a:lnTo>
                        <a:pt x="419" y="618"/>
                      </a:lnTo>
                      <a:lnTo>
                        <a:pt x="427" y="615"/>
                      </a:lnTo>
                      <a:lnTo>
                        <a:pt x="433" y="617"/>
                      </a:lnTo>
                      <a:lnTo>
                        <a:pt x="450" y="609"/>
                      </a:lnTo>
                      <a:lnTo>
                        <a:pt x="450" y="615"/>
                      </a:lnTo>
                      <a:lnTo>
                        <a:pt x="454" y="617"/>
                      </a:lnTo>
                      <a:lnTo>
                        <a:pt x="457" y="624"/>
                      </a:lnTo>
                      <a:lnTo>
                        <a:pt x="466" y="628"/>
                      </a:lnTo>
                      <a:lnTo>
                        <a:pt x="473" y="638"/>
                      </a:lnTo>
                      <a:lnTo>
                        <a:pt x="469" y="652"/>
                      </a:lnTo>
                      <a:lnTo>
                        <a:pt x="465" y="672"/>
                      </a:lnTo>
                      <a:lnTo>
                        <a:pt x="468" y="674"/>
                      </a:lnTo>
                      <a:lnTo>
                        <a:pt x="463" y="688"/>
                      </a:lnTo>
                      <a:lnTo>
                        <a:pt x="460" y="700"/>
                      </a:lnTo>
                      <a:lnTo>
                        <a:pt x="456" y="704"/>
                      </a:lnTo>
                      <a:lnTo>
                        <a:pt x="456" y="711"/>
                      </a:lnTo>
                      <a:lnTo>
                        <a:pt x="466" y="729"/>
                      </a:lnTo>
                      <a:lnTo>
                        <a:pt x="477" y="743"/>
                      </a:lnTo>
                      <a:lnTo>
                        <a:pt x="496" y="760"/>
                      </a:lnTo>
                      <a:lnTo>
                        <a:pt x="509" y="778"/>
                      </a:lnTo>
                      <a:lnTo>
                        <a:pt x="514" y="790"/>
                      </a:lnTo>
                      <a:lnTo>
                        <a:pt x="515" y="797"/>
                      </a:lnTo>
                      <a:lnTo>
                        <a:pt x="514" y="800"/>
                      </a:lnTo>
                      <a:lnTo>
                        <a:pt x="523" y="810"/>
                      </a:lnTo>
                      <a:lnTo>
                        <a:pt x="526" y="823"/>
                      </a:lnTo>
                      <a:lnTo>
                        <a:pt x="532" y="838"/>
                      </a:lnTo>
                      <a:lnTo>
                        <a:pt x="526" y="846"/>
                      </a:lnTo>
                      <a:lnTo>
                        <a:pt x="525" y="849"/>
                      </a:lnTo>
                      <a:lnTo>
                        <a:pt x="529" y="860"/>
                      </a:lnTo>
                      <a:lnTo>
                        <a:pt x="534" y="870"/>
                      </a:lnTo>
                      <a:lnTo>
                        <a:pt x="540" y="877"/>
                      </a:lnTo>
                      <a:lnTo>
                        <a:pt x="540" y="886"/>
                      </a:lnTo>
                      <a:lnTo>
                        <a:pt x="539" y="900"/>
                      </a:lnTo>
                      <a:lnTo>
                        <a:pt x="532" y="907"/>
                      </a:lnTo>
                      <a:lnTo>
                        <a:pt x="523" y="918"/>
                      </a:lnTo>
                      <a:lnTo>
                        <a:pt x="519" y="926"/>
                      </a:lnTo>
                      <a:lnTo>
                        <a:pt x="514" y="941"/>
                      </a:lnTo>
                      <a:lnTo>
                        <a:pt x="512" y="949"/>
                      </a:lnTo>
                      <a:lnTo>
                        <a:pt x="506" y="966"/>
                      </a:lnTo>
                      <a:lnTo>
                        <a:pt x="505" y="981"/>
                      </a:lnTo>
                      <a:lnTo>
                        <a:pt x="506" y="992"/>
                      </a:lnTo>
                      <a:lnTo>
                        <a:pt x="506" y="1006"/>
                      </a:lnTo>
                      <a:lnTo>
                        <a:pt x="520" y="1024"/>
                      </a:lnTo>
                      <a:lnTo>
                        <a:pt x="525" y="1035"/>
                      </a:lnTo>
                      <a:lnTo>
                        <a:pt x="534" y="1058"/>
                      </a:lnTo>
                      <a:lnTo>
                        <a:pt x="543" y="1072"/>
                      </a:lnTo>
                      <a:lnTo>
                        <a:pt x="549" y="1080"/>
                      </a:lnTo>
                      <a:lnTo>
                        <a:pt x="551" y="1090"/>
                      </a:lnTo>
                      <a:lnTo>
                        <a:pt x="552" y="1112"/>
                      </a:lnTo>
                      <a:lnTo>
                        <a:pt x="557" y="1141"/>
                      </a:lnTo>
                      <a:lnTo>
                        <a:pt x="562" y="1155"/>
                      </a:lnTo>
                      <a:lnTo>
                        <a:pt x="566" y="1173"/>
                      </a:lnTo>
                      <a:lnTo>
                        <a:pt x="572" y="1189"/>
                      </a:lnTo>
                      <a:lnTo>
                        <a:pt x="585" y="1202"/>
                      </a:lnTo>
                      <a:lnTo>
                        <a:pt x="597" y="1229"/>
                      </a:lnTo>
                      <a:lnTo>
                        <a:pt x="597" y="1229"/>
                      </a:lnTo>
                      <a:lnTo>
                        <a:pt x="606" y="1246"/>
                      </a:lnTo>
                      <a:lnTo>
                        <a:pt x="617" y="1264"/>
                      </a:lnTo>
                      <a:lnTo>
                        <a:pt x="618" y="1279"/>
                      </a:lnTo>
                      <a:lnTo>
                        <a:pt x="612" y="1284"/>
                      </a:lnTo>
                      <a:lnTo>
                        <a:pt x="618" y="1296"/>
                      </a:lnTo>
                      <a:lnTo>
                        <a:pt x="618" y="1309"/>
                      </a:lnTo>
                      <a:lnTo>
                        <a:pt x="620" y="1315"/>
                      </a:lnTo>
                      <a:lnTo>
                        <a:pt x="621" y="1312"/>
                      </a:lnTo>
                      <a:lnTo>
                        <a:pt x="627" y="1321"/>
                      </a:lnTo>
                      <a:lnTo>
                        <a:pt x="634" y="1321"/>
                      </a:lnTo>
                      <a:lnTo>
                        <a:pt x="641" y="1329"/>
                      </a:lnTo>
                      <a:lnTo>
                        <a:pt x="649" y="1329"/>
                      </a:lnTo>
                      <a:lnTo>
                        <a:pt x="660" y="1321"/>
                      </a:lnTo>
                      <a:lnTo>
                        <a:pt x="675" y="1318"/>
                      </a:lnTo>
                      <a:lnTo>
                        <a:pt x="692" y="1309"/>
                      </a:lnTo>
                      <a:lnTo>
                        <a:pt x="700" y="1310"/>
                      </a:lnTo>
                      <a:lnTo>
                        <a:pt x="710" y="1307"/>
                      </a:lnTo>
                      <a:lnTo>
                        <a:pt x="729" y="1312"/>
                      </a:lnTo>
                      <a:lnTo>
                        <a:pt x="736" y="1307"/>
                      </a:lnTo>
                      <a:lnTo>
                        <a:pt x="747" y="1310"/>
                      </a:lnTo>
                      <a:lnTo>
                        <a:pt x="750" y="1305"/>
                      </a:lnTo>
                      <a:lnTo>
                        <a:pt x="758" y="1304"/>
                      </a:lnTo>
                      <a:lnTo>
                        <a:pt x="776" y="1296"/>
                      </a:lnTo>
                      <a:lnTo>
                        <a:pt x="790" y="1287"/>
                      </a:lnTo>
                      <a:lnTo>
                        <a:pt x="801" y="1275"/>
                      </a:lnTo>
                      <a:lnTo>
                        <a:pt x="821" y="1253"/>
                      </a:lnTo>
                      <a:lnTo>
                        <a:pt x="830" y="1239"/>
                      </a:lnTo>
                      <a:lnTo>
                        <a:pt x="836" y="1229"/>
                      </a:lnTo>
                      <a:lnTo>
                        <a:pt x="842" y="1219"/>
                      </a:lnTo>
                      <a:lnTo>
                        <a:pt x="847" y="1216"/>
                      </a:lnTo>
                      <a:lnTo>
                        <a:pt x="858" y="1207"/>
                      </a:lnTo>
                      <a:lnTo>
                        <a:pt x="862" y="1198"/>
                      </a:lnTo>
                      <a:lnTo>
                        <a:pt x="864" y="1181"/>
                      </a:lnTo>
                      <a:lnTo>
                        <a:pt x="868" y="1167"/>
                      </a:lnTo>
                      <a:lnTo>
                        <a:pt x="870" y="1158"/>
                      </a:lnTo>
                      <a:lnTo>
                        <a:pt x="865" y="1156"/>
                      </a:lnTo>
                      <a:lnTo>
                        <a:pt x="864" y="1149"/>
                      </a:lnTo>
                      <a:lnTo>
                        <a:pt x="871" y="1141"/>
                      </a:lnTo>
                      <a:lnTo>
                        <a:pt x="893" y="1130"/>
                      </a:lnTo>
                      <a:lnTo>
                        <a:pt x="907" y="1124"/>
                      </a:lnTo>
                      <a:lnTo>
                        <a:pt x="914" y="1118"/>
                      </a:lnTo>
                      <a:lnTo>
                        <a:pt x="916" y="1110"/>
                      </a:lnTo>
                      <a:lnTo>
                        <a:pt x="913" y="1107"/>
                      </a:lnTo>
                      <a:lnTo>
                        <a:pt x="916" y="1098"/>
                      </a:lnTo>
                      <a:lnTo>
                        <a:pt x="916" y="1080"/>
                      </a:lnTo>
                      <a:lnTo>
                        <a:pt x="913" y="1081"/>
                      </a:lnTo>
                      <a:lnTo>
                        <a:pt x="913" y="1075"/>
                      </a:lnTo>
                      <a:lnTo>
                        <a:pt x="908" y="1064"/>
                      </a:lnTo>
                      <a:lnTo>
                        <a:pt x="900" y="1050"/>
                      </a:lnTo>
                      <a:lnTo>
                        <a:pt x="902" y="1038"/>
                      </a:lnTo>
                      <a:lnTo>
                        <a:pt x="910" y="1033"/>
                      </a:lnTo>
                      <a:lnTo>
                        <a:pt x="922" y="1021"/>
                      </a:lnTo>
                      <a:lnTo>
                        <a:pt x="928" y="1016"/>
                      </a:lnTo>
                      <a:lnTo>
                        <a:pt x="948" y="998"/>
                      </a:lnTo>
                      <a:lnTo>
                        <a:pt x="966" y="989"/>
                      </a:lnTo>
                      <a:lnTo>
                        <a:pt x="982" y="983"/>
                      </a:lnTo>
                      <a:lnTo>
                        <a:pt x="994" y="970"/>
                      </a:lnTo>
                      <a:lnTo>
                        <a:pt x="1000" y="958"/>
                      </a:lnTo>
                      <a:lnTo>
                        <a:pt x="1005" y="946"/>
                      </a:lnTo>
                      <a:lnTo>
                        <a:pt x="1002" y="938"/>
                      </a:lnTo>
                      <a:lnTo>
                        <a:pt x="1002" y="910"/>
                      </a:lnTo>
                      <a:lnTo>
                        <a:pt x="1000" y="895"/>
                      </a:lnTo>
                      <a:lnTo>
                        <a:pt x="1000" y="877"/>
                      </a:lnTo>
                      <a:lnTo>
                        <a:pt x="997" y="869"/>
                      </a:lnTo>
                      <a:lnTo>
                        <a:pt x="991" y="866"/>
                      </a:lnTo>
                      <a:lnTo>
                        <a:pt x="983" y="849"/>
                      </a:lnTo>
                      <a:lnTo>
                        <a:pt x="979" y="837"/>
                      </a:lnTo>
                      <a:lnTo>
                        <a:pt x="979" y="829"/>
                      </a:lnTo>
                      <a:lnTo>
                        <a:pt x="979" y="824"/>
                      </a:lnTo>
                      <a:lnTo>
                        <a:pt x="983" y="814"/>
                      </a:lnTo>
                      <a:lnTo>
                        <a:pt x="982" y="809"/>
                      </a:lnTo>
                      <a:lnTo>
                        <a:pt x="971" y="803"/>
                      </a:lnTo>
                      <a:lnTo>
                        <a:pt x="971" y="794"/>
                      </a:lnTo>
                      <a:lnTo>
                        <a:pt x="979" y="772"/>
                      </a:lnTo>
                      <a:lnTo>
                        <a:pt x="985" y="766"/>
                      </a:lnTo>
                      <a:lnTo>
                        <a:pt x="988" y="755"/>
                      </a:lnTo>
                      <a:lnTo>
                        <a:pt x="994" y="747"/>
                      </a:lnTo>
                      <a:lnTo>
                        <a:pt x="997" y="735"/>
                      </a:lnTo>
                      <a:lnTo>
                        <a:pt x="1003" y="734"/>
                      </a:lnTo>
                      <a:lnTo>
                        <a:pt x="1008" y="727"/>
                      </a:lnTo>
                      <a:lnTo>
                        <a:pt x="1019" y="720"/>
                      </a:lnTo>
                      <a:lnTo>
                        <a:pt x="1023" y="717"/>
                      </a:lnTo>
                      <a:lnTo>
                        <a:pt x="1028" y="707"/>
                      </a:lnTo>
                      <a:lnTo>
                        <a:pt x="1046" y="686"/>
                      </a:lnTo>
                      <a:lnTo>
                        <a:pt x="1062" y="674"/>
                      </a:lnTo>
                      <a:lnTo>
                        <a:pt x="1088" y="657"/>
                      </a:lnTo>
                      <a:lnTo>
                        <a:pt x="1104" y="643"/>
                      </a:lnTo>
                      <a:lnTo>
                        <a:pt x="1124" y="620"/>
                      </a:lnTo>
                      <a:lnTo>
                        <a:pt x="1140" y="600"/>
                      </a:lnTo>
                      <a:lnTo>
                        <a:pt x="1155" y="575"/>
                      </a:lnTo>
                      <a:lnTo>
                        <a:pt x="1166" y="552"/>
                      </a:lnTo>
                      <a:lnTo>
                        <a:pt x="1174" y="534"/>
                      </a:lnTo>
                      <a:lnTo>
                        <a:pt x="1178" y="514"/>
                      </a:lnTo>
                      <a:lnTo>
                        <a:pt x="1183" y="508"/>
                      </a:lnTo>
                      <a:lnTo>
                        <a:pt x="1181" y="498"/>
                      </a:lnTo>
                      <a:lnTo>
                        <a:pt x="1184" y="489"/>
                      </a:lnTo>
                      <a:close/>
                      <a:moveTo>
                        <a:pt x="1167" y="947"/>
                      </a:moveTo>
                      <a:lnTo>
                        <a:pt x="1172" y="955"/>
                      </a:lnTo>
                      <a:lnTo>
                        <a:pt x="1170" y="964"/>
                      </a:lnTo>
                      <a:lnTo>
                        <a:pt x="1167" y="969"/>
                      </a:lnTo>
                      <a:lnTo>
                        <a:pt x="1161" y="958"/>
                      </a:lnTo>
                      <a:lnTo>
                        <a:pt x="1158" y="964"/>
                      </a:lnTo>
                      <a:lnTo>
                        <a:pt x="1161" y="977"/>
                      </a:lnTo>
                      <a:lnTo>
                        <a:pt x="1160" y="984"/>
                      </a:lnTo>
                      <a:lnTo>
                        <a:pt x="1155" y="989"/>
                      </a:lnTo>
                      <a:lnTo>
                        <a:pt x="1154" y="1004"/>
                      </a:lnTo>
                      <a:lnTo>
                        <a:pt x="1147" y="1026"/>
                      </a:lnTo>
                      <a:lnTo>
                        <a:pt x="1140" y="1050"/>
                      </a:lnTo>
                      <a:lnTo>
                        <a:pt x="1129" y="1086"/>
                      </a:lnTo>
                      <a:lnTo>
                        <a:pt x="1121" y="1112"/>
                      </a:lnTo>
                      <a:lnTo>
                        <a:pt x="1114" y="1133"/>
                      </a:lnTo>
                      <a:lnTo>
                        <a:pt x="1100" y="1138"/>
                      </a:lnTo>
                      <a:lnTo>
                        <a:pt x="1085" y="1146"/>
                      </a:lnTo>
                      <a:lnTo>
                        <a:pt x="1075" y="1141"/>
                      </a:lnTo>
                      <a:lnTo>
                        <a:pt x="1062" y="1133"/>
                      </a:lnTo>
                      <a:lnTo>
                        <a:pt x="1057" y="1124"/>
                      </a:lnTo>
                      <a:lnTo>
                        <a:pt x="1055" y="1107"/>
                      </a:lnTo>
                      <a:lnTo>
                        <a:pt x="1049" y="1092"/>
                      </a:lnTo>
                      <a:lnTo>
                        <a:pt x="1048" y="1080"/>
                      </a:lnTo>
                      <a:lnTo>
                        <a:pt x="1051" y="1066"/>
                      </a:lnTo>
                      <a:lnTo>
                        <a:pt x="1058" y="1063"/>
                      </a:lnTo>
                      <a:lnTo>
                        <a:pt x="1058" y="1056"/>
                      </a:lnTo>
                      <a:lnTo>
                        <a:pt x="1068" y="1043"/>
                      </a:lnTo>
                      <a:lnTo>
                        <a:pt x="1069" y="1030"/>
                      </a:lnTo>
                      <a:lnTo>
                        <a:pt x="1065" y="1023"/>
                      </a:lnTo>
                      <a:lnTo>
                        <a:pt x="1062" y="1010"/>
                      </a:lnTo>
                      <a:lnTo>
                        <a:pt x="1060" y="995"/>
                      </a:lnTo>
                      <a:lnTo>
                        <a:pt x="1066" y="984"/>
                      </a:lnTo>
                      <a:lnTo>
                        <a:pt x="1069" y="973"/>
                      </a:lnTo>
                      <a:lnTo>
                        <a:pt x="1077" y="972"/>
                      </a:lnTo>
                      <a:lnTo>
                        <a:pt x="1086" y="969"/>
                      </a:lnTo>
                      <a:lnTo>
                        <a:pt x="1094" y="966"/>
                      </a:lnTo>
                      <a:lnTo>
                        <a:pt x="1100" y="966"/>
                      </a:lnTo>
                      <a:lnTo>
                        <a:pt x="1111" y="955"/>
                      </a:lnTo>
                      <a:lnTo>
                        <a:pt x="1124" y="944"/>
                      </a:lnTo>
                      <a:lnTo>
                        <a:pt x="1129" y="935"/>
                      </a:lnTo>
                      <a:lnTo>
                        <a:pt x="1127" y="927"/>
                      </a:lnTo>
                      <a:lnTo>
                        <a:pt x="1135" y="930"/>
                      </a:lnTo>
                      <a:lnTo>
                        <a:pt x="1144" y="918"/>
                      </a:lnTo>
                      <a:lnTo>
                        <a:pt x="1144" y="907"/>
                      </a:lnTo>
                      <a:lnTo>
                        <a:pt x="1151" y="900"/>
                      </a:lnTo>
                      <a:lnTo>
                        <a:pt x="1157" y="906"/>
                      </a:lnTo>
                      <a:lnTo>
                        <a:pt x="1161" y="913"/>
                      </a:lnTo>
                      <a:lnTo>
                        <a:pt x="1164" y="926"/>
                      </a:lnTo>
                      <a:lnTo>
                        <a:pt x="1167" y="947"/>
                      </a:lnTo>
                      <a:close/>
                    </a:path>
                  </a:pathLst>
                </a:custGeom>
                <a:solidFill>
                  <a:srgbClr val="D9D9D9"/>
                </a:solidFill>
                <a:ln w="4763"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1000"/>
                </a:p>
              </p:txBody>
            </p:sp>
          </p:grpSp>
          <p:grpSp>
            <p:nvGrpSpPr>
              <p:cNvPr id="7" name="GradientColorLegend">
                <a:extLst>
                  <a:ext uri="{FF2B5EF4-FFF2-40B4-BE49-F238E27FC236}">
                    <a16:creationId xmlns:a16="http://schemas.microsoft.com/office/drawing/2014/main" id="{8E49A8A9-1E87-6FA4-D3C7-174606BB9743}"/>
                  </a:ext>
                </a:extLst>
              </p:cNvPr>
              <p:cNvGrpSpPr/>
              <p:nvPr/>
            </p:nvGrpSpPr>
            <p:grpSpPr>
              <a:xfrm>
                <a:off x="2288812" y="3967605"/>
                <a:ext cx="338625" cy="1867137"/>
                <a:chOff x="956895" y="2330329"/>
                <a:chExt cx="338625" cy="1867137"/>
              </a:xfrm>
            </p:grpSpPr>
            <p:sp>
              <p:nvSpPr>
                <p:cNvPr id="29" name="Etiquette - GradientColorLegend - DARK - Shape" hidden="1">
                  <a:extLst>
                    <a:ext uri="{FF2B5EF4-FFF2-40B4-BE49-F238E27FC236}">
                      <a16:creationId xmlns:a16="http://schemas.microsoft.com/office/drawing/2014/main" id="{00CA7A45-EEA8-AA0C-DDAC-658C0CC28C14}"/>
                    </a:ext>
                  </a:extLst>
                </p:cNvPr>
                <p:cNvSpPr/>
                <p:nvPr/>
              </p:nvSpPr>
              <p:spPr>
                <a:xfrm>
                  <a:off x="1066170" y="2575168"/>
                  <a:ext cx="120073" cy="1382400"/>
                </a:xfrm>
                <a:prstGeom prst="rect">
                  <a:avLst/>
                </a:prstGeom>
                <a:gradFill flip="none" rotWithShape="1">
                  <a:gsLst>
                    <a:gs pos="0">
                      <a:srgbClr val="002060"/>
                    </a:gs>
                    <a:gs pos="100000">
                      <a:schemeClr val="accent5">
                        <a:lumMod val="40000"/>
                        <a:lumOff val="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30" name="Etiquette - GradientColorLegend - DARK - MaxValue" hidden="1">
                  <a:extLst>
                    <a:ext uri="{FF2B5EF4-FFF2-40B4-BE49-F238E27FC236}">
                      <a16:creationId xmlns:a16="http://schemas.microsoft.com/office/drawing/2014/main" id="{A5CC86F6-A409-50AC-CE39-CC574B2A96D1}"/>
                    </a:ext>
                  </a:extLst>
                </p:cNvPr>
                <p:cNvSpPr txBox="1"/>
                <p:nvPr/>
              </p:nvSpPr>
              <p:spPr>
                <a:xfrm>
                  <a:off x="956895" y="2330329"/>
                  <a:ext cx="338625" cy="237283"/>
                </a:xfrm>
                <a:prstGeom prst="rect">
                  <a:avLst/>
                </a:prstGeom>
                <a:noFill/>
              </p:spPr>
              <p:txBody>
                <a:bodyPr wrap="none" lIns="0" tIns="0" rIns="0" bIns="0" rtlCol="0" anchor="b">
                  <a:spAutoFit/>
                </a:bodyPr>
                <a:lstStyle/>
                <a:p>
                  <a:pPr algn="ctr"/>
                  <a:r>
                    <a:rPr lang="en-US" sz="1000"/>
                    <a:t>Max</a:t>
                  </a:r>
                </a:p>
              </p:txBody>
            </p:sp>
            <p:sp>
              <p:nvSpPr>
                <p:cNvPr id="31" name="Etiquette - GradientColorLegend - DARK - MinValue" hidden="1">
                  <a:extLst>
                    <a:ext uri="{FF2B5EF4-FFF2-40B4-BE49-F238E27FC236}">
                      <a16:creationId xmlns:a16="http://schemas.microsoft.com/office/drawing/2014/main" id="{17D1CF71-3EB3-4C20-E877-5E9D97D557BC}"/>
                    </a:ext>
                  </a:extLst>
                </p:cNvPr>
                <p:cNvSpPr txBox="1"/>
                <p:nvPr/>
              </p:nvSpPr>
              <p:spPr>
                <a:xfrm>
                  <a:off x="970489" y="3960183"/>
                  <a:ext cx="311435" cy="237283"/>
                </a:xfrm>
                <a:prstGeom prst="rect">
                  <a:avLst/>
                </a:prstGeom>
                <a:noFill/>
              </p:spPr>
              <p:txBody>
                <a:bodyPr wrap="none" lIns="0" tIns="0" rIns="0" bIns="0" rtlCol="0">
                  <a:spAutoFit/>
                </a:bodyPr>
                <a:lstStyle/>
                <a:p>
                  <a:pPr algn="ctr"/>
                  <a:r>
                    <a:rPr lang="en-US" sz="1000"/>
                    <a:t>Min</a:t>
                  </a:r>
                </a:p>
              </p:txBody>
            </p:sp>
          </p:grpSp>
          <p:grpSp>
            <p:nvGrpSpPr>
              <p:cNvPr id="8" name="RangeColorLegend">
                <a:extLst>
                  <a:ext uri="{FF2B5EF4-FFF2-40B4-BE49-F238E27FC236}">
                    <a16:creationId xmlns:a16="http://schemas.microsoft.com/office/drawing/2014/main" id="{C6A9D3BB-3CD0-A387-BD8C-EADB186E76A8}"/>
                  </a:ext>
                </a:extLst>
              </p:cNvPr>
              <p:cNvGrpSpPr/>
              <p:nvPr/>
            </p:nvGrpSpPr>
            <p:grpSpPr>
              <a:xfrm>
                <a:off x="1892976" y="4504938"/>
                <a:ext cx="1270800" cy="1538880"/>
                <a:chOff x="9228362" y="4919762"/>
                <a:chExt cx="1270800" cy="1538880"/>
              </a:xfrm>
            </p:grpSpPr>
            <p:sp>
              <p:nvSpPr>
                <p:cNvPr id="9" name="Etiquette - RangeColorLegend - DARK - Color - 2" hidden="1">
                  <a:extLst>
                    <a:ext uri="{FF2B5EF4-FFF2-40B4-BE49-F238E27FC236}">
                      <a16:creationId xmlns:a16="http://schemas.microsoft.com/office/drawing/2014/main" id="{945BF968-17F4-F445-E5AF-2D228DD6FC98}"/>
                    </a:ext>
                  </a:extLst>
                </p:cNvPr>
                <p:cNvSpPr/>
                <p:nvPr/>
              </p:nvSpPr>
              <p:spPr>
                <a:xfrm>
                  <a:off x="9228362" y="5073650"/>
                  <a:ext cx="154800" cy="153888"/>
                </a:xfrm>
                <a:prstGeom prst="rect">
                  <a:avLst/>
                </a:prstGeom>
                <a:solidFill>
                  <a:srgbClr val="92D050"/>
                </a:solidFill>
                <a:ln>
                  <a:solidFill>
                    <a:schemeClr val="tx1"/>
                  </a:solidFill>
                </a:ln>
              </p:spPr>
              <p:txBody>
                <a:bodyPr wrap="square" lIns="0" tIns="0" rIns="0" bIns="0" anchor="ctr">
                  <a:noAutofit/>
                </a:bodyPr>
                <a:lstStyle/>
                <a:p>
                  <a:pPr algn="ctr"/>
                  <a:endParaRPr lang="en-US" sz="1000"/>
                </a:p>
              </p:txBody>
            </p:sp>
            <p:sp>
              <p:nvSpPr>
                <p:cNvPr id="10" name="Etiquette - RangeColorLegend - DARK - Color - 1" hidden="1">
                  <a:extLst>
                    <a:ext uri="{FF2B5EF4-FFF2-40B4-BE49-F238E27FC236}">
                      <a16:creationId xmlns:a16="http://schemas.microsoft.com/office/drawing/2014/main" id="{0ABC8A47-025D-15CA-D617-0475D95C24E8}"/>
                    </a:ext>
                  </a:extLst>
                </p:cNvPr>
                <p:cNvSpPr/>
                <p:nvPr/>
              </p:nvSpPr>
              <p:spPr>
                <a:xfrm>
                  <a:off x="9228362" y="4919762"/>
                  <a:ext cx="154800" cy="153888"/>
                </a:xfrm>
                <a:prstGeom prst="rect">
                  <a:avLst/>
                </a:prstGeom>
                <a:solidFill>
                  <a:srgbClr val="00B050"/>
                </a:solidFill>
                <a:ln>
                  <a:solidFill>
                    <a:schemeClr val="tx1"/>
                  </a:solidFill>
                </a:ln>
              </p:spPr>
              <p:txBody>
                <a:bodyPr wrap="square" lIns="0" tIns="0" rIns="0" bIns="0" anchor="ctr">
                  <a:noAutofit/>
                </a:bodyPr>
                <a:lstStyle/>
                <a:p>
                  <a:pPr algn="ctr"/>
                  <a:endParaRPr lang="en-US" sz="1000"/>
                </a:p>
              </p:txBody>
            </p:sp>
            <p:sp>
              <p:nvSpPr>
                <p:cNvPr id="11" name="Etiquette - RangeColorLegend - DARK - Number - 2" hidden="1">
                  <a:extLst>
                    <a:ext uri="{FF2B5EF4-FFF2-40B4-BE49-F238E27FC236}">
                      <a16:creationId xmlns:a16="http://schemas.microsoft.com/office/drawing/2014/main" id="{F0FFAD38-E963-7AF0-9888-77620EC48AE5}"/>
                    </a:ext>
                  </a:extLst>
                </p:cNvPr>
                <p:cNvSpPr/>
                <p:nvPr/>
              </p:nvSpPr>
              <p:spPr>
                <a:xfrm>
                  <a:off x="9383162" y="5073650"/>
                  <a:ext cx="1116000" cy="153888"/>
                </a:xfrm>
                <a:prstGeom prst="rect">
                  <a:avLst/>
                </a:prstGeom>
                <a:ln>
                  <a:noFill/>
                </a:ln>
              </p:spPr>
              <p:txBody>
                <a:bodyPr wrap="none" lIns="72000" tIns="0" rIns="0" bIns="0" anchor="ctr">
                  <a:noAutofit/>
                </a:bodyPr>
                <a:lstStyle/>
                <a:p>
                  <a:r>
                    <a:rPr lang="en-US" sz="1000"/>
                    <a:t>[100 to 200[</a:t>
                  </a:r>
                </a:p>
              </p:txBody>
            </p:sp>
            <p:sp>
              <p:nvSpPr>
                <p:cNvPr id="12" name="Etiquette - RangeColorLegend - DARK - Number - 1" hidden="1">
                  <a:extLst>
                    <a:ext uri="{FF2B5EF4-FFF2-40B4-BE49-F238E27FC236}">
                      <a16:creationId xmlns:a16="http://schemas.microsoft.com/office/drawing/2014/main" id="{CDE8C84A-73B2-F324-C847-ABE9E3D340FC}"/>
                    </a:ext>
                  </a:extLst>
                </p:cNvPr>
                <p:cNvSpPr/>
                <p:nvPr/>
              </p:nvSpPr>
              <p:spPr>
                <a:xfrm>
                  <a:off x="9383162" y="4919762"/>
                  <a:ext cx="1116000" cy="153888"/>
                </a:xfrm>
                <a:prstGeom prst="rect">
                  <a:avLst/>
                </a:prstGeom>
                <a:ln>
                  <a:noFill/>
                </a:ln>
              </p:spPr>
              <p:txBody>
                <a:bodyPr wrap="none" lIns="72000" tIns="0" rIns="0" bIns="0" anchor="ctr">
                  <a:noAutofit/>
                </a:bodyPr>
                <a:lstStyle/>
                <a:p>
                  <a:r>
                    <a:rPr lang="en-US" sz="1000"/>
                    <a:t>[0 to 100[</a:t>
                  </a:r>
                </a:p>
              </p:txBody>
            </p:sp>
            <p:sp>
              <p:nvSpPr>
                <p:cNvPr id="13" name="Etiquette - RangeColorLegend - DARK - Color - 4" hidden="1">
                  <a:extLst>
                    <a:ext uri="{FF2B5EF4-FFF2-40B4-BE49-F238E27FC236}">
                      <a16:creationId xmlns:a16="http://schemas.microsoft.com/office/drawing/2014/main" id="{0D3F1D30-FB86-35CF-4F86-6708B0948CC9}"/>
                    </a:ext>
                  </a:extLst>
                </p:cNvPr>
                <p:cNvSpPr/>
                <p:nvPr/>
              </p:nvSpPr>
              <p:spPr>
                <a:xfrm>
                  <a:off x="9228362" y="5381426"/>
                  <a:ext cx="154800" cy="153888"/>
                </a:xfrm>
                <a:prstGeom prst="rect">
                  <a:avLst/>
                </a:prstGeom>
                <a:solidFill>
                  <a:srgbClr val="FFC000"/>
                </a:solidFill>
                <a:ln>
                  <a:solidFill>
                    <a:schemeClr val="tx1"/>
                  </a:solidFill>
                </a:ln>
              </p:spPr>
              <p:txBody>
                <a:bodyPr wrap="square" lIns="0" tIns="0" rIns="0" bIns="0" anchor="ctr">
                  <a:noAutofit/>
                </a:bodyPr>
                <a:lstStyle/>
                <a:p>
                  <a:pPr algn="ctr"/>
                  <a:endParaRPr lang="en-US" sz="1000"/>
                </a:p>
              </p:txBody>
            </p:sp>
            <p:sp>
              <p:nvSpPr>
                <p:cNvPr id="14" name="Etiquette - RangeColorLegend - DARK - Color - 3" hidden="1">
                  <a:extLst>
                    <a:ext uri="{FF2B5EF4-FFF2-40B4-BE49-F238E27FC236}">
                      <a16:creationId xmlns:a16="http://schemas.microsoft.com/office/drawing/2014/main" id="{A68EE9CD-D335-6E7D-6AA7-8805DEC1046C}"/>
                    </a:ext>
                  </a:extLst>
                </p:cNvPr>
                <p:cNvSpPr/>
                <p:nvPr/>
              </p:nvSpPr>
              <p:spPr>
                <a:xfrm>
                  <a:off x="9228362" y="5227538"/>
                  <a:ext cx="154800" cy="153888"/>
                </a:xfrm>
                <a:prstGeom prst="rect">
                  <a:avLst/>
                </a:prstGeom>
                <a:solidFill>
                  <a:srgbClr val="FFFF00"/>
                </a:solidFill>
                <a:ln>
                  <a:solidFill>
                    <a:schemeClr val="tx1"/>
                  </a:solidFill>
                </a:ln>
              </p:spPr>
              <p:txBody>
                <a:bodyPr wrap="square" lIns="0" tIns="0" rIns="0" bIns="0" anchor="ctr">
                  <a:noAutofit/>
                </a:bodyPr>
                <a:lstStyle/>
                <a:p>
                  <a:pPr algn="ctr"/>
                  <a:endParaRPr lang="en-US" sz="1000"/>
                </a:p>
              </p:txBody>
            </p:sp>
            <p:sp>
              <p:nvSpPr>
                <p:cNvPr id="15" name="Etiquette - RangeColorLegend - DARK - Number - 4" hidden="1">
                  <a:extLst>
                    <a:ext uri="{FF2B5EF4-FFF2-40B4-BE49-F238E27FC236}">
                      <a16:creationId xmlns:a16="http://schemas.microsoft.com/office/drawing/2014/main" id="{CFFB80F7-FF2B-8D6E-28AF-7D018FC91A7C}"/>
                    </a:ext>
                  </a:extLst>
                </p:cNvPr>
                <p:cNvSpPr/>
                <p:nvPr/>
              </p:nvSpPr>
              <p:spPr>
                <a:xfrm>
                  <a:off x="9383162" y="5381426"/>
                  <a:ext cx="1116000" cy="153888"/>
                </a:xfrm>
                <a:prstGeom prst="rect">
                  <a:avLst/>
                </a:prstGeom>
                <a:ln>
                  <a:noFill/>
                </a:ln>
              </p:spPr>
              <p:txBody>
                <a:bodyPr wrap="none" lIns="72000" tIns="0" rIns="0" bIns="0" anchor="ctr">
                  <a:noAutofit/>
                </a:bodyPr>
                <a:lstStyle/>
                <a:p>
                  <a:r>
                    <a:rPr lang="en-US" sz="1000"/>
                    <a:t>[300 to 400[</a:t>
                  </a:r>
                </a:p>
              </p:txBody>
            </p:sp>
            <p:sp>
              <p:nvSpPr>
                <p:cNvPr id="16" name="Etiquette - RangeColorLegend - DARK - Number - 3" hidden="1">
                  <a:extLst>
                    <a:ext uri="{FF2B5EF4-FFF2-40B4-BE49-F238E27FC236}">
                      <a16:creationId xmlns:a16="http://schemas.microsoft.com/office/drawing/2014/main" id="{BC355901-C78C-42AD-438D-A3EB22A10412}"/>
                    </a:ext>
                  </a:extLst>
                </p:cNvPr>
                <p:cNvSpPr/>
                <p:nvPr/>
              </p:nvSpPr>
              <p:spPr>
                <a:xfrm>
                  <a:off x="9383162" y="5227538"/>
                  <a:ext cx="1116000" cy="153888"/>
                </a:xfrm>
                <a:prstGeom prst="rect">
                  <a:avLst/>
                </a:prstGeom>
                <a:ln>
                  <a:noFill/>
                </a:ln>
              </p:spPr>
              <p:txBody>
                <a:bodyPr wrap="none" lIns="72000" tIns="0" rIns="0" bIns="0" anchor="ctr">
                  <a:noAutofit/>
                </a:bodyPr>
                <a:lstStyle/>
                <a:p>
                  <a:r>
                    <a:rPr lang="en-US" sz="1000"/>
                    <a:t>[200 to 300[</a:t>
                  </a:r>
                </a:p>
              </p:txBody>
            </p:sp>
            <p:sp>
              <p:nvSpPr>
                <p:cNvPr id="17" name="Etiquette - RangeColorLegend - DARK - Color - 5" hidden="1">
                  <a:extLst>
                    <a:ext uri="{FF2B5EF4-FFF2-40B4-BE49-F238E27FC236}">
                      <a16:creationId xmlns:a16="http://schemas.microsoft.com/office/drawing/2014/main" id="{E9539D3E-5900-E9D9-CC6A-6CA9B4750FD4}"/>
                    </a:ext>
                  </a:extLst>
                </p:cNvPr>
                <p:cNvSpPr/>
                <p:nvPr/>
              </p:nvSpPr>
              <p:spPr>
                <a:xfrm>
                  <a:off x="9228362" y="5535314"/>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1000"/>
                </a:p>
              </p:txBody>
            </p:sp>
            <p:sp>
              <p:nvSpPr>
                <p:cNvPr id="18" name="Etiquette - RangeColorLegend - DARK - Number - 5" hidden="1">
                  <a:extLst>
                    <a:ext uri="{FF2B5EF4-FFF2-40B4-BE49-F238E27FC236}">
                      <a16:creationId xmlns:a16="http://schemas.microsoft.com/office/drawing/2014/main" id="{010D2610-50D5-024C-1AB2-76BCE4103D01}"/>
                    </a:ext>
                  </a:extLst>
                </p:cNvPr>
                <p:cNvSpPr/>
                <p:nvPr/>
              </p:nvSpPr>
              <p:spPr>
                <a:xfrm>
                  <a:off x="9383162" y="5535314"/>
                  <a:ext cx="1116000" cy="153888"/>
                </a:xfrm>
                <a:prstGeom prst="rect">
                  <a:avLst/>
                </a:prstGeom>
                <a:ln>
                  <a:noFill/>
                </a:ln>
              </p:spPr>
              <p:txBody>
                <a:bodyPr wrap="none" lIns="72000" tIns="0" rIns="0" bIns="0" anchor="ctr">
                  <a:noAutofit/>
                </a:bodyPr>
                <a:lstStyle/>
                <a:p>
                  <a:r>
                    <a:rPr lang="en-US" sz="1000"/>
                    <a:t>400+</a:t>
                  </a:r>
                </a:p>
              </p:txBody>
            </p:sp>
            <p:sp>
              <p:nvSpPr>
                <p:cNvPr id="19" name="Etiquette - RangeColorLegend - DARK - Color - 6" hidden="1">
                  <a:extLst>
                    <a:ext uri="{FF2B5EF4-FFF2-40B4-BE49-F238E27FC236}">
                      <a16:creationId xmlns:a16="http://schemas.microsoft.com/office/drawing/2014/main" id="{F450480C-83C9-E761-535E-17D8117BC47A}"/>
                    </a:ext>
                  </a:extLst>
                </p:cNvPr>
                <p:cNvSpPr/>
                <p:nvPr/>
              </p:nvSpPr>
              <p:spPr>
                <a:xfrm>
                  <a:off x="9228362" y="5689202"/>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1000"/>
                </a:p>
              </p:txBody>
            </p:sp>
            <p:sp>
              <p:nvSpPr>
                <p:cNvPr id="20" name="Etiquette - RangeColorLegend - DARK - Number - 6" hidden="1">
                  <a:extLst>
                    <a:ext uri="{FF2B5EF4-FFF2-40B4-BE49-F238E27FC236}">
                      <a16:creationId xmlns:a16="http://schemas.microsoft.com/office/drawing/2014/main" id="{917C1163-ECDD-97D5-5B05-0D2ED204774A}"/>
                    </a:ext>
                  </a:extLst>
                </p:cNvPr>
                <p:cNvSpPr/>
                <p:nvPr/>
              </p:nvSpPr>
              <p:spPr>
                <a:xfrm>
                  <a:off x="9383162" y="5689202"/>
                  <a:ext cx="1116000" cy="153888"/>
                </a:xfrm>
                <a:prstGeom prst="rect">
                  <a:avLst/>
                </a:prstGeom>
                <a:ln>
                  <a:noFill/>
                </a:ln>
              </p:spPr>
              <p:txBody>
                <a:bodyPr wrap="none" lIns="72000" tIns="0" rIns="0" bIns="0" anchor="ctr">
                  <a:noAutofit/>
                </a:bodyPr>
                <a:lstStyle/>
                <a:p>
                  <a:r>
                    <a:rPr lang="en-US" sz="1000"/>
                    <a:t>400+</a:t>
                  </a:r>
                </a:p>
              </p:txBody>
            </p:sp>
            <p:sp>
              <p:nvSpPr>
                <p:cNvPr id="21" name="Etiquette - RangeColorLegend - DARK - Color - 7" hidden="1">
                  <a:extLst>
                    <a:ext uri="{FF2B5EF4-FFF2-40B4-BE49-F238E27FC236}">
                      <a16:creationId xmlns:a16="http://schemas.microsoft.com/office/drawing/2014/main" id="{107509CA-93AA-CCFB-883C-4D54BCA4E4A6}"/>
                    </a:ext>
                  </a:extLst>
                </p:cNvPr>
                <p:cNvSpPr/>
                <p:nvPr/>
              </p:nvSpPr>
              <p:spPr>
                <a:xfrm>
                  <a:off x="9228362" y="5843090"/>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1000"/>
                </a:p>
              </p:txBody>
            </p:sp>
            <p:sp>
              <p:nvSpPr>
                <p:cNvPr id="22" name="Etiquette - RangeColorLegend - DARK - Number - 7" hidden="1">
                  <a:extLst>
                    <a:ext uri="{FF2B5EF4-FFF2-40B4-BE49-F238E27FC236}">
                      <a16:creationId xmlns:a16="http://schemas.microsoft.com/office/drawing/2014/main" id="{5A0108D8-25CC-EB48-312A-FCBE19632D19}"/>
                    </a:ext>
                  </a:extLst>
                </p:cNvPr>
                <p:cNvSpPr/>
                <p:nvPr/>
              </p:nvSpPr>
              <p:spPr>
                <a:xfrm>
                  <a:off x="9383162" y="5843090"/>
                  <a:ext cx="1116000" cy="153888"/>
                </a:xfrm>
                <a:prstGeom prst="rect">
                  <a:avLst/>
                </a:prstGeom>
                <a:ln>
                  <a:noFill/>
                </a:ln>
              </p:spPr>
              <p:txBody>
                <a:bodyPr wrap="none" lIns="72000" tIns="0" rIns="0" bIns="0" anchor="ctr">
                  <a:noAutofit/>
                </a:bodyPr>
                <a:lstStyle/>
                <a:p>
                  <a:r>
                    <a:rPr lang="en-US" sz="1000"/>
                    <a:t>400+</a:t>
                  </a:r>
                </a:p>
              </p:txBody>
            </p:sp>
            <p:sp>
              <p:nvSpPr>
                <p:cNvPr id="23" name="Etiquette - RangeColorLegend - DARK - Color - 8" hidden="1">
                  <a:extLst>
                    <a:ext uri="{FF2B5EF4-FFF2-40B4-BE49-F238E27FC236}">
                      <a16:creationId xmlns:a16="http://schemas.microsoft.com/office/drawing/2014/main" id="{192DAB8D-591D-A552-FACE-591BAEC10CB8}"/>
                    </a:ext>
                  </a:extLst>
                </p:cNvPr>
                <p:cNvSpPr/>
                <p:nvPr/>
              </p:nvSpPr>
              <p:spPr>
                <a:xfrm>
                  <a:off x="9228362" y="5996978"/>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1000"/>
                </a:p>
              </p:txBody>
            </p:sp>
            <p:sp>
              <p:nvSpPr>
                <p:cNvPr id="24" name="Etiquette - RangeColorLegend - DARK - Number - 8" hidden="1">
                  <a:extLst>
                    <a:ext uri="{FF2B5EF4-FFF2-40B4-BE49-F238E27FC236}">
                      <a16:creationId xmlns:a16="http://schemas.microsoft.com/office/drawing/2014/main" id="{283B6582-C9E2-2890-5305-7149538C2EC1}"/>
                    </a:ext>
                  </a:extLst>
                </p:cNvPr>
                <p:cNvSpPr/>
                <p:nvPr/>
              </p:nvSpPr>
              <p:spPr>
                <a:xfrm>
                  <a:off x="9383162" y="5996978"/>
                  <a:ext cx="1116000" cy="153888"/>
                </a:xfrm>
                <a:prstGeom prst="rect">
                  <a:avLst/>
                </a:prstGeom>
                <a:ln>
                  <a:noFill/>
                </a:ln>
              </p:spPr>
              <p:txBody>
                <a:bodyPr wrap="none" lIns="72000" tIns="0" rIns="0" bIns="0" anchor="ctr">
                  <a:noAutofit/>
                </a:bodyPr>
                <a:lstStyle/>
                <a:p>
                  <a:r>
                    <a:rPr lang="en-US" sz="1000"/>
                    <a:t>400+</a:t>
                  </a:r>
                </a:p>
              </p:txBody>
            </p:sp>
            <p:sp>
              <p:nvSpPr>
                <p:cNvPr id="25" name="Etiquette - RangeColorLegend - DARK - Color - 9" hidden="1">
                  <a:extLst>
                    <a:ext uri="{FF2B5EF4-FFF2-40B4-BE49-F238E27FC236}">
                      <a16:creationId xmlns:a16="http://schemas.microsoft.com/office/drawing/2014/main" id="{3A3E3107-2E4E-9C09-91FC-F2360A6CC254}"/>
                    </a:ext>
                  </a:extLst>
                </p:cNvPr>
                <p:cNvSpPr/>
                <p:nvPr/>
              </p:nvSpPr>
              <p:spPr>
                <a:xfrm>
                  <a:off x="9228362" y="6150866"/>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1000"/>
                </a:p>
              </p:txBody>
            </p:sp>
            <p:sp>
              <p:nvSpPr>
                <p:cNvPr id="26" name="Etiquette - RangeColorLegend - DARK - Number - 9" hidden="1">
                  <a:extLst>
                    <a:ext uri="{FF2B5EF4-FFF2-40B4-BE49-F238E27FC236}">
                      <a16:creationId xmlns:a16="http://schemas.microsoft.com/office/drawing/2014/main" id="{FD59B065-5B54-9647-85E8-037CEBA15A38}"/>
                    </a:ext>
                  </a:extLst>
                </p:cNvPr>
                <p:cNvSpPr/>
                <p:nvPr/>
              </p:nvSpPr>
              <p:spPr>
                <a:xfrm>
                  <a:off x="9383162" y="6150866"/>
                  <a:ext cx="1116000" cy="153888"/>
                </a:xfrm>
                <a:prstGeom prst="rect">
                  <a:avLst/>
                </a:prstGeom>
                <a:ln>
                  <a:noFill/>
                </a:ln>
              </p:spPr>
              <p:txBody>
                <a:bodyPr wrap="none" lIns="72000" tIns="0" rIns="0" bIns="0" anchor="ctr">
                  <a:noAutofit/>
                </a:bodyPr>
                <a:lstStyle/>
                <a:p>
                  <a:r>
                    <a:rPr lang="en-US" sz="1000"/>
                    <a:t>400+</a:t>
                  </a:r>
                </a:p>
              </p:txBody>
            </p:sp>
            <p:sp>
              <p:nvSpPr>
                <p:cNvPr id="27" name="Etiquette - RangeColorLegend - DARK - Color - 10" hidden="1">
                  <a:extLst>
                    <a:ext uri="{FF2B5EF4-FFF2-40B4-BE49-F238E27FC236}">
                      <a16:creationId xmlns:a16="http://schemas.microsoft.com/office/drawing/2014/main" id="{B65C97C8-CCDD-C6D1-7E0A-BCFED64BF6AD}"/>
                    </a:ext>
                  </a:extLst>
                </p:cNvPr>
                <p:cNvSpPr/>
                <p:nvPr/>
              </p:nvSpPr>
              <p:spPr>
                <a:xfrm>
                  <a:off x="9228362" y="6304754"/>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1000"/>
                </a:p>
              </p:txBody>
            </p:sp>
            <p:sp>
              <p:nvSpPr>
                <p:cNvPr id="28" name="Etiquette - RangeColorLegend - DARK - Number - 10" hidden="1">
                  <a:extLst>
                    <a:ext uri="{FF2B5EF4-FFF2-40B4-BE49-F238E27FC236}">
                      <a16:creationId xmlns:a16="http://schemas.microsoft.com/office/drawing/2014/main" id="{145194C8-D182-333D-5013-4AE0EB1729FF}"/>
                    </a:ext>
                  </a:extLst>
                </p:cNvPr>
                <p:cNvSpPr/>
                <p:nvPr/>
              </p:nvSpPr>
              <p:spPr>
                <a:xfrm>
                  <a:off x="9383162" y="6304754"/>
                  <a:ext cx="1116000" cy="153888"/>
                </a:xfrm>
                <a:prstGeom prst="rect">
                  <a:avLst/>
                </a:prstGeom>
                <a:ln>
                  <a:noFill/>
                </a:ln>
              </p:spPr>
              <p:txBody>
                <a:bodyPr wrap="none" lIns="72000" tIns="0" rIns="0" bIns="0" anchor="ctr">
                  <a:noAutofit/>
                </a:bodyPr>
                <a:lstStyle/>
                <a:p>
                  <a:r>
                    <a:rPr lang="en-US" sz="1000"/>
                    <a:t>400+</a:t>
                  </a:r>
                </a:p>
              </p:txBody>
            </p:sp>
          </p:grpSp>
        </p:grpSp>
        <p:sp>
          <p:nvSpPr>
            <p:cNvPr id="47" name="POWER_USER_DATA_MAP_STORAGE">
              <a:extLst>
                <a:ext uri="{FF2B5EF4-FFF2-40B4-BE49-F238E27FC236}">
                  <a16:creationId xmlns:a16="http://schemas.microsoft.com/office/drawing/2014/main" id="{0E2741D5-8B75-0021-013A-E3B388685641}"/>
                </a:ext>
              </a:extLst>
            </p:cNvPr>
            <p:cNvSpPr/>
            <p:nvPr/>
          </p:nvSpPr>
          <p:spPr>
            <a:xfrm>
              <a:off x="1892976" y="1913125"/>
              <a:ext cx="0" cy="0"/>
            </a:xfrm>
            <a:prstGeom prst="rect">
              <a:avLst/>
            </a:prstGeom>
            <a:solidFill>
              <a:schemeClr val="bg1"/>
            </a:solidFill>
            <a:ln w="1270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a:p>
          </p:txBody>
        </p:sp>
      </p:grpSp>
      <p:sp>
        <p:nvSpPr>
          <p:cNvPr id="3073" name="Étoile : 5 branches 3072">
            <a:extLst>
              <a:ext uri="{FF2B5EF4-FFF2-40B4-BE49-F238E27FC236}">
                <a16:creationId xmlns:a16="http://schemas.microsoft.com/office/drawing/2014/main" id="{3927D5D1-79DC-B0DA-FAD9-189B71708E18}"/>
              </a:ext>
            </a:extLst>
          </p:cNvPr>
          <p:cNvSpPr/>
          <p:nvPr/>
        </p:nvSpPr>
        <p:spPr>
          <a:xfrm>
            <a:off x="6119055" y="3598082"/>
            <a:ext cx="90000" cy="90000"/>
          </a:xfrm>
          <a:prstGeom prst="star5">
            <a:avLst/>
          </a:prstGeom>
          <a:solidFill>
            <a:schemeClr val="accent1"/>
          </a:solidFill>
          <a:ln w="6350">
            <a:no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p>
        </p:txBody>
      </p:sp>
      <p:sp>
        <p:nvSpPr>
          <p:cNvPr id="3075" name="Étoile : 5 branches 3074">
            <a:extLst>
              <a:ext uri="{FF2B5EF4-FFF2-40B4-BE49-F238E27FC236}">
                <a16:creationId xmlns:a16="http://schemas.microsoft.com/office/drawing/2014/main" id="{9E1D119E-D732-43DD-BF67-40618AA0BFCC}"/>
              </a:ext>
            </a:extLst>
          </p:cNvPr>
          <p:cNvSpPr/>
          <p:nvPr/>
        </p:nvSpPr>
        <p:spPr>
          <a:xfrm>
            <a:off x="6224634" y="3540771"/>
            <a:ext cx="90000" cy="90000"/>
          </a:xfrm>
          <a:prstGeom prst="star5">
            <a:avLst/>
          </a:prstGeom>
          <a:solidFill>
            <a:schemeClr val="accent1"/>
          </a:solidFill>
          <a:ln w="6350">
            <a:no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p>
        </p:txBody>
      </p:sp>
      <p:sp>
        <p:nvSpPr>
          <p:cNvPr id="3076" name="Étoile : 5 branches 3075">
            <a:extLst>
              <a:ext uri="{FF2B5EF4-FFF2-40B4-BE49-F238E27FC236}">
                <a16:creationId xmlns:a16="http://schemas.microsoft.com/office/drawing/2014/main" id="{88A3B6A5-1E9D-D4F2-6EEA-9815DE2C4C82}"/>
              </a:ext>
            </a:extLst>
          </p:cNvPr>
          <p:cNvSpPr/>
          <p:nvPr/>
        </p:nvSpPr>
        <p:spPr>
          <a:xfrm>
            <a:off x="6080445" y="3502086"/>
            <a:ext cx="90000" cy="90000"/>
          </a:xfrm>
          <a:prstGeom prst="star5">
            <a:avLst/>
          </a:prstGeom>
          <a:solidFill>
            <a:schemeClr val="accent1"/>
          </a:solidFill>
          <a:ln w="6350">
            <a:no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p>
        </p:txBody>
      </p:sp>
      <p:sp>
        <p:nvSpPr>
          <p:cNvPr id="3077" name="Étoile : 5 branches 3076">
            <a:extLst>
              <a:ext uri="{FF2B5EF4-FFF2-40B4-BE49-F238E27FC236}">
                <a16:creationId xmlns:a16="http://schemas.microsoft.com/office/drawing/2014/main" id="{9139D64E-8D0B-69CE-3FDD-47666407179D}"/>
              </a:ext>
            </a:extLst>
          </p:cNvPr>
          <p:cNvSpPr/>
          <p:nvPr/>
        </p:nvSpPr>
        <p:spPr>
          <a:xfrm>
            <a:off x="5003392" y="3790172"/>
            <a:ext cx="90000" cy="90000"/>
          </a:xfrm>
          <a:prstGeom prst="star5">
            <a:avLst/>
          </a:prstGeom>
          <a:solidFill>
            <a:schemeClr val="accent1"/>
          </a:solidFill>
          <a:ln w="6350">
            <a:no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p>
        </p:txBody>
      </p:sp>
      <p:sp>
        <p:nvSpPr>
          <p:cNvPr id="3079" name="Étoile : 5 branches 3078">
            <a:extLst>
              <a:ext uri="{FF2B5EF4-FFF2-40B4-BE49-F238E27FC236}">
                <a16:creationId xmlns:a16="http://schemas.microsoft.com/office/drawing/2014/main" id="{88FD5112-F87D-A360-2FD3-117BF791B13F}"/>
              </a:ext>
            </a:extLst>
          </p:cNvPr>
          <p:cNvSpPr/>
          <p:nvPr/>
        </p:nvSpPr>
        <p:spPr>
          <a:xfrm>
            <a:off x="7875465" y="4624897"/>
            <a:ext cx="90000" cy="90000"/>
          </a:xfrm>
          <a:prstGeom prst="star5">
            <a:avLst/>
          </a:prstGeom>
          <a:solidFill>
            <a:schemeClr val="accent1"/>
          </a:solidFill>
          <a:ln w="6350">
            <a:no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p>
        </p:txBody>
      </p:sp>
      <p:cxnSp>
        <p:nvCxnSpPr>
          <p:cNvPr id="3083" name="Connecteur droit avec flèche 3082">
            <a:extLst>
              <a:ext uri="{FF2B5EF4-FFF2-40B4-BE49-F238E27FC236}">
                <a16:creationId xmlns:a16="http://schemas.microsoft.com/office/drawing/2014/main" id="{3C832832-8E44-2D88-6C74-93A3385276A0}"/>
              </a:ext>
            </a:extLst>
          </p:cNvPr>
          <p:cNvCxnSpPr>
            <a:cxnSpLocks/>
            <a:endCxn id="3077" idx="1"/>
          </p:cNvCxnSpPr>
          <p:nvPr/>
        </p:nvCxnSpPr>
        <p:spPr>
          <a:xfrm>
            <a:off x="3900706" y="2457056"/>
            <a:ext cx="1102686" cy="136749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086" name="Connecteur droit avec flèche 3085">
            <a:extLst>
              <a:ext uri="{FF2B5EF4-FFF2-40B4-BE49-F238E27FC236}">
                <a16:creationId xmlns:a16="http://schemas.microsoft.com/office/drawing/2014/main" id="{D53B157C-F0A8-6529-A2AB-AE8632C6FBE4}"/>
              </a:ext>
            </a:extLst>
          </p:cNvPr>
          <p:cNvCxnSpPr>
            <a:cxnSpLocks/>
            <a:stCxn id="127" idx="1"/>
            <a:endCxn id="3075" idx="3"/>
          </p:cNvCxnSpPr>
          <p:nvPr/>
        </p:nvCxnSpPr>
        <p:spPr>
          <a:xfrm flipH="1" flipV="1">
            <a:off x="6297445" y="3630771"/>
            <a:ext cx="1928414" cy="23737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090" name="Connecteur droit avec flèche 3089">
            <a:extLst>
              <a:ext uri="{FF2B5EF4-FFF2-40B4-BE49-F238E27FC236}">
                <a16:creationId xmlns:a16="http://schemas.microsoft.com/office/drawing/2014/main" id="{02315AA9-6F1A-2C2C-0F6B-4A6213B68EAF}"/>
              </a:ext>
            </a:extLst>
          </p:cNvPr>
          <p:cNvCxnSpPr>
            <a:cxnSpLocks/>
            <a:endCxn id="3076" idx="0"/>
          </p:cNvCxnSpPr>
          <p:nvPr/>
        </p:nvCxnSpPr>
        <p:spPr>
          <a:xfrm flipH="1">
            <a:off x="6125445" y="1968201"/>
            <a:ext cx="2105967" cy="153388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094" name="Connecteur droit avec flèche 3093">
            <a:extLst>
              <a:ext uri="{FF2B5EF4-FFF2-40B4-BE49-F238E27FC236}">
                <a16:creationId xmlns:a16="http://schemas.microsoft.com/office/drawing/2014/main" id="{752FD0E0-18A6-29C0-A893-1CDBDF069E22}"/>
              </a:ext>
            </a:extLst>
          </p:cNvPr>
          <p:cNvCxnSpPr>
            <a:cxnSpLocks/>
            <a:stCxn id="3159" idx="3"/>
            <a:endCxn id="3073" idx="2"/>
          </p:cNvCxnSpPr>
          <p:nvPr/>
        </p:nvCxnSpPr>
        <p:spPr>
          <a:xfrm flipV="1">
            <a:off x="3870541" y="3688082"/>
            <a:ext cx="2265703" cy="152605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099" name="Connecteur droit avec flèche 3098">
            <a:extLst>
              <a:ext uri="{FF2B5EF4-FFF2-40B4-BE49-F238E27FC236}">
                <a16:creationId xmlns:a16="http://schemas.microsoft.com/office/drawing/2014/main" id="{23464252-47C5-A23E-FC27-271D04290A9C}"/>
              </a:ext>
            </a:extLst>
          </p:cNvPr>
          <p:cNvCxnSpPr>
            <a:cxnSpLocks/>
            <a:stCxn id="78" idx="1"/>
            <a:endCxn id="3079" idx="4"/>
          </p:cNvCxnSpPr>
          <p:nvPr/>
        </p:nvCxnSpPr>
        <p:spPr>
          <a:xfrm flipH="1">
            <a:off x="7965465" y="4632701"/>
            <a:ext cx="265947" cy="2657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132" name="Étoile : 5 branches 3131">
            <a:extLst>
              <a:ext uri="{FF2B5EF4-FFF2-40B4-BE49-F238E27FC236}">
                <a16:creationId xmlns:a16="http://schemas.microsoft.com/office/drawing/2014/main" id="{7C9E2273-D39D-E900-FEC1-F2F75129C014}"/>
              </a:ext>
            </a:extLst>
          </p:cNvPr>
          <p:cNvSpPr/>
          <p:nvPr/>
        </p:nvSpPr>
        <p:spPr>
          <a:xfrm>
            <a:off x="5057581" y="3591896"/>
            <a:ext cx="90000" cy="90000"/>
          </a:xfrm>
          <a:prstGeom prst="star5">
            <a:avLst/>
          </a:prstGeom>
          <a:solidFill>
            <a:schemeClr val="accent1"/>
          </a:solidFill>
          <a:ln w="6350">
            <a:no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p>
        </p:txBody>
      </p:sp>
      <p:cxnSp>
        <p:nvCxnSpPr>
          <p:cNvPr id="3133" name="Connecteur droit avec flèche 3132">
            <a:extLst>
              <a:ext uri="{FF2B5EF4-FFF2-40B4-BE49-F238E27FC236}">
                <a16:creationId xmlns:a16="http://schemas.microsoft.com/office/drawing/2014/main" id="{CF62D154-15E3-08F6-B63B-B9B723ACAE0C}"/>
              </a:ext>
            </a:extLst>
          </p:cNvPr>
          <p:cNvCxnSpPr>
            <a:cxnSpLocks/>
            <a:endCxn id="3132" idx="1"/>
          </p:cNvCxnSpPr>
          <p:nvPr/>
        </p:nvCxnSpPr>
        <p:spPr>
          <a:xfrm>
            <a:off x="3898147" y="1937108"/>
            <a:ext cx="1159434" cy="168916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5" name="ZoneTexte 34">
            <a:extLst>
              <a:ext uri="{FF2B5EF4-FFF2-40B4-BE49-F238E27FC236}">
                <a16:creationId xmlns:a16="http://schemas.microsoft.com/office/drawing/2014/main" id="{31D51C00-26B3-E6DE-E6C1-36EA0CE97CE3}"/>
              </a:ext>
            </a:extLst>
          </p:cNvPr>
          <p:cNvSpPr txBox="1"/>
          <p:nvPr/>
        </p:nvSpPr>
        <p:spPr>
          <a:xfrm>
            <a:off x="728150" y="6274958"/>
            <a:ext cx="2553435" cy="523220"/>
          </a:xfrm>
          <a:prstGeom prst="rect">
            <a:avLst/>
          </a:prstGeom>
          <a:noFill/>
        </p:spPr>
        <p:txBody>
          <a:bodyPr wrap="square" rtlCol="0">
            <a:spAutoFit/>
          </a:bodyPr>
          <a:lstStyle/>
          <a:p>
            <a:r>
              <a:rPr lang="en-US" sz="1400"/>
              <a:t>Internal + external people</a:t>
            </a:r>
          </a:p>
          <a:p>
            <a:r>
              <a:rPr lang="en-US" sz="1400"/>
              <a:t>To our knowledge so far</a:t>
            </a:r>
          </a:p>
        </p:txBody>
      </p:sp>
      <p:grpSp>
        <p:nvGrpSpPr>
          <p:cNvPr id="3164" name="Groupe 3163">
            <a:extLst>
              <a:ext uri="{FF2B5EF4-FFF2-40B4-BE49-F238E27FC236}">
                <a16:creationId xmlns:a16="http://schemas.microsoft.com/office/drawing/2014/main" id="{9FA3B396-2887-B0C2-A6D0-5FE4735EC3F1}"/>
              </a:ext>
            </a:extLst>
          </p:cNvPr>
          <p:cNvGrpSpPr/>
          <p:nvPr/>
        </p:nvGrpSpPr>
        <p:grpSpPr>
          <a:xfrm>
            <a:off x="4250277" y="5460286"/>
            <a:ext cx="3691447" cy="738664"/>
            <a:chOff x="48002" y="4950726"/>
            <a:chExt cx="3691447" cy="738664"/>
          </a:xfrm>
        </p:grpSpPr>
        <p:sp>
          <p:nvSpPr>
            <p:cNvPr id="68" name="Rectangle 67">
              <a:extLst>
                <a:ext uri="{FF2B5EF4-FFF2-40B4-BE49-F238E27FC236}">
                  <a16:creationId xmlns:a16="http://schemas.microsoft.com/office/drawing/2014/main" id="{340C3DE8-A9F6-9FD6-ED10-FDF4C549BFF1}"/>
                </a:ext>
              </a:extLst>
            </p:cNvPr>
            <p:cNvSpPr>
              <a:spLocks noChangeAspect="1"/>
            </p:cNvSpPr>
            <p:nvPr/>
          </p:nvSpPr>
          <p:spPr>
            <a:xfrm>
              <a:off x="48002" y="4950726"/>
              <a:ext cx="3600000" cy="738664"/>
            </a:xfrm>
            <a:prstGeom prst="rect">
              <a:avLst/>
            </a:prstGeom>
            <a:solidFill>
              <a:srgbClr val="FFE699"/>
            </a:solidFill>
            <a:ln w="12700" cap="flat" cmpd="sng" algn="ctr">
              <a:noFill/>
              <a:prstDash val="solid"/>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43200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a:ln>
                  <a:noFill/>
                </a:ln>
                <a:solidFill>
                  <a:sysClr val="windowText" lastClr="000000"/>
                </a:solidFill>
                <a:effectLst/>
                <a:uLnTx/>
                <a:uFillTx/>
                <a:latin typeface="Calibri" panose="020F0502020204030204"/>
                <a:ea typeface="+mn-ea"/>
                <a:cs typeface="+mn-cs"/>
              </a:endParaRPr>
            </a:p>
          </p:txBody>
        </p:sp>
        <p:sp>
          <p:nvSpPr>
            <p:cNvPr id="70" name="TextBox 25">
              <a:extLst>
                <a:ext uri="{FF2B5EF4-FFF2-40B4-BE49-F238E27FC236}">
                  <a16:creationId xmlns:a16="http://schemas.microsoft.com/office/drawing/2014/main" id="{F17E84A0-2DA9-DE2B-B58E-DEE8BF756779}"/>
                </a:ext>
              </a:extLst>
            </p:cNvPr>
            <p:cNvSpPr txBox="1"/>
            <p:nvPr/>
          </p:nvSpPr>
          <p:spPr>
            <a:xfrm>
              <a:off x="2044947" y="5292214"/>
              <a:ext cx="1116000"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00" b="1">
                  <a:cs typeface="Segoe UI"/>
                </a:rPr>
                <a:t>Raphael ZIRMI</a:t>
              </a:r>
              <a:endParaRPr lang="en-US" sz="800">
                <a:cs typeface="Segoe UI"/>
              </a:endParaRPr>
            </a:p>
          </p:txBody>
        </p:sp>
        <p:sp>
          <p:nvSpPr>
            <p:cNvPr id="72" name="ZoneTexte 71">
              <a:extLst>
                <a:ext uri="{FF2B5EF4-FFF2-40B4-BE49-F238E27FC236}">
                  <a16:creationId xmlns:a16="http://schemas.microsoft.com/office/drawing/2014/main" id="{A74E5131-7B51-D615-A588-8A7BB621F1AC}"/>
                </a:ext>
              </a:extLst>
            </p:cNvPr>
            <p:cNvSpPr txBox="1"/>
            <p:nvPr/>
          </p:nvSpPr>
          <p:spPr>
            <a:xfrm>
              <a:off x="87578" y="5047387"/>
              <a:ext cx="1260000" cy="557451"/>
            </a:xfrm>
            <a:prstGeom prst="rect">
              <a:avLst/>
            </a:prstGeom>
            <a:noFill/>
          </p:spPr>
          <p:txBody>
            <a:bodyPr wrap="square" lIns="36000" tIns="36000" rIns="36000" bIns="36000" rtlCol="0" anchor="ctr" anchorCtr="0">
              <a:spAutoFit/>
            </a:bodyPr>
            <a:lstStyle/>
            <a:p>
              <a:pPr algn="ctr"/>
              <a:r>
                <a:rPr lang="en-US" sz="1050" b="1"/>
                <a:t>Holding</a:t>
              </a:r>
            </a:p>
            <a:p>
              <a:pPr algn="ctr"/>
              <a:r>
                <a:rPr lang="en-US" sz="1050"/>
                <a:t>Central services</a:t>
              </a:r>
            </a:p>
            <a:p>
              <a:pPr algn="ctr"/>
              <a:r>
                <a:rPr lang="en-US" sz="1050"/>
                <a:t>SAP BW</a:t>
              </a:r>
            </a:p>
          </p:txBody>
        </p:sp>
        <p:sp>
          <p:nvSpPr>
            <p:cNvPr id="74" name="TextBox 25">
              <a:extLst>
                <a:ext uri="{FF2B5EF4-FFF2-40B4-BE49-F238E27FC236}">
                  <a16:creationId xmlns:a16="http://schemas.microsoft.com/office/drawing/2014/main" id="{95B72FCC-263C-5DC8-53F3-28E9C5D8B680}"/>
                </a:ext>
              </a:extLst>
            </p:cNvPr>
            <p:cNvSpPr txBox="1"/>
            <p:nvPr/>
          </p:nvSpPr>
          <p:spPr>
            <a:xfrm>
              <a:off x="1812089" y="4992731"/>
              <a:ext cx="1116000"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00" b="1">
                  <a:cs typeface="Segoe UI"/>
                </a:rPr>
                <a:t>Dominique POLVERELLI</a:t>
              </a:r>
              <a:endParaRPr lang="en-US" sz="800">
                <a:cs typeface="Segoe UI"/>
              </a:endParaRPr>
            </a:p>
          </p:txBody>
        </p:sp>
        <p:sp>
          <p:nvSpPr>
            <p:cNvPr id="3112" name="TextBox 25">
              <a:extLst>
                <a:ext uri="{FF2B5EF4-FFF2-40B4-BE49-F238E27FC236}">
                  <a16:creationId xmlns:a16="http://schemas.microsoft.com/office/drawing/2014/main" id="{01DB0503-B3FA-AC4B-E1F6-12669A70BCCA}"/>
                </a:ext>
              </a:extLst>
            </p:cNvPr>
            <p:cNvSpPr txBox="1"/>
            <p:nvPr/>
          </p:nvSpPr>
          <p:spPr>
            <a:xfrm>
              <a:off x="2766779" y="5131197"/>
              <a:ext cx="97267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3F3F3F"/>
                  </a:solidFill>
                  <a:latin typeface="Vinci Sans Light"/>
                  <a:cs typeface="Segoe UI"/>
                </a:rPr>
                <a:t>16 Peopl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3F3F3F"/>
                  </a:solidFill>
                  <a:latin typeface="Vinci Sans Light"/>
                  <a:cs typeface="Segoe UI"/>
                </a:rPr>
                <a:t>(12 data engineers)</a:t>
              </a:r>
              <a:endParaRPr kumimoji="0" lang="en-US" sz="800" b="0" i="0" u="none" strike="noStrike" kern="1200" cap="none" spc="0" normalizeH="0" baseline="0">
                <a:ln>
                  <a:noFill/>
                </a:ln>
                <a:solidFill>
                  <a:srgbClr val="3F3F3F"/>
                </a:solidFill>
                <a:effectLst/>
                <a:uLnTx/>
                <a:uFillTx/>
                <a:latin typeface="Vinci Sans Light"/>
                <a:cs typeface="Segoe UI"/>
              </a:endParaRPr>
            </a:p>
          </p:txBody>
        </p:sp>
        <p:pic>
          <p:nvPicPr>
            <p:cNvPr id="34" name="Picture 10">
              <a:extLst>
                <a:ext uri="{FF2B5EF4-FFF2-40B4-BE49-F238E27FC236}">
                  <a16:creationId xmlns:a16="http://schemas.microsoft.com/office/drawing/2014/main" id="{E0B885CF-DD13-A0FE-34FC-DC2EF2BAF98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385" r="385"/>
            <a:stretch/>
          </p:blipFill>
          <p:spPr bwMode="auto">
            <a:xfrm>
              <a:off x="1329115" y="4974043"/>
              <a:ext cx="421200" cy="42120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69" name="Picture 10" descr="Raphaël Zirmi">
              <a:extLst>
                <a:ext uri="{FF2B5EF4-FFF2-40B4-BE49-F238E27FC236}">
                  <a16:creationId xmlns:a16="http://schemas.microsoft.com/office/drawing/2014/main" id="{A3635245-41D2-4537-63EE-2BCF3E7DA02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90585" y="5229061"/>
              <a:ext cx="421200" cy="42120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grpSp>
        <p:nvGrpSpPr>
          <p:cNvPr id="3199" name="Groupe 3198">
            <a:extLst>
              <a:ext uri="{FF2B5EF4-FFF2-40B4-BE49-F238E27FC236}">
                <a16:creationId xmlns:a16="http://schemas.microsoft.com/office/drawing/2014/main" id="{33C05AD5-C062-3079-8970-E09B679B5A39}"/>
              </a:ext>
            </a:extLst>
          </p:cNvPr>
          <p:cNvGrpSpPr/>
          <p:nvPr/>
        </p:nvGrpSpPr>
        <p:grpSpPr>
          <a:xfrm>
            <a:off x="300706" y="2226855"/>
            <a:ext cx="3600000" cy="460401"/>
            <a:chOff x="273100" y="1679593"/>
            <a:chExt cx="3600000" cy="460401"/>
          </a:xfrm>
        </p:grpSpPr>
        <p:sp>
          <p:nvSpPr>
            <p:cNvPr id="88" name="Rectangle 87">
              <a:extLst>
                <a:ext uri="{FF2B5EF4-FFF2-40B4-BE49-F238E27FC236}">
                  <a16:creationId xmlns:a16="http://schemas.microsoft.com/office/drawing/2014/main" id="{C609EB63-79CC-F3D2-6736-AB0A3A2397C1}"/>
                </a:ext>
              </a:extLst>
            </p:cNvPr>
            <p:cNvSpPr>
              <a:spLocks noChangeAspect="1"/>
            </p:cNvSpPr>
            <p:nvPr/>
          </p:nvSpPr>
          <p:spPr>
            <a:xfrm>
              <a:off x="273100" y="1679593"/>
              <a:ext cx="3600000" cy="460401"/>
            </a:xfrm>
            <a:prstGeom prst="rect">
              <a:avLst/>
            </a:prstGeom>
            <a:solidFill>
              <a:schemeClr val="accent3">
                <a:lumMod val="20000"/>
                <a:lumOff val="80000"/>
              </a:schemeClr>
            </a:solidFill>
            <a:ln w="12700" cap="flat" cmpd="sng" algn="ctr">
              <a:noFill/>
              <a:prstDash val="solid"/>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43200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a:ln>
                  <a:noFill/>
                </a:ln>
                <a:solidFill>
                  <a:sysClr val="windowText" lastClr="000000"/>
                </a:solidFill>
                <a:effectLst/>
                <a:uLnTx/>
                <a:uFillTx/>
                <a:latin typeface="Calibri" panose="020F0502020204030204"/>
                <a:ea typeface="+mn-ea"/>
                <a:cs typeface="+mn-cs"/>
              </a:endParaRPr>
            </a:p>
          </p:txBody>
        </p:sp>
        <p:pic>
          <p:nvPicPr>
            <p:cNvPr id="90" name="Picture 18" descr="Rafael Klein">
              <a:extLst>
                <a:ext uri="{FF2B5EF4-FFF2-40B4-BE49-F238E27FC236}">
                  <a16:creationId xmlns:a16="http://schemas.microsoft.com/office/drawing/2014/main" id="{7139B3AF-803D-C1A5-951B-446D1DF4F1B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4213" y="1699193"/>
              <a:ext cx="421200" cy="421200"/>
            </a:xfrm>
            <a:prstGeom prst="ellipse">
              <a:avLst/>
            </a:prstGeom>
            <a:solidFill>
              <a:schemeClr val="accent3">
                <a:lumMod val="20000"/>
                <a:lumOff val="80000"/>
              </a:schemeClr>
            </a:solidFill>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91" name="TextBox 25">
              <a:extLst>
                <a:ext uri="{FF2B5EF4-FFF2-40B4-BE49-F238E27FC236}">
                  <a16:creationId xmlns:a16="http://schemas.microsoft.com/office/drawing/2014/main" id="{2AA84F02-BD8F-05BB-BE38-B87E3700810A}"/>
                </a:ext>
              </a:extLst>
            </p:cNvPr>
            <p:cNvSpPr txBox="1"/>
            <p:nvPr/>
          </p:nvSpPr>
          <p:spPr>
            <a:xfrm>
              <a:off x="2037187" y="1802071"/>
              <a:ext cx="1116000"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00" b="1">
                  <a:cs typeface="Segoe UI"/>
                </a:rPr>
                <a:t>Rafael KLEIN</a:t>
              </a:r>
              <a:endParaRPr lang="en-US" sz="800">
                <a:cs typeface="Segoe UI"/>
              </a:endParaRPr>
            </a:p>
          </p:txBody>
        </p:sp>
        <p:sp>
          <p:nvSpPr>
            <p:cNvPr id="92" name="ZoneTexte 91">
              <a:extLst>
                <a:ext uri="{FF2B5EF4-FFF2-40B4-BE49-F238E27FC236}">
                  <a16:creationId xmlns:a16="http://schemas.microsoft.com/office/drawing/2014/main" id="{6E89F56E-3211-9ECC-AB9C-2DE7C002592A}"/>
                </a:ext>
              </a:extLst>
            </p:cNvPr>
            <p:cNvSpPr txBox="1"/>
            <p:nvPr/>
          </p:nvSpPr>
          <p:spPr>
            <a:xfrm>
              <a:off x="312676" y="1711859"/>
              <a:ext cx="1260000" cy="395869"/>
            </a:xfrm>
            <a:prstGeom prst="rect">
              <a:avLst/>
            </a:prstGeom>
            <a:noFill/>
          </p:spPr>
          <p:txBody>
            <a:bodyPr wrap="square" lIns="36000" tIns="36000" rIns="36000" bIns="36000" rtlCol="0" anchor="ctr" anchorCtr="0">
              <a:spAutoFit/>
            </a:bodyPr>
            <a:lstStyle/>
            <a:p>
              <a:pPr algn="ctr"/>
              <a:r>
                <a:rPr lang="en-US" sz="1050" b="1"/>
                <a:t>America Oceania</a:t>
              </a:r>
            </a:p>
            <a:p>
              <a:pPr algn="ctr"/>
              <a:r>
                <a:rPr lang="en-US" sz="1050"/>
                <a:t>USA Holding</a:t>
              </a:r>
            </a:p>
          </p:txBody>
        </p:sp>
        <p:sp>
          <p:nvSpPr>
            <p:cNvPr id="36" name="TextBox 25">
              <a:extLst>
                <a:ext uri="{FF2B5EF4-FFF2-40B4-BE49-F238E27FC236}">
                  <a16:creationId xmlns:a16="http://schemas.microsoft.com/office/drawing/2014/main" id="{F9A9A164-426A-6A21-D793-C5DF0C7902F9}"/>
                </a:ext>
              </a:extLst>
            </p:cNvPr>
            <p:cNvSpPr txBox="1"/>
            <p:nvPr/>
          </p:nvSpPr>
          <p:spPr>
            <a:xfrm>
              <a:off x="2897871" y="1740516"/>
              <a:ext cx="97267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3F3F3F"/>
                  </a:solidFill>
                  <a:latin typeface="Vinci Sans Light"/>
                  <a:cs typeface="Segoe UI"/>
                </a:rPr>
                <a:t>2 Peopl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3F3F3F"/>
                  </a:solidFill>
                  <a:latin typeface="Vinci Sans Light"/>
                  <a:cs typeface="Segoe UI"/>
                </a:rPr>
                <a:t>(1 data engineers)</a:t>
              </a:r>
              <a:endParaRPr kumimoji="0" lang="en-US" sz="800" b="0" i="0" u="none" strike="noStrike" kern="1200" cap="none" spc="0" normalizeH="0" baseline="0">
                <a:ln>
                  <a:noFill/>
                </a:ln>
                <a:solidFill>
                  <a:srgbClr val="3F3F3F"/>
                </a:solidFill>
                <a:effectLst/>
                <a:uLnTx/>
                <a:uFillTx/>
                <a:latin typeface="Vinci Sans Light"/>
                <a:cs typeface="Segoe UI"/>
              </a:endParaRPr>
            </a:p>
          </p:txBody>
        </p:sp>
      </p:grpSp>
      <p:grpSp>
        <p:nvGrpSpPr>
          <p:cNvPr id="3194" name="Groupe 3193">
            <a:extLst>
              <a:ext uri="{FF2B5EF4-FFF2-40B4-BE49-F238E27FC236}">
                <a16:creationId xmlns:a16="http://schemas.microsoft.com/office/drawing/2014/main" id="{98F2C016-743F-37E2-1EF9-74AF59750D3D}"/>
              </a:ext>
            </a:extLst>
          </p:cNvPr>
          <p:cNvGrpSpPr/>
          <p:nvPr/>
        </p:nvGrpSpPr>
        <p:grpSpPr>
          <a:xfrm>
            <a:off x="273100" y="4983060"/>
            <a:ext cx="3600000" cy="462157"/>
            <a:chOff x="273100" y="4983060"/>
            <a:chExt cx="3600000" cy="462157"/>
          </a:xfrm>
        </p:grpSpPr>
        <p:sp>
          <p:nvSpPr>
            <p:cNvPr id="56" name="Rectangle 55">
              <a:extLst>
                <a:ext uri="{FF2B5EF4-FFF2-40B4-BE49-F238E27FC236}">
                  <a16:creationId xmlns:a16="http://schemas.microsoft.com/office/drawing/2014/main" id="{6E06BEBE-8BDC-0505-F542-A2F6CE0C3D85}"/>
                </a:ext>
              </a:extLst>
            </p:cNvPr>
            <p:cNvSpPr>
              <a:spLocks noChangeAspect="1"/>
            </p:cNvSpPr>
            <p:nvPr/>
          </p:nvSpPr>
          <p:spPr>
            <a:xfrm>
              <a:off x="273100" y="4983060"/>
              <a:ext cx="3600000" cy="462157"/>
            </a:xfrm>
            <a:prstGeom prst="rect">
              <a:avLst/>
            </a:prstGeom>
            <a:solidFill>
              <a:srgbClr val="FFE699"/>
            </a:solidFill>
            <a:ln w="12700" cap="flat" cmpd="sng" algn="ctr">
              <a:noFill/>
              <a:prstDash val="solid"/>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43200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a:ln>
                  <a:noFill/>
                </a:ln>
                <a:solidFill>
                  <a:sysClr val="windowText" lastClr="000000"/>
                </a:solidFill>
                <a:effectLst/>
                <a:uLnTx/>
                <a:uFillTx/>
                <a:latin typeface="Calibri" panose="020F0502020204030204"/>
                <a:ea typeface="+mn-ea"/>
                <a:cs typeface="+mn-cs"/>
              </a:endParaRPr>
            </a:p>
          </p:txBody>
        </p:sp>
        <p:sp>
          <p:nvSpPr>
            <p:cNvPr id="57" name="ZoneTexte 56">
              <a:extLst>
                <a:ext uri="{FF2B5EF4-FFF2-40B4-BE49-F238E27FC236}">
                  <a16:creationId xmlns:a16="http://schemas.microsoft.com/office/drawing/2014/main" id="{D406D3F5-D860-6FD1-E26D-4BB6B8699CBF}"/>
                </a:ext>
              </a:extLst>
            </p:cNvPr>
            <p:cNvSpPr txBox="1"/>
            <p:nvPr/>
          </p:nvSpPr>
          <p:spPr>
            <a:xfrm>
              <a:off x="2037187" y="5106416"/>
              <a:ext cx="1116000" cy="215444"/>
            </a:xfrm>
            <a:prstGeom prst="rect">
              <a:avLst/>
            </a:prstGeom>
            <a:noFill/>
            <a:ln>
              <a:noFill/>
            </a:ln>
          </p:spPr>
          <p:txBody>
            <a:bodyPr wrap="square" rtlCol="0">
              <a:spAutoFit/>
            </a:bodyPr>
            <a:lstStyle/>
            <a:p>
              <a:r>
                <a:rPr lang="en-US" sz="800" b="1"/>
                <a:t>David VINCENT</a:t>
              </a:r>
              <a:endParaRPr lang="en-US" sz="800"/>
            </a:p>
          </p:txBody>
        </p:sp>
        <p:pic>
          <p:nvPicPr>
            <p:cNvPr id="59" name="Picture 4" descr="David VINCENT">
              <a:extLst>
                <a:ext uri="{FF2B5EF4-FFF2-40B4-BE49-F238E27FC236}">
                  <a16:creationId xmlns:a16="http://schemas.microsoft.com/office/drawing/2014/main" id="{9541FE15-32AA-3251-0840-44F2F40320E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54213" y="5003538"/>
              <a:ext cx="421200" cy="42120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60" name="ZoneTexte 59">
              <a:extLst>
                <a:ext uri="{FF2B5EF4-FFF2-40B4-BE49-F238E27FC236}">
                  <a16:creationId xmlns:a16="http://schemas.microsoft.com/office/drawing/2014/main" id="{9EFA4173-18C6-9961-2641-6DD458F1D96A}"/>
                </a:ext>
              </a:extLst>
            </p:cNvPr>
            <p:cNvSpPr txBox="1"/>
            <p:nvPr/>
          </p:nvSpPr>
          <p:spPr>
            <a:xfrm>
              <a:off x="312676" y="5016204"/>
              <a:ext cx="1260000" cy="395869"/>
            </a:xfrm>
            <a:prstGeom prst="rect">
              <a:avLst/>
            </a:prstGeom>
            <a:noFill/>
          </p:spPr>
          <p:txBody>
            <a:bodyPr wrap="square" lIns="36000" tIns="36000" rIns="36000" bIns="36000" rtlCol="0" anchor="ctr" anchorCtr="0">
              <a:spAutoFit/>
            </a:bodyPr>
            <a:lstStyle/>
            <a:p>
              <a:pPr algn="ctr"/>
              <a:r>
                <a:rPr lang="en-US" sz="1050" b="1"/>
                <a:t>France Divisions</a:t>
              </a:r>
            </a:p>
            <a:p>
              <a:pPr algn="ctr"/>
              <a:r>
                <a:rPr lang="en-US" sz="1050"/>
                <a:t>Central services</a:t>
              </a:r>
            </a:p>
          </p:txBody>
        </p:sp>
        <p:sp>
          <p:nvSpPr>
            <p:cNvPr id="3159" name="TextBox 25">
              <a:extLst>
                <a:ext uri="{FF2B5EF4-FFF2-40B4-BE49-F238E27FC236}">
                  <a16:creationId xmlns:a16="http://schemas.microsoft.com/office/drawing/2014/main" id="{84DDAE65-975F-75A2-5A78-4825C0AA1327}"/>
                </a:ext>
              </a:extLst>
            </p:cNvPr>
            <p:cNvSpPr txBox="1"/>
            <p:nvPr/>
          </p:nvSpPr>
          <p:spPr>
            <a:xfrm>
              <a:off x="2927544" y="5044861"/>
              <a:ext cx="942997"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3F3F3F"/>
                  </a:solidFill>
                  <a:latin typeface="Vinci Sans Light"/>
                  <a:cs typeface="Segoe UI"/>
                </a:rPr>
                <a:t>14 Peopl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3F3F3F"/>
                  </a:solidFill>
                  <a:latin typeface="Vinci Sans Light"/>
                  <a:cs typeface="Segoe UI"/>
                </a:rPr>
                <a:t>(6 data engineers)</a:t>
              </a:r>
              <a:endParaRPr kumimoji="0" lang="en-US" sz="800" b="0" i="0" u="none" strike="noStrike" kern="1200" cap="none" spc="0" normalizeH="0" baseline="0">
                <a:ln>
                  <a:noFill/>
                </a:ln>
                <a:solidFill>
                  <a:srgbClr val="3F3F3F"/>
                </a:solidFill>
                <a:effectLst/>
                <a:uLnTx/>
                <a:uFillTx/>
                <a:latin typeface="Vinci Sans Light"/>
                <a:cs typeface="Segoe UI"/>
              </a:endParaRPr>
            </a:p>
          </p:txBody>
        </p:sp>
      </p:grpSp>
      <p:grpSp>
        <p:nvGrpSpPr>
          <p:cNvPr id="3193" name="Groupe 3192">
            <a:extLst>
              <a:ext uri="{FF2B5EF4-FFF2-40B4-BE49-F238E27FC236}">
                <a16:creationId xmlns:a16="http://schemas.microsoft.com/office/drawing/2014/main" id="{DFA9734F-EA3D-C5FF-FB21-C28414424E1D}"/>
              </a:ext>
            </a:extLst>
          </p:cNvPr>
          <p:cNvGrpSpPr/>
          <p:nvPr/>
        </p:nvGrpSpPr>
        <p:grpSpPr>
          <a:xfrm>
            <a:off x="273100" y="5689646"/>
            <a:ext cx="3600000" cy="557451"/>
            <a:chOff x="273100" y="5689646"/>
            <a:chExt cx="3600000" cy="557451"/>
          </a:xfrm>
        </p:grpSpPr>
        <p:sp>
          <p:nvSpPr>
            <p:cNvPr id="50" name="Rectangle 49">
              <a:extLst>
                <a:ext uri="{FF2B5EF4-FFF2-40B4-BE49-F238E27FC236}">
                  <a16:creationId xmlns:a16="http://schemas.microsoft.com/office/drawing/2014/main" id="{703D70A3-BDFD-E2D9-CE68-754924F96303}"/>
                </a:ext>
              </a:extLst>
            </p:cNvPr>
            <p:cNvSpPr>
              <a:spLocks noChangeAspect="1"/>
            </p:cNvSpPr>
            <p:nvPr/>
          </p:nvSpPr>
          <p:spPr>
            <a:xfrm>
              <a:off x="273100" y="5737792"/>
              <a:ext cx="3600000" cy="461158"/>
            </a:xfrm>
            <a:prstGeom prst="rect">
              <a:avLst/>
            </a:prstGeom>
            <a:solidFill>
              <a:srgbClr val="FFE699"/>
            </a:solidFill>
            <a:ln w="12700" cap="flat" cmpd="sng" algn="ctr">
              <a:noFill/>
              <a:prstDash val="solid"/>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43200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a:ln>
                  <a:noFill/>
                </a:ln>
                <a:solidFill>
                  <a:sysClr val="windowText" lastClr="000000"/>
                </a:solidFill>
                <a:effectLst/>
                <a:uLnTx/>
                <a:uFillTx/>
                <a:latin typeface="Calibri" panose="020F0502020204030204"/>
                <a:ea typeface="+mn-ea"/>
                <a:cs typeface="+mn-cs"/>
              </a:endParaRPr>
            </a:p>
          </p:txBody>
        </p:sp>
        <p:sp>
          <p:nvSpPr>
            <p:cNvPr id="51" name="TextBox 25">
              <a:extLst>
                <a:ext uri="{FF2B5EF4-FFF2-40B4-BE49-F238E27FC236}">
                  <a16:creationId xmlns:a16="http://schemas.microsoft.com/office/drawing/2014/main" id="{F186E548-19E9-D029-E928-80978E47E21F}"/>
                </a:ext>
              </a:extLst>
            </p:cNvPr>
            <p:cNvSpPr txBox="1"/>
            <p:nvPr/>
          </p:nvSpPr>
          <p:spPr>
            <a:xfrm>
              <a:off x="2037187" y="5860649"/>
              <a:ext cx="1116000"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00" b="1">
                  <a:cs typeface="Segoe UI"/>
                </a:rPr>
                <a:t>Vincent AUGIER</a:t>
              </a:r>
              <a:endParaRPr lang="en-US" sz="800">
                <a:cs typeface="Segoe UI"/>
              </a:endParaRPr>
            </a:p>
          </p:txBody>
        </p:sp>
        <p:sp>
          <p:nvSpPr>
            <p:cNvPr id="53" name="ZoneTexte 52">
              <a:extLst>
                <a:ext uri="{FF2B5EF4-FFF2-40B4-BE49-F238E27FC236}">
                  <a16:creationId xmlns:a16="http://schemas.microsoft.com/office/drawing/2014/main" id="{E5A77705-7C0E-9E44-668E-170731EBBB42}"/>
                </a:ext>
              </a:extLst>
            </p:cNvPr>
            <p:cNvSpPr txBox="1"/>
            <p:nvPr/>
          </p:nvSpPr>
          <p:spPr>
            <a:xfrm>
              <a:off x="312676" y="5689646"/>
              <a:ext cx="1260000" cy="557451"/>
            </a:xfrm>
            <a:prstGeom prst="rect">
              <a:avLst/>
            </a:prstGeom>
            <a:noFill/>
          </p:spPr>
          <p:txBody>
            <a:bodyPr wrap="square" lIns="36000" tIns="36000" rIns="36000" bIns="36000" rtlCol="0" anchor="ctr" anchorCtr="0">
              <a:spAutoFit/>
            </a:bodyPr>
            <a:lstStyle/>
            <a:p>
              <a:pPr algn="ctr"/>
              <a:r>
                <a:rPr lang="en-US" sz="1050" b="1"/>
                <a:t>Holding </a:t>
              </a:r>
            </a:p>
            <a:p>
              <a:pPr algn="ctr"/>
              <a:r>
                <a:rPr lang="en-US" sz="1050"/>
                <a:t>Central services</a:t>
              </a:r>
            </a:p>
            <a:p>
              <a:pPr algn="ctr"/>
              <a:r>
                <a:rPr lang="en-US" sz="1050"/>
                <a:t>Sage</a:t>
              </a:r>
            </a:p>
          </p:txBody>
        </p:sp>
        <p:pic>
          <p:nvPicPr>
            <p:cNvPr id="54" name="Image 53">
              <a:extLst>
                <a:ext uri="{FF2B5EF4-FFF2-40B4-BE49-F238E27FC236}">
                  <a16:creationId xmlns:a16="http://schemas.microsoft.com/office/drawing/2014/main" id="{7AE426D4-6862-6EFA-55E5-BE382CA018CD}"/>
                </a:ext>
              </a:extLst>
            </p:cNvPr>
            <p:cNvPicPr>
              <a:picLocks noChangeAspect="1"/>
            </p:cNvPicPr>
            <p:nvPr/>
          </p:nvPicPr>
          <p:blipFill>
            <a:blip r:embed="rId7">
              <a:extLst>
                <a:ext uri="{28A0092B-C50C-407E-A947-70E740481C1C}">
                  <a14:useLocalDpi xmlns:a14="http://schemas.microsoft.com/office/drawing/2010/main" val="0"/>
                </a:ext>
              </a:extLst>
            </a:blip>
            <a:srcRect l="46" r="46"/>
            <a:stretch/>
          </p:blipFill>
          <p:spPr>
            <a:xfrm>
              <a:off x="1554213" y="5757771"/>
              <a:ext cx="428368" cy="42120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3160" name="TextBox 25">
              <a:extLst>
                <a:ext uri="{FF2B5EF4-FFF2-40B4-BE49-F238E27FC236}">
                  <a16:creationId xmlns:a16="http://schemas.microsoft.com/office/drawing/2014/main" id="{DF396F96-FCE0-5BF3-7BD2-3C9C5CAB8AB3}"/>
                </a:ext>
              </a:extLst>
            </p:cNvPr>
            <p:cNvSpPr txBox="1"/>
            <p:nvPr/>
          </p:nvSpPr>
          <p:spPr>
            <a:xfrm>
              <a:off x="2897871" y="5799094"/>
              <a:ext cx="97267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3F3F3F"/>
                  </a:solidFill>
                  <a:latin typeface="Vinci Sans Light"/>
                  <a:cs typeface="Segoe UI"/>
                </a:rPr>
                <a:t>1 Peopl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3F3F3F"/>
                  </a:solidFill>
                  <a:latin typeface="Vinci Sans Light"/>
                  <a:cs typeface="Segoe UI"/>
                </a:rPr>
                <a:t>(1 data engineers)</a:t>
              </a:r>
              <a:endParaRPr kumimoji="0" lang="en-US" sz="800" b="0" i="0" u="none" strike="noStrike" kern="1200" cap="none" spc="0" normalizeH="0" baseline="0">
                <a:ln>
                  <a:noFill/>
                </a:ln>
                <a:solidFill>
                  <a:srgbClr val="3F3F3F"/>
                </a:solidFill>
                <a:effectLst/>
                <a:uLnTx/>
                <a:uFillTx/>
                <a:latin typeface="Vinci Sans Light"/>
                <a:cs typeface="Segoe UI"/>
              </a:endParaRPr>
            </a:p>
          </p:txBody>
        </p:sp>
      </p:grpSp>
      <p:grpSp>
        <p:nvGrpSpPr>
          <p:cNvPr id="83" name="Groupe 82">
            <a:extLst>
              <a:ext uri="{FF2B5EF4-FFF2-40B4-BE49-F238E27FC236}">
                <a16:creationId xmlns:a16="http://schemas.microsoft.com/office/drawing/2014/main" id="{BB41E2A1-0F68-6388-5FDD-1F532AF8DB81}"/>
              </a:ext>
            </a:extLst>
          </p:cNvPr>
          <p:cNvGrpSpPr/>
          <p:nvPr/>
        </p:nvGrpSpPr>
        <p:grpSpPr>
          <a:xfrm>
            <a:off x="8231412" y="5686225"/>
            <a:ext cx="3600000" cy="557451"/>
            <a:chOff x="8231412" y="5686225"/>
            <a:chExt cx="3600000" cy="557451"/>
          </a:xfrm>
        </p:grpSpPr>
        <p:sp>
          <p:nvSpPr>
            <p:cNvPr id="62" name="Rectangle 61">
              <a:extLst>
                <a:ext uri="{FF2B5EF4-FFF2-40B4-BE49-F238E27FC236}">
                  <a16:creationId xmlns:a16="http://schemas.microsoft.com/office/drawing/2014/main" id="{65053F53-F500-C0E3-59CE-0A6B7BE64CB8}"/>
                </a:ext>
              </a:extLst>
            </p:cNvPr>
            <p:cNvSpPr>
              <a:spLocks/>
            </p:cNvSpPr>
            <p:nvPr/>
          </p:nvSpPr>
          <p:spPr>
            <a:xfrm>
              <a:off x="8231412" y="5731766"/>
              <a:ext cx="3600000" cy="468000"/>
            </a:xfrm>
            <a:prstGeom prst="rect">
              <a:avLst/>
            </a:prstGeom>
            <a:solidFill>
              <a:srgbClr val="FFE699"/>
            </a:solidFill>
            <a:ln w="12700" cap="flat" cmpd="sng" algn="ctr">
              <a:noFill/>
              <a:prstDash val="solid"/>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43200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a:ln>
                  <a:noFill/>
                </a:ln>
                <a:solidFill>
                  <a:sysClr val="windowText" lastClr="000000"/>
                </a:solidFill>
                <a:effectLst/>
                <a:uLnTx/>
                <a:uFillTx/>
                <a:latin typeface="Calibri" panose="020F0502020204030204"/>
                <a:ea typeface="+mn-ea"/>
                <a:cs typeface="+mn-cs"/>
              </a:endParaRPr>
            </a:p>
          </p:txBody>
        </p:sp>
        <p:sp>
          <p:nvSpPr>
            <p:cNvPr id="64" name="ZoneTexte 63">
              <a:extLst>
                <a:ext uri="{FF2B5EF4-FFF2-40B4-BE49-F238E27FC236}">
                  <a16:creationId xmlns:a16="http://schemas.microsoft.com/office/drawing/2014/main" id="{808D6FD8-97D5-09DD-0FC1-F376AA65DAA8}"/>
                </a:ext>
              </a:extLst>
            </p:cNvPr>
            <p:cNvSpPr txBox="1"/>
            <p:nvPr/>
          </p:nvSpPr>
          <p:spPr>
            <a:xfrm>
              <a:off x="8231412" y="5686225"/>
              <a:ext cx="1260000" cy="557451"/>
            </a:xfrm>
            <a:prstGeom prst="rect">
              <a:avLst/>
            </a:prstGeom>
            <a:noFill/>
          </p:spPr>
          <p:txBody>
            <a:bodyPr wrap="square" lIns="36000" tIns="36000" rIns="36000" bIns="36000" rtlCol="0" anchor="ctr" anchorCtr="0">
              <a:spAutoFit/>
            </a:bodyPr>
            <a:lstStyle/>
            <a:p>
              <a:pPr algn="ctr"/>
              <a:r>
                <a:rPr lang="en-US" sz="1050" b="1"/>
                <a:t>Holding</a:t>
              </a:r>
            </a:p>
            <a:p>
              <a:pPr algn="ctr"/>
              <a:r>
                <a:rPr lang="en-US" sz="1050"/>
                <a:t>Central services</a:t>
              </a:r>
            </a:p>
            <a:p>
              <a:pPr algn="ctr"/>
              <a:r>
                <a:rPr lang="en-US" sz="1050"/>
                <a:t>Microsoft</a:t>
              </a:r>
            </a:p>
          </p:txBody>
        </p:sp>
        <p:pic>
          <p:nvPicPr>
            <p:cNvPr id="65" name="Image 64">
              <a:extLst>
                <a:ext uri="{FF2B5EF4-FFF2-40B4-BE49-F238E27FC236}">
                  <a16:creationId xmlns:a16="http://schemas.microsoft.com/office/drawing/2014/main" id="{C6898964-498C-E31C-CA3E-575CF064DBF2}"/>
                </a:ext>
              </a:extLst>
            </p:cNvPr>
            <p:cNvPicPr>
              <a:picLocks noChangeAspect="1"/>
            </p:cNvPicPr>
            <p:nvPr/>
          </p:nvPicPr>
          <p:blipFill rotWithShape="1">
            <a:blip r:embed="rId8">
              <a:extLst>
                <a:ext uri="{28A0092B-C50C-407E-A947-70E740481C1C}">
                  <a14:useLocalDpi xmlns:a14="http://schemas.microsoft.com/office/drawing/2010/main" val="0"/>
                </a:ext>
              </a:extLst>
            </a:blip>
            <a:srcRect t="667" b="667"/>
            <a:stretch/>
          </p:blipFill>
          <p:spPr>
            <a:xfrm>
              <a:off x="9416637" y="5730950"/>
              <a:ext cx="468000" cy="468000"/>
            </a:xfrm>
            <a:prstGeom prst="ellipse">
              <a:avLst/>
            </a:prstGeom>
            <a:ln w="12700">
              <a:noFill/>
            </a:ln>
          </p:spPr>
        </p:pic>
        <p:sp>
          <p:nvSpPr>
            <p:cNvPr id="66" name="ZoneTexte 65">
              <a:extLst>
                <a:ext uri="{FF2B5EF4-FFF2-40B4-BE49-F238E27FC236}">
                  <a16:creationId xmlns:a16="http://schemas.microsoft.com/office/drawing/2014/main" id="{0024B07C-30F1-31FC-38E7-2BA66FDFD656}"/>
                </a:ext>
              </a:extLst>
            </p:cNvPr>
            <p:cNvSpPr txBox="1"/>
            <p:nvPr/>
          </p:nvSpPr>
          <p:spPr>
            <a:xfrm>
              <a:off x="9874862" y="5857228"/>
              <a:ext cx="1116000" cy="215444"/>
            </a:xfrm>
            <a:prstGeom prst="rect">
              <a:avLst/>
            </a:prstGeom>
            <a:noFill/>
            <a:ln>
              <a:noFill/>
            </a:ln>
          </p:spPr>
          <p:txBody>
            <a:bodyPr wrap="square" rtlCol="0">
              <a:spAutoFit/>
            </a:bodyPr>
            <a:lstStyle/>
            <a:p>
              <a:r>
                <a:rPr lang="en-US" sz="800" b="1"/>
                <a:t>Camille VANEENOGE</a:t>
              </a:r>
              <a:endParaRPr lang="en-US" sz="800"/>
            </a:p>
          </p:txBody>
        </p:sp>
        <p:sp>
          <p:nvSpPr>
            <p:cNvPr id="3161" name="TextBox 25">
              <a:extLst>
                <a:ext uri="{FF2B5EF4-FFF2-40B4-BE49-F238E27FC236}">
                  <a16:creationId xmlns:a16="http://schemas.microsoft.com/office/drawing/2014/main" id="{0C5A9F8E-EA20-05FC-37E3-C9176D8304ED}"/>
                </a:ext>
              </a:extLst>
            </p:cNvPr>
            <p:cNvSpPr txBox="1"/>
            <p:nvPr/>
          </p:nvSpPr>
          <p:spPr>
            <a:xfrm>
              <a:off x="10847637" y="5739029"/>
              <a:ext cx="972670"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3F3F3F"/>
                  </a:solidFill>
                  <a:latin typeface="Vinci Sans Light"/>
                  <a:cs typeface="Segoe UI"/>
                </a:rPr>
                <a:t>Data factory :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3F3F3F"/>
                  </a:solidFill>
                  <a:latin typeface="Vinci Sans Light"/>
                  <a:cs typeface="Segoe UI"/>
                </a:rPr>
                <a:t>10 Peopl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3F3F3F"/>
                  </a:solidFill>
                  <a:latin typeface="Vinci Sans Light"/>
                  <a:cs typeface="Segoe UI"/>
                </a:rPr>
                <a:t>(5 data engineers)</a:t>
              </a:r>
              <a:endParaRPr kumimoji="0" lang="en-US" sz="800" b="0" i="0" u="none" strike="noStrike" kern="1200" cap="none" spc="0" normalizeH="0" baseline="0">
                <a:ln>
                  <a:noFill/>
                </a:ln>
                <a:solidFill>
                  <a:srgbClr val="3F3F3F"/>
                </a:solidFill>
                <a:effectLst/>
                <a:uLnTx/>
                <a:uFillTx/>
                <a:latin typeface="Vinci Sans Light"/>
                <a:cs typeface="Segoe UI"/>
              </a:endParaRPr>
            </a:p>
          </p:txBody>
        </p:sp>
      </p:grpSp>
      <p:grpSp>
        <p:nvGrpSpPr>
          <p:cNvPr id="67" name="Groupe 66">
            <a:extLst>
              <a:ext uri="{FF2B5EF4-FFF2-40B4-BE49-F238E27FC236}">
                <a16:creationId xmlns:a16="http://schemas.microsoft.com/office/drawing/2014/main" id="{646FCCEB-16D3-5396-6322-16AA30BF9467}"/>
              </a:ext>
            </a:extLst>
          </p:cNvPr>
          <p:cNvGrpSpPr/>
          <p:nvPr/>
        </p:nvGrpSpPr>
        <p:grpSpPr>
          <a:xfrm>
            <a:off x="8231412" y="1734200"/>
            <a:ext cx="3600000" cy="468000"/>
            <a:chOff x="8231412" y="1734200"/>
            <a:chExt cx="3600000" cy="468000"/>
          </a:xfrm>
        </p:grpSpPr>
        <p:sp>
          <p:nvSpPr>
            <p:cNvPr id="107" name="Rectangle 106">
              <a:extLst>
                <a:ext uri="{FF2B5EF4-FFF2-40B4-BE49-F238E27FC236}">
                  <a16:creationId xmlns:a16="http://schemas.microsoft.com/office/drawing/2014/main" id="{1B2B28B4-2F8C-C8AB-F276-2BAA79EF8328}"/>
                </a:ext>
              </a:extLst>
            </p:cNvPr>
            <p:cNvSpPr>
              <a:spLocks/>
            </p:cNvSpPr>
            <p:nvPr/>
          </p:nvSpPr>
          <p:spPr>
            <a:xfrm>
              <a:off x="8231412" y="1734200"/>
              <a:ext cx="3600000" cy="468000"/>
            </a:xfrm>
            <a:prstGeom prst="rect">
              <a:avLst/>
            </a:prstGeom>
            <a:solidFill>
              <a:schemeClr val="bg1">
                <a:lumMod val="85000"/>
              </a:schemeClr>
            </a:solidFill>
            <a:ln w="12700" cap="flat" cmpd="sng" algn="ctr">
              <a:noFill/>
              <a:prstDash val="solid"/>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43200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a:ln>
                  <a:noFill/>
                </a:ln>
                <a:solidFill>
                  <a:sysClr val="windowText" lastClr="000000"/>
                </a:solidFill>
                <a:effectLst/>
                <a:uLnTx/>
                <a:uFillTx/>
                <a:latin typeface="Calibri" panose="020F0502020204030204"/>
                <a:ea typeface="+mn-ea"/>
                <a:cs typeface="+mn-cs"/>
              </a:endParaRPr>
            </a:p>
          </p:txBody>
        </p:sp>
        <p:sp>
          <p:nvSpPr>
            <p:cNvPr id="108" name="ZoneTexte 107">
              <a:extLst>
                <a:ext uri="{FF2B5EF4-FFF2-40B4-BE49-F238E27FC236}">
                  <a16:creationId xmlns:a16="http://schemas.microsoft.com/office/drawing/2014/main" id="{1711A605-3A93-01B3-3122-F39BB98F03B0}"/>
                </a:ext>
              </a:extLst>
            </p:cNvPr>
            <p:cNvSpPr txBox="1"/>
            <p:nvPr/>
          </p:nvSpPr>
          <p:spPr>
            <a:xfrm>
              <a:off x="8231412" y="1770266"/>
              <a:ext cx="1260000" cy="395869"/>
            </a:xfrm>
            <a:prstGeom prst="rect">
              <a:avLst/>
            </a:prstGeom>
            <a:noFill/>
          </p:spPr>
          <p:txBody>
            <a:bodyPr wrap="square" lIns="36000" tIns="36000" rIns="36000" bIns="36000" rtlCol="0" anchor="ctr" anchorCtr="0">
              <a:spAutoFit/>
            </a:bodyPr>
            <a:lstStyle/>
            <a:p>
              <a:pPr algn="ctr"/>
              <a:r>
                <a:rPr lang="en-US" sz="1050" b="1"/>
                <a:t>UK</a:t>
              </a:r>
            </a:p>
            <a:p>
              <a:pPr algn="ctr"/>
              <a:r>
                <a:rPr lang="en-US" sz="1050"/>
                <a:t>UK Division SC</a:t>
              </a:r>
            </a:p>
          </p:txBody>
        </p:sp>
        <p:sp>
          <p:nvSpPr>
            <p:cNvPr id="110" name="ZoneTexte 109">
              <a:extLst>
                <a:ext uri="{FF2B5EF4-FFF2-40B4-BE49-F238E27FC236}">
                  <a16:creationId xmlns:a16="http://schemas.microsoft.com/office/drawing/2014/main" id="{74141714-CB8D-2E07-EE14-27C9BA4157CA}"/>
                </a:ext>
              </a:extLst>
            </p:cNvPr>
            <p:cNvSpPr txBox="1"/>
            <p:nvPr/>
          </p:nvSpPr>
          <p:spPr>
            <a:xfrm>
              <a:off x="9874862" y="1860478"/>
              <a:ext cx="1194240" cy="215444"/>
            </a:xfrm>
            <a:prstGeom prst="rect">
              <a:avLst/>
            </a:prstGeom>
            <a:noFill/>
            <a:ln>
              <a:noFill/>
            </a:ln>
          </p:spPr>
          <p:txBody>
            <a:bodyPr wrap="square" rtlCol="0">
              <a:spAutoFit/>
            </a:bodyPr>
            <a:lstStyle/>
            <a:p>
              <a:r>
                <a:rPr lang="en-US" sz="800" b="1"/>
                <a:t>Trevor WRIGHT</a:t>
              </a:r>
              <a:endParaRPr lang="en-US" sz="800"/>
            </a:p>
          </p:txBody>
        </p:sp>
        <p:sp>
          <p:nvSpPr>
            <p:cNvPr id="3175" name="TextBox 25">
              <a:extLst>
                <a:ext uri="{FF2B5EF4-FFF2-40B4-BE49-F238E27FC236}">
                  <a16:creationId xmlns:a16="http://schemas.microsoft.com/office/drawing/2014/main" id="{31E1BCC7-70D7-47BE-C126-A55AD8ED7F18}"/>
                </a:ext>
              </a:extLst>
            </p:cNvPr>
            <p:cNvSpPr txBox="1"/>
            <p:nvPr/>
          </p:nvSpPr>
          <p:spPr>
            <a:xfrm>
              <a:off x="10847637" y="1798923"/>
              <a:ext cx="97267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3F3F3F"/>
                  </a:solidFill>
                  <a:latin typeface="Vinci Sans Light"/>
                  <a:cs typeface="Segoe UI"/>
                </a:rPr>
                <a:t>11 Peopl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3F3F3F"/>
                  </a:solidFill>
                  <a:latin typeface="Vinci Sans Light"/>
                  <a:cs typeface="Segoe UI"/>
                </a:rPr>
                <a:t>( 4 data engineers)</a:t>
              </a:r>
              <a:endParaRPr kumimoji="0" lang="en-US" sz="800" b="0" i="0" u="none" strike="noStrike" kern="1200" cap="none" spc="0" normalizeH="0" baseline="0">
                <a:ln>
                  <a:noFill/>
                </a:ln>
                <a:solidFill>
                  <a:srgbClr val="3F3F3F"/>
                </a:solidFill>
                <a:effectLst/>
                <a:uLnTx/>
                <a:uFillTx/>
                <a:latin typeface="Vinci Sans Light"/>
                <a:cs typeface="Segoe UI"/>
              </a:endParaRPr>
            </a:p>
          </p:txBody>
        </p:sp>
      </p:grpSp>
      <p:grpSp>
        <p:nvGrpSpPr>
          <p:cNvPr id="3197" name="Groupe 3196">
            <a:extLst>
              <a:ext uri="{FF2B5EF4-FFF2-40B4-BE49-F238E27FC236}">
                <a16:creationId xmlns:a16="http://schemas.microsoft.com/office/drawing/2014/main" id="{48C5EBFA-8716-0C12-456F-6CE4A5FFE16A}"/>
              </a:ext>
            </a:extLst>
          </p:cNvPr>
          <p:cNvGrpSpPr/>
          <p:nvPr/>
        </p:nvGrpSpPr>
        <p:grpSpPr>
          <a:xfrm>
            <a:off x="273100" y="2944857"/>
            <a:ext cx="3600000" cy="468000"/>
            <a:chOff x="273100" y="2944857"/>
            <a:chExt cx="3600000" cy="468000"/>
          </a:xfrm>
        </p:grpSpPr>
        <p:sp>
          <p:nvSpPr>
            <p:cNvPr id="94" name="Rectangle 93">
              <a:extLst>
                <a:ext uri="{FF2B5EF4-FFF2-40B4-BE49-F238E27FC236}">
                  <a16:creationId xmlns:a16="http://schemas.microsoft.com/office/drawing/2014/main" id="{5C843256-12FC-9A9F-CFD0-0252807A3F69}"/>
                </a:ext>
              </a:extLst>
            </p:cNvPr>
            <p:cNvSpPr>
              <a:spLocks/>
            </p:cNvSpPr>
            <p:nvPr/>
          </p:nvSpPr>
          <p:spPr>
            <a:xfrm>
              <a:off x="273100" y="2944857"/>
              <a:ext cx="3600000" cy="468000"/>
            </a:xfrm>
            <a:prstGeom prst="rect">
              <a:avLst/>
            </a:prstGeom>
            <a:solidFill>
              <a:schemeClr val="tx2">
                <a:lumMod val="60000"/>
                <a:lumOff val="40000"/>
              </a:schemeClr>
            </a:solidFill>
            <a:ln w="12700" cap="flat" cmpd="sng" algn="ctr">
              <a:noFill/>
              <a:prstDash val="solid"/>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432000"/>
              <a:endParaRPr lang="en-US" sz="1200" b="1" kern="0">
                <a:solidFill>
                  <a:sysClr val="windowText" lastClr="000000"/>
                </a:solidFill>
                <a:latin typeface="Calibri" panose="020F0502020204030204"/>
              </a:endParaRPr>
            </a:p>
          </p:txBody>
        </p:sp>
        <p:sp>
          <p:nvSpPr>
            <p:cNvPr id="95" name="TextBox 25">
              <a:extLst>
                <a:ext uri="{FF2B5EF4-FFF2-40B4-BE49-F238E27FC236}">
                  <a16:creationId xmlns:a16="http://schemas.microsoft.com/office/drawing/2014/main" id="{AE37CA18-9BFB-7676-3E73-34B1A4F4D1FB}"/>
                </a:ext>
              </a:extLst>
            </p:cNvPr>
            <p:cNvSpPr txBox="1"/>
            <p:nvPr/>
          </p:nvSpPr>
          <p:spPr>
            <a:xfrm>
              <a:off x="2037187" y="3071135"/>
              <a:ext cx="1116000"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00" b="1">
                  <a:cs typeface="Segoe UI"/>
                </a:rPr>
                <a:t>Matthieu COBAT</a:t>
              </a:r>
              <a:endParaRPr lang="en-US" sz="800">
                <a:cs typeface="Segoe UI"/>
              </a:endParaRPr>
            </a:p>
          </p:txBody>
        </p:sp>
        <p:sp>
          <p:nvSpPr>
            <p:cNvPr id="96" name="ZoneTexte 95">
              <a:extLst>
                <a:ext uri="{FF2B5EF4-FFF2-40B4-BE49-F238E27FC236}">
                  <a16:creationId xmlns:a16="http://schemas.microsoft.com/office/drawing/2014/main" id="{45B61589-0114-2160-D02E-146958A21854}"/>
                </a:ext>
              </a:extLst>
            </p:cNvPr>
            <p:cNvSpPr txBox="1"/>
            <p:nvPr/>
          </p:nvSpPr>
          <p:spPr>
            <a:xfrm>
              <a:off x="312676" y="2980923"/>
              <a:ext cx="1260000" cy="395869"/>
            </a:xfrm>
            <a:prstGeom prst="rect">
              <a:avLst/>
            </a:prstGeom>
            <a:noFill/>
          </p:spPr>
          <p:txBody>
            <a:bodyPr wrap="square" lIns="36000" tIns="36000" rIns="36000" bIns="36000" rtlCol="0" anchor="ctr" anchorCtr="0">
              <a:spAutoFit/>
            </a:bodyPr>
            <a:lstStyle/>
            <a:p>
              <a:pPr algn="ctr"/>
              <a:r>
                <a:rPr lang="en-US" sz="1050" b="1"/>
                <a:t>Specialty Networks</a:t>
              </a:r>
            </a:p>
            <a:p>
              <a:pPr algn="ctr"/>
              <a:r>
                <a:rPr lang="en-US" sz="1050"/>
                <a:t>SF Holding</a:t>
              </a:r>
            </a:p>
          </p:txBody>
        </p:sp>
        <p:pic>
          <p:nvPicPr>
            <p:cNvPr id="98" name="Picture 8" descr="Matthieu Cobat">
              <a:extLst>
                <a:ext uri="{FF2B5EF4-FFF2-40B4-BE49-F238E27FC236}">
                  <a16:creationId xmlns:a16="http://schemas.microsoft.com/office/drawing/2014/main" id="{5A71A1BF-5061-8C31-BC93-DC10CF3FC3B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54213" y="2968257"/>
              <a:ext cx="421200" cy="42120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3157" name="TextBox 25">
              <a:extLst>
                <a:ext uri="{FF2B5EF4-FFF2-40B4-BE49-F238E27FC236}">
                  <a16:creationId xmlns:a16="http://schemas.microsoft.com/office/drawing/2014/main" id="{7412B48A-B460-3DBB-D17B-A31A0DE63F16}"/>
                </a:ext>
              </a:extLst>
            </p:cNvPr>
            <p:cNvSpPr txBox="1"/>
            <p:nvPr/>
          </p:nvSpPr>
          <p:spPr>
            <a:xfrm>
              <a:off x="2897871" y="3009580"/>
              <a:ext cx="97267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3F3F3F"/>
                  </a:solidFill>
                  <a:latin typeface="Vinci Sans Light"/>
                  <a:cs typeface="Segoe UI"/>
                </a:rPr>
                <a:t>3 Peopl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3F3F3F"/>
                  </a:solidFill>
                  <a:latin typeface="Vinci Sans Light"/>
                  <a:cs typeface="Segoe UI"/>
                </a:rPr>
                <a:t>(1 data engineers)</a:t>
              </a:r>
              <a:endParaRPr kumimoji="0" lang="en-US" sz="800" b="0" i="0" u="none" strike="noStrike" kern="1200" cap="none" spc="0" normalizeH="0" baseline="0">
                <a:ln>
                  <a:noFill/>
                </a:ln>
                <a:solidFill>
                  <a:srgbClr val="3F3F3F"/>
                </a:solidFill>
                <a:effectLst/>
                <a:uLnTx/>
                <a:uFillTx/>
                <a:latin typeface="Vinci Sans Light"/>
                <a:cs typeface="Segoe UI"/>
              </a:endParaRPr>
            </a:p>
          </p:txBody>
        </p:sp>
      </p:grpSp>
      <p:grpSp>
        <p:nvGrpSpPr>
          <p:cNvPr id="3196" name="Groupe 3195">
            <a:extLst>
              <a:ext uri="{FF2B5EF4-FFF2-40B4-BE49-F238E27FC236}">
                <a16:creationId xmlns:a16="http://schemas.microsoft.com/office/drawing/2014/main" id="{463C5297-529A-6CD8-3F5D-AEAFD442B757}"/>
              </a:ext>
            </a:extLst>
          </p:cNvPr>
          <p:cNvGrpSpPr/>
          <p:nvPr/>
        </p:nvGrpSpPr>
        <p:grpSpPr>
          <a:xfrm>
            <a:off x="273100" y="3461908"/>
            <a:ext cx="3600000" cy="468000"/>
            <a:chOff x="273100" y="3461908"/>
            <a:chExt cx="3600000" cy="468000"/>
          </a:xfrm>
        </p:grpSpPr>
        <p:sp>
          <p:nvSpPr>
            <p:cNvPr id="112" name="Rectangle 111">
              <a:extLst>
                <a:ext uri="{FF2B5EF4-FFF2-40B4-BE49-F238E27FC236}">
                  <a16:creationId xmlns:a16="http://schemas.microsoft.com/office/drawing/2014/main" id="{FDBD450F-AD04-D3CF-CF28-A9BFF3B238A5}"/>
                </a:ext>
              </a:extLst>
            </p:cNvPr>
            <p:cNvSpPr/>
            <p:nvPr/>
          </p:nvSpPr>
          <p:spPr>
            <a:xfrm>
              <a:off x="273100" y="3461908"/>
              <a:ext cx="3600000" cy="468000"/>
            </a:xfrm>
            <a:prstGeom prst="rect">
              <a:avLst/>
            </a:prstGeom>
            <a:solidFill>
              <a:srgbClr val="94CDED"/>
            </a:solidFill>
            <a:ln w="63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prstClr val="white"/>
                </a:solidFill>
                <a:highlight>
                  <a:srgbClr val="FFFF00"/>
                </a:highlight>
                <a:uLnTx/>
                <a:uFillTx/>
                <a:latin typeface="Vinci Sans Light"/>
                <a:ea typeface="+mn-ea"/>
                <a:cs typeface="+mn-cs"/>
              </a:endParaRPr>
            </a:p>
          </p:txBody>
        </p:sp>
        <p:sp>
          <p:nvSpPr>
            <p:cNvPr id="113" name="TextBox 25">
              <a:extLst>
                <a:ext uri="{FF2B5EF4-FFF2-40B4-BE49-F238E27FC236}">
                  <a16:creationId xmlns:a16="http://schemas.microsoft.com/office/drawing/2014/main" id="{14072F53-D2C8-25C7-4F93-823FB445526B}"/>
                </a:ext>
              </a:extLst>
            </p:cNvPr>
            <p:cNvSpPr txBox="1"/>
            <p:nvPr/>
          </p:nvSpPr>
          <p:spPr>
            <a:xfrm>
              <a:off x="2019567" y="3588186"/>
              <a:ext cx="1116000"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a:ln>
                    <a:noFill/>
                  </a:ln>
                  <a:solidFill>
                    <a:srgbClr val="3F3F3F"/>
                  </a:solidFill>
                  <a:effectLst/>
                  <a:uLnTx/>
                  <a:uFillTx/>
                  <a:ea typeface="+mn-ea"/>
                  <a:cs typeface="Segoe UI"/>
                </a:rPr>
                <a:t>Frederic DELRIEU</a:t>
              </a:r>
              <a:r>
                <a:rPr kumimoji="0" lang="en-US" sz="800" b="0" i="0" u="none" strike="noStrike" kern="1200" cap="none" spc="0" normalizeH="0" baseline="0">
                  <a:ln>
                    <a:noFill/>
                  </a:ln>
                  <a:solidFill>
                    <a:srgbClr val="3F3F3F"/>
                  </a:solidFill>
                  <a:effectLst/>
                  <a:uLnTx/>
                  <a:uFillTx/>
                  <a:ea typeface="+mn-ea"/>
                  <a:cs typeface="Segoe UI"/>
                </a:rPr>
                <a:t>​</a:t>
              </a:r>
            </a:p>
          </p:txBody>
        </p:sp>
        <p:pic>
          <p:nvPicPr>
            <p:cNvPr id="114" name="Image 113">
              <a:extLst>
                <a:ext uri="{FF2B5EF4-FFF2-40B4-BE49-F238E27FC236}">
                  <a16:creationId xmlns:a16="http://schemas.microsoft.com/office/drawing/2014/main" id="{6851AB82-280B-7482-4363-12A6800707DF}"/>
                </a:ext>
              </a:extLst>
            </p:cNvPr>
            <p:cNvPicPr>
              <a:picLocks noChangeAspect="1"/>
            </p:cNvPicPr>
            <p:nvPr/>
          </p:nvPicPr>
          <p:blipFill rotWithShape="1">
            <a:blip r:embed="rId10"/>
            <a:srcRect l="9414" t="5662" r="10216" b="5012"/>
            <a:stretch/>
          </p:blipFill>
          <p:spPr>
            <a:xfrm>
              <a:off x="1572760" y="3485308"/>
              <a:ext cx="419856" cy="421200"/>
            </a:xfrm>
            <a:prstGeom prst="flowChartConnector">
              <a:avLst/>
            </a:prstGeom>
            <a:solidFill>
              <a:schemeClr val="tx2">
                <a:lumMod val="20000"/>
                <a:lumOff val="80000"/>
              </a:schemeClr>
            </a:solidFill>
            <a:ln w="28575">
              <a:noFill/>
            </a:ln>
          </p:spPr>
        </p:pic>
        <p:sp>
          <p:nvSpPr>
            <p:cNvPr id="116" name="ZoneTexte 115">
              <a:extLst>
                <a:ext uri="{FF2B5EF4-FFF2-40B4-BE49-F238E27FC236}">
                  <a16:creationId xmlns:a16="http://schemas.microsoft.com/office/drawing/2014/main" id="{86AE50BE-9240-D1AD-B6C5-1C404506BCAF}"/>
                </a:ext>
              </a:extLst>
            </p:cNvPr>
            <p:cNvSpPr txBox="1"/>
            <p:nvPr/>
          </p:nvSpPr>
          <p:spPr>
            <a:xfrm>
              <a:off x="273100" y="3497974"/>
              <a:ext cx="1260000" cy="395869"/>
            </a:xfrm>
            <a:prstGeom prst="rect">
              <a:avLst/>
            </a:prstGeom>
            <a:noFill/>
          </p:spPr>
          <p:txBody>
            <a:bodyPr wrap="square" lIns="36000" tIns="36000" rIns="36000" bIns="36000" rtlCol="0" anchor="ctr" anchorCtr="0">
              <a:spAutoFit/>
            </a:bodyPr>
            <a:lstStyle/>
            <a:p>
              <a:pPr algn="ctr"/>
              <a:r>
                <a:rPr lang="en-US" sz="1050" b="1"/>
                <a:t>Specialty Networks</a:t>
              </a:r>
            </a:p>
            <a:p>
              <a:pPr algn="ctr"/>
              <a:r>
                <a:rPr lang="en-US" sz="1050" err="1"/>
                <a:t>Sixense</a:t>
              </a:r>
              <a:r>
                <a:rPr lang="en-US" sz="1050"/>
                <a:t> Digital</a:t>
              </a:r>
            </a:p>
          </p:txBody>
        </p:sp>
        <p:sp>
          <p:nvSpPr>
            <p:cNvPr id="3178" name="TextBox 25">
              <a:extLst>
                <a:ext uri="{FF2B5EF4-FFF2-40B4-BE49-F238E27FC236}">
                  <a16:creationId xmlns:a16="http://schemas.microsoft.com/office/drawing/2014/main" id="{2EB8D76F-D1A0-77FD-B2BE-7D0C8D078CDD}"/>
                </a:ext>
              </a:extLst>
            </p:cNvPr>
            <p:cNvSpPr txBox="1"/>
            <p:nvPr/>
          </p:nvSpPr>
          <p:spPr>
            <a:xfrm>
              <a:off x="2897871" y="3526631"/>
              <a:ext cx="97267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3F3F3F"/>
                  </a:solidFill>
                  <a:latin typeface="Vinci Sans Light"/>
                  <a:cs typeface="Segoe UI"/>
                </a:rPr>
                <a:t>8 Peopl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3F3F3F"/>
                  </a:solidFill>
                  <a:latin typeface="Vinci Sans Light"/>
                  <a:cs typeface="Segoe UI"/>
                </a:rPr>
                <a:t>(2 data engineers)</a:t>
              </a:r>
              <a:endParaRPr kumimoji="0" lang="en-US" sz="800" b="0" i="0" u="none" strike="noStrike" kern="1200" cap="none" spc="0" normalizeH="0" baseline="0">
                <a:ln>
                  <a:noFill/>
                </a:ln>
                <a:solidFill>
                  <a:srgbClr val="3F3F3F"/>
                </a:solidFill>
                <a:effectLst/>
                <a:uLnTx/>
                <a:uFillTx/>
                <a:latin typeface="Vinci Sans Light"/>
                <a:cs typeface="Segoe UI"/>
              </a:endParaRPr>
            </a:p>
          </p:txBody>
        </p:sp>
      </p:grpSp>
      <p:grpSp>
        <p:nvGrpSpPr>
          <p:cNvPr id="81" name="Groupe 80">
            <a:extLst>
              <a:ext uri="{FF2B5EF4-FFF2-40B4-BE49-F238E27FC236}">
                <a16:creationId xmlns:a16="http://schemas.microsoft.com/office/drawing/2014/main" id="{E9AABAC4-BCC3-2A1E-B331-3BAFC84ED48E}"/>
              </a:ext>
            </a:extLst>
          </p:cNvPr>
          <p:cNvGrpSpPr/>
          <p:nvPr/>
        </p:nvGrpSpPr>
        <p:grpSpPr>
          <a:xfrm>
            <a:off x="8225859" y="3634140"/>
            <a:ext cx="3600000" cy="468000"/>
            <a:chOff x="8231412" y="3066450"/>
            <a:chExt cx="3600000" cy="468000"/>
          </a:xfrm>
        </p:grpSpPr>
        <p:sp>
          <p:nvSpPr>
            <p:cNvPr id="123" name="Rectangle 122">
              <a:extLst>
                <a:ext uri="{FF2B5EF4-FFF2-40B4-BE49-F238E27FC236}">
                  <a16:creationId xmlns:a16="http://schemas.microsoft.com/office/drawing/2014/main" id="{14C3DAF1-53E5-CB3E-4CFF-AF88FA745B9D}"/>
                </a:ext>
              </a:extLst>
            </p:cNvPr>
            <p:cNvSpPr/>
            <p:nvPr/>
          </p:nvSpPr>
          <p:spPr>
            <a:xfrm>
              <a:off x="8231412" y="3066450"/>
              <a:ext cx="3600000" cy="468000"/>
            </a:xfrm>
            <a:prstGeom prst="rect">
              <a:avLst/>
            </a:prstGeom>
            <a:solidFill>
              <a:schemeClr val="accent2">
                <a:lumMod val="20000"/>
                <a:lumOff val="80000"/>
              </a:schemeClr>
            </a:solidFill>
            <a:ln w="63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prstClr val="white"/>
                </a:solidFill>
                <a:effectLst/>
                <a:uLnTx/>
                <a:uFillTx/>
                <a:latin typeface="Vinci Sans Light"/>
                <a:ea typeface="+mn-ea"/>
                <a:cs typeface="+mn-cs"/>
              </a:endParaRPr>
            </a:p>
          </p:txBody>
        </p:sp>
        <p:pic>
          <p:nvPicPr>
            <p:cNvPr id="125" name="Picture 24" descr="Hendrik Stamme">
              <a:extLst>
                <a:ext uri="{FF2B5EF4-FFF2-40B4-BE49-F238E27FC236}">
                  <a16:creationId xmlns:a16="http://schemas.microsoft.com/office/drawing/2014/main" id="{9F632AB2-EC1A-5176-A14D-84130C778FE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440037" y="3089850"/>
              <a:ext cx="421200" cy="42120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126" name="ZoneTexte 125">
              <a:extLst>
                <a:ext uri="{FF2B5EF4-FFF2-40B4-BE49-F238E27FC236}">
                  <a16:creationId xmlns:a16="http://schemas.microsoft.com/office/drawing/2014/main" id="{6EEAEAA6-11DE-1160-F471-C42BAF26795B}"/>
                </a:ext>
              </a:extLst>
            </p:cNvPr>
            <p:cNvSpPr txBox="1"/>
            <p:nvPr/>
          </p:nvSpPr>
          <p:spPr>
            <a:xfrm>
              <a:off x="9874862" y="3192728"/>
              <a:ext cx="1116000" cy="215444"/>
            </a:xfrm>
            <a:prstGeom prst="rect">
              <a:avLst/>
            </a:prstGeom>
            <a:noFill/>
            <a:ln>
              <a:noFill/>
            </a:ln>
          </p:spPr>
          <p:txBody>
            <a:bodyPr wrap="square" rtlCol="0">
              <a:spAutoFit/>
            </a:bodyPr>
            <a:lstStyle/>
            <a:p>
              <a:r>
                <a:rPr lang="en-US" sz="800" b="1"/>
                <a:t>Hendrick STAMME</a:t>
              </a:r>
              <a:endParaRPr lang="en-US" sz="800"/>
            </a:p>
          </p:txBody>
        </p:sp>
        <p:sp>
          <p:nvSpPr>
            <p:cNvPr id="127" name="ZoneTexte 126">
              <a:extLst>
                <a:ext uri="{FF2B5EF4-FFF2-40B4-BE49-F238E27FC236}">
                  <a16:creationId xmlns:a16="http://schemas.microsoft.com/office/drawing/2014/main" id="{005F5C17-D9BA-03A2-CA8C-2AE5911D4259}"/>
                </a:ext>
              </a:extLst>
            </p:cNvPr>
            <p:cNvSpPr txBox="1"/>
            <p:nvPr/>
          </p:nvSpPr>
          <p:spPr>
            <a:xfrm>
              <a:off x="8231412" y="3102516"/>
              <a:ext cx="1260000" cy="395869"/>
            </a:xfrm>
            <a:prstGeom prst="rect">
              <a:avLst/>
            </a:prstGeom>
            <a:noFill/>
          </p:spPr>
          <p:txBody>
            <a:bodyPr wrap="square" lIns="36000" tIns="36000" rIns="36000" bIns="36000" rtlCol="0" anchor="ctr" anchorCtr="0">
              <a:spAutoFit/>
            </a:bodyPr>
            <a:lstStyle/>
            <a:p>
              <a:pPr algn="ctr"/>
              <a:r>
                <a:rPr lang="en-US" sz="1050" b="1"/>
                <a:t>Europe Africa</a:t>
              </a:r>
            </a:p>
            <a:p>
              <a:pPr algn="ctr"/>
              <a:r>
                <a:rPr lang="en-US" sz="1050"/>
                <a:t>Germany IT</a:t>
              </a:r>
            </a:p>
          </p:txBody>
        </p:sp>
        <p:sp>
          <p:nvSpPr>
            <p:cNvPr id="3179" name="TextBox 25">
              <a:extLst>
                <a:ext uri="{FF2B5EF4-FFF2-40B4-BE49-F238E27FC236}">
                  <a16:creationId xmlns:a16="http://schemas.microsoft.com/office/drawing/2014/main" id="{59AECF1C-8288-9184-3650-121B6562C01D}"/>
                </a:ext>
              </a:extLst>
            </p:cNvPr>
            <p:cNvSpPr txBox="1"/>
            <p:nvPr/>
          </p:nvSpPr>
          <p:spPr>
            <a:xfrm>
              <a:off x="10847637" y="3131173"/>
              <a:ext cx="97267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3F3F3F"/>
                  </a:solidFill>
                  <a:latin typeface="Vinci Sans Light"/>
                  <a:cs typeface="Segoe UI"/>
                </a:rPr>
                <a:t>5 Peopl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3F3F3F"/>
                  </a:solidFill>
                  <a:latin typeface="Vinci Sans Light"/>
                  <a:cs typeface="Segoe UI"/>
                </a:rPr>
                <a:t>(3 data engineers)</a:t>
              </a:r>
              <a:endParaRPr kumimoji="0" lang="en-US" sz="800" b="0" i="0" u="none" strike="noStrike" kern="1200" cap="none" spc="0" normalizeH="0" baseline="0">
                <a:ln>
                  <a:noFill/>
                </a:ln>
                <a:solidFill>
                  <a:srgbClr val="3F3F3F"/>
                </a:solidFill>
                <a:effectLst/>
                <a:uLnTx/>
                <a:uFillTx/>
                <a:latin typeface="Vinci Sans Light"/>
                <a:cs typeface="Segoe UI"/>
              </a:endParaRPr>
            </a:p>
          </p:txBody>
        </p:sp>
      </p:grpSp>
      <p:grpSp>
        <p:nvGrpSpPr>
          <p:cNvPr id="82" name="Groupe 81">
            <a:extLst>
              <a:ext uri="{FF2B5EF4-FFF2-40B4-BE49-F238E27FC236}">
                <a16:creationId xmlns:a16="http://schemas.microsoft.com/office/drawing/2014/main" id="{70E0872D-F2BE-F5DC-3501-D3274EFE22DC}"/>
              </a:ext>
            </a:extLst>
          </p:cNvPr>
          <p:cNvGrpSpPr/>
          <p:nvPr/>
        </p:nvGrpSpPr>
        <p:grpSpPr>
          <a:xfrm>
            <a:off x="8231412" y="4398700"/>
            <a:ext cx="3600000" cy="468000"/>
            <a:chOff x="8231412" y="4398700"/>
            <a:chExt cx="3600000" cy="468000"/>
          </a:xfrm>
        </p:grpSpPr>
        <p:sp>
          <p:nvSpPr>
            <p:cNvPr id="76" name="Rectangle 75">
              <a:extLst>
                <a:ext uri="{FF2B5EF4-FFF2-40B4-BE49-F238E27FC236}">
                  <a16:creationId xmlns:a16="http://schemas.microsoft.com/office/drawing/2014/main" id="{809FE5E8-9514-807A-BAE5-220F6030F7DB}"/>
                </a:ext>
              </a:extLst>
            </p:cNvPr>
            <p:cNvSpPr>
              <a:spLocks/>
            </p:cNvSpPr>
            <p:nvPr/>
          </p:nvSpPr>
          <p:spPr>
            <a:xfrm>
              <a:off x="8231412" y="4398700"/>
              <a:ext cx="3600000" cy="468000"/>
            </a:xfrm>
            <a:prstGeom prst="rect">
              <a:avLst/>
            </a:prstGeom>
            <a:solidFill>
              <a:schemeClr val="accent3">
                <a:lumMod val="20000"/>
                <a:lumOff val="80000"/>
              </a:schemeClr>
            </a:solidFill>
            <a:ln w="12700" cap="flat" cmpd="sng" algn="ctr">
              <a:noFill/>
              <a:prstDash val="solid"/>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43200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a:ln>
                  <a:noFill/>
                </a:ln>
                <a:solidFill>
                  <a:sysClr val="windowText" lastClr="000000"/>
                </a:solidFill>
                <a:effectLst/>
                <a:uLnTx/>
                <a:uFillTx/>
                <a:latin typeface="Calibri" panose="020F0502020204030204"/>
                <a:ea typeface="+mn-ea"/>
                <a:cs typeface="+mn-cs"/>
              </a:endParaRPr>
            </a:p>
          </p:txBody>
        </p:sp>
        <p:sp>
          <p:nvSpPr>
            <p:cNvPr id="78" name="ZoneTexte 77">
              <a:extLst>
                <a:ext uri="{FF2B5EF4-FFF2-40B4-BE49-F238E27FC236}">
                  <a16:creationId xmlns:a16="http://schemas.microsoft.com/office/drawing/2014/main" id="{45F0EBF1-B3C3-00D9-C323-D662BD29DCA1}"/>
                </a:ext>
              </a:extLst>
            </p:cNvPr>
            <p:cNvSpPr txBox="1"/>
            <p:nvPr/>
          </p:nvSpPr>
          <p:spPr>
            <a:xfrm>
              <a:off x="8231412" y="4434766"/>
              <a:ext cx="1260000" cy="395869"/>
            </a:xfrm>
            <a:prstGeom prst="rect">
              <a:avLst/>
            </a:prstGeom>
            <a:noFill/>
          </p:spPr>
          <p:txBody>
            <a:bodyPr wrap="square" lIns="36000" tIns="36000" rIns="36000" bIns="36000" rtlCol="0" anchor="ctr" anchorCtr="0">
              <a:spAutoFit/>
            </a:bodyPr>
            <a:lstStyle/>
            <a:p>
              <a:pPr algn="ctr"/>
              <a:r>
                <a:rPr lang="en-US" sz="1050" b="1"/>
                <a:t>America Oceania</a:t>
              </a:r>
            </a:p>
            <a:p>
              <a:pPr algn="ctr"/>
              <a:r>
                <a:rPr lang="en-US" sz="1050"/>
                <a:t>Australia</a:t>
              </a:r>
            </a:p>
          </p:txBody>
        </p:sp>
        <p:sp>
          <p:nvSpPr>
            <p:cNvPr id="80" name="TextBox 25">
              <a:extLst>
                <a:ext uri="{FF2B5EF4-FFF2-40B4-BE49-F238E27FC236}">
                  <a16:creationId xmlns:a16="http://schemas.microsoft.com/office/drawing/2014/main" id="{B7E8F16A-5A91-7B1E-14C9-A8A32CB11974}"/>
                </a:ext>
              </a:extLst>
            </p:cNvPr>
            <p:cNvSpPr txBox="1"/>
            <p:nvPr/>
          </p:nvSpPr>
          <p:spPr>
            <a:xfrm>
              <a:off x="9874862" y="4524978"/>
              <a:ext cx="1116000"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00" b="1">
                  <a:cs typeface="Segoe UI"/>
                </a:rPr>
                <a:t>Hani ARAB</a:t>
              </a:r>
              <a:endParaRPr lang="en-US" sz="800">
                <a:cs typeface="Segoe UI"/>
              </a:endParaRPr>
            </a:p>
          </p:txBody>
        </p:sp>
      </p:grpSp>
      <p:sp>
        <p:nvSpPr>
          <p:cNvPr id="1034" name="AutoShape 4" descr="AUGER Vincent">
            <a:extLst>
              <a:ext uri="{FF2B5EF4-FFF2-40B4-BE49-F238E27FC236}">
                <a16:creationId xmlns:a16="http://schemas.microsoft.com/office/drawing/2014/main" id="{EA1AABF6-E6AC-A598-6EFE-861E56F43E09}"/>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grpSp>
        <p:nvGrpSpPr>
          <p:cNvPr id="58" name="Groupe 57">
            <a:extLst>
              <a:ext uri="{FF2B5EF4-FFF2-40B4-BE49-F238E27FC236}">
                <a16:creationId xmlns:a16="http://schemas.microsoft.com/office/drawing/2014/main" id="{FA42EB98-F4CE-7733-8331-590F967EE93C}"/>
              </a:ext>
            </a:extLst>
          </p:cNvPr>
          <p:cNvGrpSpPr/>
          <p:nvPr/>
        </p:nvGrpSpPr>
        <p:grpSpPr>
          <a:xfrm>
            <a:off x="233917" y="4109614"/>
            <a:ext cx="3636624" cy="745313"/>
            <a:chOff x="233917" y="4109614"/>
            <a:chExt cx="3636624" cy="745313"/>
          </a:xfrm>
        </p:grpSpPr>
        <p:sp>
          <p:nvSpPr>
            <p:cNvPr id="100" name="Rectangle 99">
              <a:extLst>
                <a:ext uri="{FF2B5EF4-FFF2-40B4-BE49-F238E27FC236}">
                  <a16:creationId xmlns:a16="http://schemas.microsoft.com/office/drawing/2014/main" id="{3076A10B-7809-A227-17DE-463989894988}"/>
                </a:ext>
              </a:extLst>
            </p:cNvPr>
            <p:cNvSpPr>
              <a:spLocks/>
            </p:cNvSpPr>
            <p:nvPr/>
          </p:nvSpPr>
          <p:spPr>
            <a:xfrm>
              <a:off x="270541" y="4109614"/>
              <a:ext cx="3600000" cy="738000"/>
            </a:xfrm>
            <a:prstGeom prst="rect">
              <a:avLst/>
            </a:prstGeom>
            <a:solidFill>
              <a:schemeClr val="accent6">
                <a:lumMod val="75000"/>
              </a:schemeClr>
            </a:solidFill>
            <a:ln w="12700" cap="flat" cmpd="sng" algn="ctr">
              <a:noFill/>
              <a:prstDash val="solid"/>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432000"/>
              <a:endParaRPr lang="en-US" sz="1200" b="1" kern="0">
                <a:solidFill>
                  <a:sysClr val="windowText" lastClr="000000"/>
                </a:solidFill>
                <a:latin typeface="Calibri" panose="020F0502020204030204"/>
              </a:endParaRPr>
            </a:p>
          </p:txBody>
        </p:sp>
        <p:sp>
          <p:nvSpPr>
            <p:cNvPr id="101" name="TextBox 25">
              <a:extLst>
                <a:ext uri="{FF2B5EF4-FFF2-40B4-BE49-F238E27FC236}">
                  <a16:creationId xmlns:a16="http://schemas.microsoft.com/office/drawing/2014/main" id="{A84FF81C-31DF-B7DA-AFFC-D27FF40D2750}"/>
                </a:ext>
              </a:extLst>
            </p:cNvPr>
            <p:cNvSpPr txBox="1"/>
            <p:nvPr/>
          </p:nvSpPr>
          <p:spPr>
            <a:xfrm>
              <a:off x="1222951" y="4639483"/>
              <a:ext cx="1116000"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800" b="1">
                  <a:cs typeface="Segoe UI"/>
                </a:rPr>
                <a:t>Emna REGAIEG</a:t>
              </a:r>
              <a:endParaRPr lang="en-US" sz="800">
                <a:cs typeface="Segoe UI"/>
              </a:endParaRPr>
            </a:p>
          </p:txBody>
        </p:sp>
        <p:sp>
          <p:nvSpPr>
            <p:cNvPr id="102" name="ZoneTexte 101">
              <a:extLst>
                <a:ext uri="{FF2B5EF4-FFF2-40B4-BE49-F238E27FC236}">
                  <a16:creationId xmlns:a16="http://schemas.microsoft.com/office/drawing/2014/main" id="{F0B5010A-D982-24B3-6B50-F27697F66649}"/>
                </a:ext>
              </a:extLst>
            </p:cNvPr>
            <p:cNvSpPr txBox="1"/>
            <p:nvPr/>
          </p:nvSpPr>
          <p:spPr>
            <a:xfrm>
              <a:off x="233917" y="4282841"/>
              <a:ext cx="1260000" cy="395869"/>
            </a:xfrm>
            <a:prstGeom prst="rect">
              <a:avLst/>
            </a:prstGeom>
            <a:noFill/>
          </p:spPr>
          <p:txBody>
            <a:bodyPr wrap="square" lIns="36000" tIns="36000" rIns="36000" bIns="36000" rtlCol="0" anchor="ctr" anchorCtr="0">
              <a:spAutoFit/>
            </a:bodyPr>
            <a:lstStyle/>
            <a:p>
              <a:pPr algn="ctr"/>
              <a:r>
                <a:rPr lang="en-US" sz="1050" b="1"/>
                <a:t>Major Projects</a:t>
              </a:r>
            </a:p>
            <a:p>
              <a:pPr algn="ctr"/>
              <a:r>
                <a:rPr lang="en-US" sz="1050"/>
                <a:t>VCGP Siege</a:t>
              </a:r>
            </a:p>
          </p:txBody>
        </p:sp>
        <p:pic>
          <p:nvPicPr>
            <p:cNvPr id="33" name="Image 32">
              <a:extLst>
                <a:ext uri="{FF2B5EF4-FFF2-40B4-BE49-F238E27FC236}">
                  <a16:creationId xmlns:a16="http://schemas.microsoft.com/office/drawing/2014/main" id="{AD8D0727-65DF-E37A-75C9-90AA5CAB9CFB}"/>
                </a:ext>
              </a:extLst>
            </p:cNvPr>
            <p:cNvPicPr>
              <a:picLocks noChangeAspect="1"/>
            </p:cNvPicPr>
            <p:nvPr/>
          </p:nvPicPr>
          <p:blipFill>
            <a:blip r:embed="rId12">
              <a:extLst>
                <a:ext uri="{28A0092B-C50C-407E-A947-70E740481C1C}">
                  <a14:useLocalDpi xmlns:a14="http://schemas.microsoft.com/office/drawing/2010/main" val="0"/>
                </a:ext>
              </a:extLst>
            </a:blip>
            <a:srcRect t="2091" b="2091"/>
            <a:stretch/>
          </p:blipFill>
          <p:spPr>
            <a:xfrm>
              <a:off x="2313638" y="4167603"/>
              <a:ext cx="436448" cy="42120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3074" name="Picture 2" descr="Emna REGAIEG">
              <a:extLst>
                <a:ext uri="{FF2B5EF4-FFF2-40B4-BE49-F238E27FC236}">
                  <a16:creationId xmlns:a16="http://schemas.microsoft.com/office/drawing/2014/main" id="{B880BCFA-3DBA-A3F0-30B6-19F1A4BA9B4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70351" y="4167603"/>
              <a:ext cx="421200" cy="42120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3158" name="TextBox 25">
              <a:extLst>
                <a:ext uri="{FF2B5EF4-FFF2-40B4-BE49-F238E27FC236}">
                  <a16:creationId xmlns:a16="http://schemas.microsoft.com/office/drawing/2014/main" id="{37648684-AB82-9407-461B-02844ACA61A0}"/>
                </a:ext>
              </a:extLst>
            </p:cNvPr>
            <p:cNvSpPr txBox="1"/>
            <p:nvPr/>
          </p:nvSpPr>
          <p:spPr>
            <a:xfrm>
              <a:off x="2895312" y="4316579"/>
              <a:ext cx="97267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3F3F3F"/>
                  </a:solidFill>
                  <a:latin typeface="Vinci Sans Light"/>
                  <a:cs typeface="Segoe UI"/>
                </a:rPr>
                <a:t>5 Peopl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3F3F3F"/>
                  </a:solidFill>
                  <a:latin typeface="Vinci Sans Light"/>
                  <a:cs typeface="Segoe UI"/>
                </a:rPr>
                <a:t>(3 data engineers)</a:t>
              </a:r>
              <a:endParaRPr kumimoji="0" lang="en-US" sz="800" b="0" i="0" u="none" strike="noStrike" kern="1200" cap="none" spc="0" normalizeH="0" baseline="0">
                <a:ln>
                  <a:noFill/>
                </a:ln>
                <a:solidFill>
                  <a:srgbClr val="3F3F3F"/>
                </a:solidFill>
                <a:effectLst/>
                <a:uLnTx/>
                <a:uFillTx/>
                <a:latin typeface="Vinci Sans Light"/>
                <a:cs typeface="Segoe UI"/>
              </a:endParaRPr>
            </a:p>
          </p:txBody>
        </p:sp>
      </p:grpSp>
      <p:sp>
        <p:nvSpPr>
          <p:cNvPr id="38" name="TextBox 25">
            <a:extLst>
              <a:ext uri="{FF2B5EF4-FFF2-40B4-BE49-F238E27FC236}">
                <a16:creationId xmlns:a16="http://schemas.microsoft.com/office/drawing/2014/main" id="{3E7B0B60-54B1-B989-1C93-62A72C265B4B}"/>
              </a:ext>
            </a:extLst>
          </p:cNvPr>
          <p:cNvSpPr txBox="1"/>
          <p:nvPr/>
        </p:nvSpPr>
        <p:spPr>
          <a:xfrm>
            <a:off x="10792682" y="4459958"/>
            <a:ext cx="97267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3F3F3F"/>
                </a:solidFill>
                <a:latin typeface="Vinci Sans Light"/>
                <a:cs typeface="Segoe UI"/>
              </a:rPr>
              <a:t>5 Peopl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3F3F3F"/>
                </a:solidFill>
                <a:latin typeface="Vinci Sans Light"/>
                <a:cs typeface="Segoe UI"/>
              </a:rPr>
              <a:t>(4 data engineers)</a:t>
            </a:r>
            <a:endParaRPr kumimoji="0" lang="en-US" sz="800" b="0" i="0" u="none" strike="noStrike" kern="1200" cap="none" spc="0" normalizeH="0" baseline="0">
              <a:ln>
                <a:noFill/>
              </a:ln>
              <a:solidFill>
                <a:srgbClr val="3F3F3F"/>
              </a:solidFill>
              <a:effectLst/>
              <a:uLnTx/>
              <a:uFillTx/>
              <a:latin typeface="Vinci Sans Light"/>
              <a:cs typeface="Segoe UI"/>
            </a:endParaRPr>
          </a:p>
        </p:txBody>
      </p:sp>
      <p:sp>
        <p:nvSpPr>
          <p:cNvPr id="46" name="TextBox 25">
            <a:extLst>
              <a:ext uri="{FF2B5EF4-FFF2-40B4-BE49-F238E27FC236}">
                <a16:creationId xmlns:a16="http://schemas.microsoft.com/office/drawing/2014/main" id="{CC0B92A6-992D-9CE9-AE4C-EE68404132DB}"/>
              </a:ext>
            </a:extLst>
          </p:cNvPr>
          <p:cNvSpPr txBox="1"/>
          <p:nvPr/>
        </p:nvSpPr>
        <p:spPr>
          <a:xfrm>
            <a:off x="1973862" y="4639483"/>
            <a:ext cx="1116000"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800" b="1">
                <a:cs typeface="Segoe UI"/>
              </a:rPr>
              <a:t>Camille TRAN</a:t>
            </a:r>
            <a:endParaRPr lang="en-US" sz="800">
              <a:cs typeface="Segoe UI"/>
            </a:endParaRPr>
          </a:p>
        </p:txBody>
      </p:sp>
      <p:pic>
        <p:nvPicPr>
          <p:cNvPr id="6" name="Image 5">
            <a:extLst>
              <a:ext uri="{FF2B5EF4-FFF2-40B4-BE49-F238E27FC236}">
                <a16:creationId xmlns:a16="http://schemas.microsoft.com/office/drawing/2014/main" id="{7EEC4C0A-09CF-2B61-9672-85B41D5E42A9}"/>
              </a:ext>
            </a:extLst>
          </p:cNvPr>
          <p:cNvPicPr>
            <a:picLocks noChangeAspect="1"/>
          </p:cNvPicPr>
          <p:nvPr/>
        </p:nvPicPr>
        <p:blipFill>
          <a:blip r:embed="rId14"/>
          <a:srcRect l="16144" t="7524" r="16917" b="22836"/>
          <a:stretch/>
        </p:blipFill>
        <p:spPr>
          <a:xfrm>
            <a:off x="9446508" y="1759085"/>
            <a:ext cx="414729" cy="42120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nvGrpSpPr>
          <p:cNvPr id="3139" name="Groupe 3138">
            <a:extLst>
              <a:ext uri="{FF2B5EF4-FFF2-40B4-BE49-F238E27FC236}">
                <a16:creationId xmlns:a16="http://schemas.microsoft.com/office/drawing/2014/main" id="{DC736EBA-8870-99FD-5787-C1A80E7C5855}"/>
              </a:ext>
            </a:extLst>
          </p:cNvPr>
          <p:cNvGrpSpPr/>
          <p:nvPr/>
        </p:nvGrpSpPr>
        <p:grpSpPr>
          <a:xfrm>
            <a:off x="8225859" y="2730238"/>
            <a:ext cx="3600000" cy="468000"/>
            <a:chOff x="8225859" y="2730238"/>
            <a:chExt cx="3600000" cy="468000"/>
          </a:xfrm>
        </p:grpSpPr>
        <p:grpSp>
          <p:nvGrpSpPr>
            <p:cNvPr id="52" name="Groupe 51">
              <a:extLst>
                <a:ext uri="{FF2B5EF4-FFF2-40B4-BE49-F238E27FC236}">
                  <a16:creationId xmlns:a16="http://schemas.microsoft.com/office/drawing/2014/main" id="{AE6BFB1C-084E-5642-DFF8-2B5376AD425C}"/>
                </a:ext>
              </a:extLst>
            </p:cNvPr>
            <p:cNvGrpSpPr/>
            <p:nvPr/>
          </p:nvGrpSpPr>
          <p:grpSpPr>
            <a:xfrm>
              <a:off x="8225859" y="2730238"/>
              <a:ext cx="3600000" cy="468000"/>
              <a:chOff x="8231412" y="3066450"/>
              <a:chExt cx="3600000" cy="468000"/>
            </a:xfrm>
          </p:grpSpPr>
          <p:sp>
            <p:nvSpPr>
              <p:cNvPr id="55" name="Rectangle 54">
                <a:extLst>
                  <a:ext uri="{FF2B5EF4-FFF2-40B4-BE49-F238E27FC236}">
                    <a16:creationId xmlns:a16="http://schemas.microsoft.com/office/drawing/2014/main" id="{338A5624-628F-08AD-BBFB-5A95BE0766D0}"/>
                  </a:ext>
                </a:extLst>
              </p:cNvPr>
              <p:cNvSpPr/>
              <p:nvPr/>
            </p:nvSpPr>
            <p:spPr>
              <a:xfrm>
                <a:off x="8231412" y="3066450"/>
                <a:ext cx="3600000" cy="468000"/>
              </a:xfrm>
              <a:prstGeom prst="rect">
                <a:avLst/>
              </a:prstGeom>
              <a:solidFill>
                <a:schemeClr val="accent2">
                  <a:lumMod val="20000"/>
                  <a:lumOff val="80000"/>
                </a:schemeClr>
              </a:solidFill>
              <a:ln w="63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prstClr val="white"/>
                  </a:solidFill>
                  <a:effectLst/>
                  <a:uLnTx/>
                  <a:uFillTx/>
                  <a:latin typeface="Vinci Sans Light"/>
                  <a:ea typeface="+mn-ea"/>
                  <a:cs typeface="+mn-cs"/>
                </a:endParaRPr>
              </a:p>
            </p:txBody>
          </p:sp>
          <p:sp>
            <p:nvSpPr>
              <p:cNvPr id="61" name="ZoneTexte 60">
                <a:extLst>
                  <a:ext uri="{FF2B5EF4-FFF2-40B4-BE49-F238E27FC236}">
                    <a16:creationId xmlns:a16="http://schemas.microsoft.com/office/drawing/2014/main" id="{C264CC8D-4991-2017-7A7C-F617B5EAB8B7}"/>
                  </a:ext>
                </a:extLst>
              </p:cNvPr>
              <p:cNvSpPr txBox="1"/>
              <p:nvPr/>
            </p:nvSpPr>
            <p:spPr>
              <a:xfrm>
                <a:off x="9874862" y="3192728"/>
                <a:ext cx="1116000" cy="215444"/>
              </a:xfrm>
              <a:prstGeom prst="rect">
                <a:avLst/>
              </a:prstGeom>
              <a:noFill/>
              <a:ln>
                <a:noFill/>
              </a:ln>
            </p:spPr>
            <p:txBody>
              <a:bodyPr wrap="square" rtlCol="0">
                <a:spAutoFit/>
              </a:bodyPr>
              <a:lstStyle/>
              <a:p>
                <a:r>
                  <a:rPr lang="en-US" sz="800" b="1"/>
                  <a:t>Anna KIDUIK</a:t>
                </a:r>
                <a:endParaRPr lang="en-US" sz="800"/>
              </a:p>
            </p:txBody>
          </p:sp>
          <p:sp>
            <p:nvSpPr>
              <p:cNvPr id="63" name="ZoneTexte 62">
                <a:extLst>
                  <a:ext uri="{FF2B5EF4-FFF2-40B4-BE49-F238E27FC236}">
                    <a16:creationId xmlns:a16="http://schemas.microsoft.com/office/drawing/2014/main" id="{E8FE1EAF-CF04-3BDA-C2E7-535EF06B9E5A}"/>
                  </a:ext>
                </a:extLst>
              </p:cNvPr>
              <p:cNvSpPr txBox="1"/>
              <p:nvPr/>
            </p:nvSpPr>
            <p:spPr>
              <a:xfrm>
                <a:off x="8231412" y="3102516"/>
                <a:ext cx="1260000" cy="395869"/>
              </a:xfrm>
              <a:prstGeom prst="rect">
                <a:avLst/>
              </a:prstGeom>
              <a:noFill/>
            </p:spPr>
            <p:txBody>
              <a:bodyPr wrap="square" lIns="36000" tIns="36000" rIns="36000" bIns="36000" rtlCol="0" anchor="ctr" anchorCtr="0">
                <a:spAutoFit/>
              </a:bodyPr>
              <a:lstStyle/>
              <a:p>
                <a:pPr algn="ctr"/>
                <a:r>
                  <a:rPr lang="en-US" sz="1050" b="1"/>
                  <a:t>Europe Africa</a:t>
                </a:r>
              </a:p>
              <a:p>
                <a:pPr algn="ctr"/>
                <a:r>
                  <a:rPr lang="en-US" sz="1050"/>
                  <a:t>Poland IT</a:t>
                </a:r>
              </a:p>
            </p:txBody>
          </p:sp>
          <p:sp>
            <p:nvSpPr>
              <p:cNvPr id="3136" name="TextBox 25">
                <a:extLst>
                  <a:ext uri="{FF2B5EF4-FFF2-40B4-BE49-F238E27FC236}">
                    <a16:creationId xmlns:a16="http://schemas.microsoft.com/office/drawing/2014/main" id="{12706B83-F4E6-62C7-B455-5EE374DA7B88}"/>
                  </a:ext>
                </a:extLst>
              </p:cNvPr>
              <p:cNvSpPr txBox="1"/>
              <p:nvPr/>
            </p:nvSpPr>
            <p:spPr>
              <a:xfrm>
                <a:off x="10847637" y="3131173"/>
                <a:ext cx="97267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3F3F3F"/>
                    </a:solidFill>
                    <a:latin typeface="Vinci Sans Light"/>
                    <a:cs typeface="Segoe UI"/>
                  </a:rPr>
                  <a:t>5 Peopl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3F3F3F"/>
                    </a:solidFill>
                    <a:latin typeface="Vinci Sans Light"/>
                    <a:cs typeface="Segoe UI"/>
                  </a:rPr>
                  <a:t>(1 data engineer)</a:t>
                </a:r>
                <a:endParaRPr kumimoji="0" lang="en-US" sz="800" b="0" i="0" u="none" strike="noStrike" kern="1200" cap="none" spc="0" normalizeH="0" baseline="0">
                  <a:ln>
                    <a:noFill/>
                  </a:ln>
                  <a:solidFill>
                    <a:srgbClr val="3F3F3F"/>
                  </a:solidFill>
                  <a:effectLst/>
                  <a:uLnTx/>
                  <a:uFillTx/>
                  <a:latin typeface="Vinci Sans Light"/>
                  <a:cs typeface="Segoe UI"/>
                </a:endParaRPr>
              </a:p>
            </p:txBody>
          </p:sp>
        </p:grpSp>
        <p:pic>
          <p:nvPicPr>
            <p:cNvPr id="3138" name="Image 3137">
              <a:extLst>
                <a:ext uri="{FF2B5EF4-FFF2-40B4-BE49-F238E27FC236}">
                  <a16:creationId xmlns:a16="http://schemas.microsoft.com/office/drawing/2014/main" id="{F53E3496-01D8-AC1C-F422-473122264280}"/>
                </a:ext>
              </a:extLst>
            </p:cNvPr>
            <p:cNvPicPr>
              <a:picLocks/>
            </p:cNvPicPr>
            <p:nvPr/>
          </p:nvPicPr>
          <p:blipFill>
            <a:blip r:embed="rId15"/>
            <a:srcRect l="22790" t="3029" r="10574" b="28769"/>
            <a:stretch/>
          </p:blipFill>
          <p:spPr>
            <a:xfrm>
              <a:off x="9434484" y="2749537"/>
              <a:ext cx="421200" cy="42120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cxnSp>
        <p:nvCxnSpPr>
          <p:cNvPr id="3140" name="Connecteur droit avec flèche 3139">
            <a:extLst>
              <a:ext uri="{FF2B5EF4-FFF2-40B4-BE49-F238E27FC236}">
                <a16:creationId xmlns:a16="http://schemas.microsoft.com/office/drawing/2014/main" id="{869CBA01-E8A4-4A42-892D-985C58103AAB}"/>
              </a:ext>
            </a:extLst>
          </p:cNvPr>
          <p:cNvCxnSpPr>
            <a:cxnSpLocks/>
            <a:stCxn id="63" idx="1"/>
            <a:endCxn id="3143" idx="4"/>
          </p:cNvCxnSpPr>
          <p:nvPr/>
        </p:nvCxnSpPr>
        <p:spPr>
          <a:xfrm flipH="1">
            <a:off x="6436660" y="2964239"/>
            <a:ext cx="1789199" cy="52809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143" name="Étoile : 5 branches 3142">
            <a:extLst>
              <a:ext uri="{FF2B5EF4-FFF2-40B4-BE49-F238E27FC236}">
                <a16:creationId xmlns:a16="http://schemas.microsoft.com/office/drawing/2014/main" id="{651D1327-C702-453F-1315-95B163FAF801}"/>
              </a:ext>
            </a:extLst>
          </p:cNvPr>
          <p:cNvSpPr/>
          <p:nvPr/>
        </p:nvSpPr>
        <p:spPr>
          <a:xfrm>
            <a:off x="6346660" y="3457952"/>
            <a:ext cx="90000" cy="90000"/>
          </a:xfrm>
          <a:prstGeom prst="star5">
            <a:avLst/>
          </a:prstGeom>
          <a:solidFill>
            <a:schemeClr val="accent1"/>
          </a:solidFill>
          <a:ln w="6350">
            <a:no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p>
        </p:txBody>
      </p:sp>
      <p:sp>
        <p:nvSpPr>
          <p:cNvPr id="3146" name="Rectangle : coins arrondis 3145">
            <a:extLst>
              <a:ext uri="{FF2B5EF4-FFF2-40B4-BE49-F238E27FC236}">
                <a16:creationId xmlns:a16="http://schemas.microsoft.com/office/drawing/2014/main" id="{5FAEEDBE-5DC8-497F-D2AF-E3E87BBF8808}"/>
              </a:ext>
            </a:extLst>
          </p:cNvPr>
          <p:cNvSpPr/>
          <p:nvPr/>
        </p:nvSpPr>
        <p:spPr>
          <a:xfrm>
            <a:off x="7756016" y="113079"/>
            <a:ext cx="4257242" cy="791284"/>
          </a:xfrm>
          <a:prstGeom prst="roundRect">
            <a:avLst/>
          </a:prstGeom>
          <a:solidFill>
            <a:srgbClr val="FFFF00"/>
          </a:solidFill>
          <a:ln w="6350">
            <a:solidFill>
              <a:schemeClr val="accent6"/>
            </a:solid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fr-FR" sz="1100">
                <a:solidFill>
                  <a:schemeClr val="tx1"/>
                </a:solidFill>
              </a:rPr>
              <a:t>Maestro? République tchèque / Slovaquie? Afrique? Chili? </a:t>
            </a:r>
            <a:r>
              <a:rPr lang="fr-FR" sz="1100" err="1">
                <a:solidFill>
                  <a:schemeClr val="tx1"/>
                </a:solidFill>
              </a:rPr>
              <a:t>iBim</a:t>
            </a:r>
            <a:r>
              <a:rPr lang="fr-FR" sz="1100">
                <a:solidFill>
                  <a:schemeClr val="tx1"/>
                </a:solidFill>
              </a:rPr>
              <a:t>? Via IMC?</a:t>
            </a:r>
          </a:p>
          <a:p>
            <a:pPr algn="l"/>
            <a:r>
              <a:rPr lang="fr-FR" sz="1100">
                <a:solidFill>
                  <a:schemeClr val="tx1"/>
                </a:solidFill>
              </a:rPr>
              <a:t>Mircel uniquement NZ ou aussi Australie?</a:t>
            </a:r>
          </a:p>
          <a:p>
            <a:pPr algn="l"/>
            <a:r>
              <a:rPr lang="fr-FR" sz="1100">
                <a:solidFill>
                  <a:schemeClr val="tx1"/>
                </a:solidFill>
              </a:rPr>
              <a:t>Qui chez Franck </a:t>
            </a:r>
            <a:r>
              <a:rPr lang="fr-FR" sz="1100" err="1">
                <a:solidFill>
                  <a:schemeClr val="tx1"/>
                </a:solidFill>
              </a:rPr>
              <a:t>Noze</a:t>
            </a:r>
            <a:r>
              <a:rPr lang="fr-FR" sz="1100">
                <a:solidFill>
                  <a:schemeClr val="tx1"/>
                </a:solidFill>
              </a:rPr>
              <a:t> s’occupe de la data? </a:t>
            </a:r>
            <a:r>
              <a:rPr lang="fr-FR" sz="1100" err="1">
                <a:solidFill>
                  <a:schemeClr val="tx1"/>
                </a:solidFill>
              </a:rPr>
              <a:t>Est-qu’il</a:t>
            </a:r>
            <a:r>
              <a:rPr lang="fr-FR" sz="1100">
                <a:solidFill>
                  <a:schemeClr val="tx1"/>
                </a:solidFill>
              </a:rPr>
              <a:t> y a des data </a:t>
            </a:r>
            <a:r>
              <a:rPr lang="fr-FR" sz="1100" err="1">
                <a:solidFill>
                  <a:schemeClr val="tx1"/>
                </a:solidFill>
              </a:rPr>
              <a:t>engineer</a:t>
            </a:r>
            <a:r>
              <a:rPr lang="fr-FR" sz="1100">
                <a:solidFill>
                  <a:schemeClr val="tx1"/>
                </a:solidFill>
              </a:rPr>
              <a:t>?</a:t>
            </a:r>
          </a:p>
        </p:txBody>
      </p:sp>
      <p:grpSp>
        <p:nvGrpSpPr>
          <p:cNvPr id="37" name="Groupe 36">
            <a:extLst>
              <a:ext uri="{FF2B5EF4-FFF2-40B4-BE49-F238E27FC236}">
                <a16:creationId xmlns:a16="http://schemas.microsoft.com/office/drawing/2014/main" id="{AD67E01C-2BD8-128C-2BBC-CB3ED4B12864}"/>
              </a:ext>
            </a:extLst>
          </p:cNvPr>
          <p:cNvGrpSpPr/>
          <p:nvPr/>
        </p:nvGrpSpPr>
        <p:grpSpPr>
          <a:xfrm>
            <a:off x="300706" y="1708503"/>
            <a:ext cx="3600000" cy="457210"/>
            <a:chOff x="300706" y="1708503"/>
            <a:chExt cx="3600000" cy="457210"/>
          </a:xfrm>
        </p:grpSpPr>
        <p:sp>
          <p:nvSpPr>
            <p:cNvPr id="3125" name="Rectangle 3124">
              <a:extLst>
                <a:ext uri="{FF2B5EF4-FFF2-40B4-BE49-F238E27FC236}">
                  <a16:creationId xmlns:a16="http://schemas.microsoft.com/office/drawing/2014/main" id="{AF533890-7DDD-6B16-E607-A2304B6E9101}"/>
                </a:ext>
              </a:extLst>
            </p:cNvPr>
            <p:cNvSpPr>
              <a:spLocks noChangeAspect="1"/>
            </p:cNvSpPr>
            <p:nvPr/>
          </p:nvSpPr>
          <p:spPr>
            <a:xfrm>
              <a:off x="300706" y="1708503"/>
              <a:ext cx="3600000" cy="457210"/>
            </a:xfrm>
            <a:prstGeom prst="rect">
              <a:avLst/>
            </a:prstGeom>
            <a:solidFill>
              <a:schemeClr val="accent3">
                <a:lumMod val="20000"/>
                <a:lumOff val="80000"/>
              </a:schemeClr>
            </a:solidFill>
            <a:ln w="12700" cap="flat" cmpd="sng" algn="ctr">
              <a:noFill/>
              <a:prstDash val="solid"/>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43200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a:ln>
                  <a:noFill/>
                </a:ln>
                <a:solidFill>
                  <a:sysClr val="windowText" lastClr="000000"/>
                </a:solidFill>
                <a:effectLst/>
                <a:uLnTx/>
                <a:uFillTx/>
                <a:latin typeface="Calibri" panose="020F0502020204030204"/>
                <a:ea typeface="+mn-ea"/>
                <a:cs typeface="+mn-cs"/>
              </a:endParaRPr>
            </a:p>
          </p:txBody>
        </p:sp>
        <p:sp>
          <p:nvSpPr>
            <p:cNvPr id="3128" name="TextBox 25">
              <a:extLst>
                <a:ext uri="{FF2B5EF4-FFF2-40B4-BE49-F238E27FC236}">
                  <a16:creationId xmlns:a16="http://schemas.microsoft.com/office/drawing/2014/main" id="{19D6497A-DAE0-98F1-BD86-4ED9A9960D02}"/>
                </a:ext>
              </a:extLst>
            </p:cNvPr>
            <p:cNvSpPr txBox="1"/>
            <p:nvPr/>
          </p:nvSpPr>
          <p:spPr>
            <a:xfrm>
              <a:off x="2064793" y="1829386"/>
              <a:ext cx="1116000"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00" b="1">
                  <a:cs typeface="Segoe UI"/>
                </a:rPr>
                <a:t>Domenic DENTICO</a:t>
              </a:r>
              <a:endParaRPr lang="en-US" sz="800">
                <a:cs typeface="Segoe UI"/>
              </a:endParaRPr>
            </a:p>
          </p:txBody>
        </p:sp>
        <p:sp>
          <p:nvSpPr>
            <p:cNvPr id="3129" name="ZoneTexte 3128">
              <a:extLst>
                <a:ext uri="{FF2B5EF4-FFF2-40B4-BE49-F238E27FC236}">
                  <a16:creationId xmlns:a16="http://schemas.microsoft.com/office/drawing/2014/main" id="{2D03BA9A-827A-3575-B363-C629D75633A2}"/>
                </a:ext>
              </a:extLst>
            </p:cNvPr>
            <p:cNvSpPr txBox="1"/>
            <p:nvPr/>
          </p:nvSpPr>
          <p:spPr>
            <a:xfrm>
              <a:off x="340282" y="1739174"/>
              <a:ext cx="1260000" cy="395869"/>
            </a:xfrm>
            <a:prstGeom prst="rect">
              <a:avLst/>
            </a:prstGeom>
            <a:noFill/>
          </p:spPr>
          <p:txBody>
            <a:bodyPr wrap="square" lIns="36000" tIns="36000" rIns="36000" bIns="36000" rtlCol="0" anchor="ctr" anchorCtr="0">
              <a:spAutoFit/>
            </a:bodyPr>
            <a:lstStyle/>
            <a:p>
              <a:pPr algn="ctr"/>
              <a:r>
                <a:rPr lang="en-US" sz="1050" b="1"/>
                <a:t>America Oceania</a:t>
              </a:r>
            </a:p>
            <a:p>
              <a:pPr algn="ctr"/>
              <a:r>
                <a:rPr lang="en-US" sz="1050"/>
                <a:t>VC Canada</a:t>
              </a:r>
            </a:p>
          </p:txBody>
        </p:sp>
        <p:pic>
          <p:nvPicPr>
            <p:cNvPr id="4" name="Image 3">
              <a:extLst>
                <a:ext uri="{FF2B5EF4-FFF2-40B4-BE49-F238E27FC236}">
                  <a16:creationId xmlns:a16="http://schemas.microsoft.com/office/drawing/2014/main" id="{21E27AC5-2065-E347-B352-9EFA1625CAB5}"/>
                </a:ext>
              </a:extLst>
            </p:cNvPr>
            <p:cNvPicPr>
              <a:picLocks noChangeAspect="1"/>
            </p:cNvPicPr>
            <p:nvPr/>
          </p:nvPicPr>
          <p:blipFill>
            <a:blip r:embed="rId16"/>
            <a:srcRect l="23015" t="14391" r="14577" b="20182"/>
            <a:stretch/>
          </p:blipFill>
          <p:spPr>
            <a:xfrm>
              <a:off x="1577895" y="1723680"/>
              <a:ext cx="401774" cy="42120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pic>
        <p:nvPicPr>
          <p:cNvPr id="3141" name="Image 3140">
            <a:extLst>
              <a:ext uri="{FF2B5EF4-FFF2-40B4-BE49-F238E27FC236}">
                <a16:creationId xmlns:a16="http://schemas.microsoft.com/office/drawing/2014/main" id="{DA8C0150-F379-A8C8-3A58-FE1B417D6FD4}"/>
              </a:ext>
            </a:extLst>
          </p:cNvPr>
          <p:cNvPicPr>
            <a:picLocks noChangeAspect="1"/>
          </p:cNvPicPr>
          <p:nvPr/>
        </p:nvPicPr>
        <p:blipFill>
          <a:blip r:embed="rId17"/>
          <a:srcRect l="7635" t="1516" r="20360" b="19761"/>
          <a:stretch/>
        </p:blipFill>
        <p:spPr>
          <a:xfrm>
            <a:off x="9443877" y="4424871"/>
            <a:ext cx="417360" cy="42120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nvGrpSpPr>
          <p:cNvPr id="3144" name="Groupe 3143">
            <a:extLst>
              <a:ext uri="{FF2B5EF4-FFF2-40B4-BE49-F238E27FC236}">
                <a16:creationId xmlns:a16="http://schemas.microsoft.com/office/drawing/2014/main" id="{2959D569-275C-1D9F-D917-E385DDEF612B}"/>
              </a:ext>
            </a:extLst>
          </p:cNvPr>
          <p:cNvGrpSpPr/>
          <p:nvPr/>
        </p:nvGrpSpPr>
        <p:grpSpPr>
          <a:xfrm>
            <a:off x="8225859" y="5095072"/>
            <a:ext cx="3600000" cy="468000"/>
            <a:chOff x="8231412" y="4398700"/>
            <a:chExt cx="3600000" cy="468000"/>
          </a:xfrm>
        </p:grpSpPr>
        <p:sp>
          <p:nvSpPr>
            <p:cNvPr id="3145" name="Rectangle 3144">
              <a:extLst>
                <a:ext uri="{FF2B5EF4-FFF2-40B4-BE49-F238E27FC236}">
                  <a16:creationId xmlns:a16="http://schemas.microsoft.com/office/drawing/2014/main" id="{36AD5CD7-6620-CA8A-902B-6D68462020E4}"/>
                </a:ext>
              </a:extLst>
            </p:cNvPr>
            <p:cNvSpPr>
              <a:spLocks/>
            </p:cNvSpPr>
            <p:nvPr/>
          </p:nvSpPr>
          <p:spPr>
            <a:xfrm>
              <a:off x="8231412" y="4398700"/>
              <a:ext cx="3600000" cy="468000"/>
            </a:xfrm>
            <a:prstGeom prst="rect">
              <a:avLst/>
            </a:prstGeom>
            <a:solidFill>
              <a:schemeClr val="accent3">
                <a:lumMod val="20000"/>
                <a:lumOff val="80000"/>
              </a:schemeClr>
            </a:solidFill>
            <a:ln w="12700" cap="flat" cmpd="sng" algn="ctr">
              <a:noFill/>
              <a:prstDash val="solid"/>
              <a:miter lim="800000"/>
            </a:ln>
            <a:effectLst/>
          </p:spPr>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43200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a:ln>
                  <a:noFill/>
                </a:ln>
                <a:solidFill>
                  <a:sysClr val="windowText" lastClr="000000"/>
                </a:solidFill>
                <a:effectLst/>
                <a:uLnTx/>
                <a:uFillTx/>
                <a:latin typeface="Calibri" panose="020F0502020204030204"/>
                <a:ea typeface="+mn-ea"/>
                <a:cs typeface="+mn-cs"/>
              </a:endParaRPr>
            </a:p>
          </p:txBody>
        </p:sp>
        <p:sp>
          <p:nvSpPr>
            <p:cNvPr id="3147" name="ZoneTexte 3146">
              <a:extLst>
                <a:ext uri="{FF2B5EF4-FFF2-40B4-BE49-F238E27FC236}">
                  <a16:creationId xmlns:a16="http://schemas.microsoft.com/office/drawing/2014/main" id="{74B7D2C1-336D-68C1-BB6D-410FFD5A7EA4}"/>
                </a:ext>
              </a:extLst>
            </p:cNvPr>
            <p:cNvSpPr txBox="1"/>
            <p:nvPr/>
          </p:nvSpPr>
          <p:spPr>
            <a:xfrm>
              <a:off x="8231412" y="4434766"/>
              <a:ext cx="1260000" cy="395869"/>
            </a:xfrm>
            <a:prstGeom prst="rect">
              <a:avLst/>
            </a:prstGeom>
            <a:noFill/>
          </p:spPr>
          <p:txBody>
            <a:bodyPr wrap="square" lIns="36000" tIns="36000" rIns="36000" bIns="36000" rtlCol="0" anchor="ctr" anchorCtr="0">
              <a:spAutoFit/>
            </a:bodyPr>
            <a:lstStyle/>
            <a:p>
              <a:pPr algn="ctr"/>
              <a:r>
                <a:rPr lang="en-US" sz="1050" b="1"/>
                <a:t>America Oceania</a:t>
              </a:r>
            </a:p>
            <a:p>
              <a:pPr algn="ctr"/>
              <a:r>
                <a:rPr lang="en-US" sz="1050"/>
                <a:t>New Zeeland</a:t>
              </a:r>
            </a:p>
          </p:txBody>
        </p:sp>
        <p:pic>
          <p:nvPicPr>
            <p:cNvPr id="3148" name="Picture 14" descr="Mircel van der Walt">
              <a:extLst>
                <a:ext uri="{FF2B5EF4-FFF2-40B4-BE49-F238E27FC236}">
                  <a16:creationId xmlns:a16="http://schemas.microsoft.com/office/drawing/2014/main" id="{E7C40E3B-57C2-C1BC-DEE5-334E8F17E379}"/>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440037" y="4422100"/>
              <a:ext cx="421200" cy="42120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3149" name="TextBox 25">
              <a:extLst>
                <a:ext uri="{FF2B5EF4-FFF2-40B4-BE49-F238E27FC236}">
                  <a16:creationId xmlns:a16="http://schemas.microsoft.com/office/drawing/2014/main" id="{17D80644-AD6B-ADAB-FAF4-0C286EE79B0F}"/>
                </a:ext>
              </a:extLst>
            </p:cNvPr>
            <p:cNvSpPr txBox="1"/>
            <p:nvPr/>
          </p:nvSpPr>
          <p:spPr>
            <a:xfrm>
              <a:off x="9874862" y="4524978"/>
              <a:ext cx="1116000"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00" b="1" err="1">
                  <a:cs typeface="Segoe UI"/>
                </a:rPr>
                <a:t>Mircel</a:t>
              </a:r>
              <a:r>
                <a:rPr lang="en-US" sz="800" b="1">
                  <a:cs typeface="Segoe UI"/>
                </a:rPr>
                <a:t> VAN DER WALT</a:t>
              </a:r>
              <a:endParaRPr lang="en-US" sz="800">
                <a:cs typeface="Segoe UI"/>
              </a:endParaRPr>
            </a:p>
          </p:txBody>
        </p:sp>
      </p:grpSp>
      <p:sp>
        <p:nvSpPr>
          <p:cNvPr id="3150" name="Étoile : 5 branches 3149">
            <a:extLst>
              <a:ext uri="{FF2B5EF4-FFF2-40B4-BE49-F238E27FC236}">
                <a16:creationId xmlns:a16="http://schemas.microsoft.com/office/drawing/2014/main" id="{9EA5E5C5-9F04-FC5C-67FC-88018C4388FF}"/>
              </a:ext>
            </a:extLst>
          </p:cNvPr>
          <p:cNvSpPr/>
          <p:nvPr/>
        </p:nvSpPr>
        <p:spPr>
          <a:xfrm>
            <a:off x="8388545" y="4950017"/>
            <a:ext cx="90000" cy="90000"/>
          </a:xfrm>
          <a:prstGeom prst="star5">
            <a:avLst/>
          </a:prstGeom>
          <a:solidFill>
            <a:schemeClr val="accent1"/>
          </a:solidFill>
          <a:ln w="6350">
            <a:no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p>
        </p:txBody>
      </p:sp>
      <p:cxnSp>
        <p:nvCxnSpPr>
          <p:cNvPr id="3151" name="Connecteur droit avec flèche 3150">
            <a:extLst>
              <a:ext uri="{FF2B5EF4-FFF2-40B4-BE49-F238E27FC236}">
                <a16:creationId xmlns:a16="http://schemas.microsoft.com/office/drawing/2014/main" id="{16F7FD7B-2415-7688-11A2-A8388DF321B8}"/>
              </a:ext>
            </a:extLst>
          </p:cNvPr>
          <p:cNvCxnSpPr>
            <a:cxnSpLocks/>
            <a:stCxn id="3145" idx="0"/>
            <a:endCxn id="3150" idx="4"/>
          </p:cNvCxnSpPr>
          <p:nvPr/>
        </p:nvCxnSpPr>
        <p:spPr>
          <a:xfrm flipH="1" flipV="1">
            <a:off x="8478545" y="4984394"/>
            <a:ext cx="1547314" cy="11067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25374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a:extLst>
              <a:ext uri="{FF2B5EF4-FFF2-40B4-BE49-F238E27FC236}">
                <a16:creationId xmlns:a16="http://schemas.microsoft.com/office/drawing/2014/main" id="{C5E10682-C1AD-30B4-55E7-686916314904}"/>
              </a:ext>
            </a:extLst>
          </p:cNvPr>
          <p:cNvSpPr>
            <a:spLocks noGrp="1"/>
          </p:cNvSpPr>
          <p:nvPr>
            <p:ph type="title"/>
          </p:nvPr>
        </p:nvSpPr>
        <p:spPr>
          <a:xfrm>
            <a:off x="576000" y="96000"/>
            <a:ext cx="11040000" cy="611672"/>
          </a:xfrm>
        </p:spPr>
        <p:txBody>
          <a:bodyPr lIns="0" tIns="0" rIns="0" bIns="72000" anchor="b" anchorCtr="0">
            <a:normAutofit/>
          </a:bodyPr>
          <a:lstStyle/>
          <a:p>
            <a:r>
              <a:rPr lang="en-US"/>
              <a:t>Data office and data factories/producers interactions</a:t>
            </a:r>
          </a:p>
        </p:txBody>
      </p:sp>
      <p:sp>
        <p:nvSpPr>
          <p:cNvPr id="5" name="Rectangle: Rounded Corners 22">
            <a:extLst>
              <a:ext uri="{FF2B5EF4-FFF2-40B4-BE49-F238E27FC236}">
                <a16:creationId xmlns:a16="http://schemas.microsoft.com/office/drawing/2014/main" id="{9B8EA992-0210-5CE2-E9A4-22DAAD10CE34}"/>
              </a:ext>
            </a:extLst>
          </p:cNvPr>
          <p:cNvSpPr/>
          <p:nvPr/>
        </p:nvSpPr>
        <p:spPr>
          <a:xfrm>
            <a:off x="3365311" y="2015737"/>
            <a:ext cx="900000" cy="1044000"/>
          </a:xfrm>
          <a:prstGeom prst="rect">
            <a:avLst/>
          </a:prstGeom>
          <a:solidFill>
            <a:schemeClr val="bg2">
              <a:lumMod val="20000"/>
              <a:lumOff val="80000"/>
              <a:alpha val="30000"/>
            </a:schemeClr>
          </a:solidFill>
          <a:ln w="1270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10000"/>
              </a:lnSpc>
              <a:spcBef>
                <a:spcPts val="200"/>
              </a:spcBef>
              <a:spcAft>
                <a:spcPts val="200"/>
              </a:spcAft>
            </a:pPr>
            <a:r>
              <a:rPr lang="en-US" sz="900">
                <a:solidFill>
                  <a:schemeClr val="tx1"/>
                </a:solidFill>
                <a:latin typeface="Segoe UI" panose="020B0502040204020203" pitchFamily="34" charset="0"/>
                <a:cs typeface="Segoe UI" panose="020B0502040204020203" pitchFamily="34" charset="0"/>
              </a:rPr>
              <a:t>Qualification</a:t>
            </a:r>
          </a:p>
        </p:txBody>
      </p:sp>
      <p:sp>
        <p:nvSpPr>
          <p:cNvPr id="7" name="Rectangle: Rounded Corners 23">
            <a:extLst>
              <a:ext uri="{FF2B5EF4-FFF2-40B4-BE49-F238E27FC236}">
                <a16:creationId xmlns:a16="http://schemas.microsoft.com/office/drawing/2014/main" id="{981282C8-78B6-9EDB-D212-BF1A37D0092A}"/>
              </a:ext>
            </a:extLst>
          </p:cNvPr>
          <p:cNvSpPr/>
          <p:nvPr/>
        </p:nvSpPr>
        <p:spPr>
          <a:xfrm>
            <a:off x="6092636" y="2016398"/>
            <a:ext cx="900000" cy="1042678"/>
          </a:xfrm>
          <a:prstGeom prst="roundRect">
            <a:avLst>
              <a:gd name="adj" fmla="val 0"/>
            </a:avLst>
          </a:prstGeom>
          <a:solidFill>
            <a:schemeClr val="bg2">
              <a:lumMod val="20000"/>
              <a:lumOff val="80000"/>
              <a:alpha val="30000"/>
            </a:schemeClr>
          </a:solidFill>
          <a:ln w="1270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10000"/>
              </a:lnSpc>
              <a:spcBef>
                <a:spcPts val="200"/>
              </a:spcBef>
              <a:spcAft>
                <a:spcPts val="200"/>
              </a:spcAft>
            </a:pPr>
            <a:r>
              <a:rPr lang="en-US" sz="900">
                <a:solidFill>
                  <a:schemeClr val="tx1"/>
                </a:solidFill>
                <a:latin typeface="Segoe UI" panose="020B0502040204020203" pitchFamily="34" charset="0"/>
                <a:cs typeface="Segoe UI" panose="020B0502040204020203" pitchFamily="34" charset="0"/>
              </a:rPr>
              <a:t>Development</a:t>
            </a:r>
          </a:p>
        </p:txBody>
      </p:sp>
      <p:sp>
        <p:nvSpPr>
          <p:cNvPr id="8" name="Rectangle: Rounded Corners 27">
            <a:extLst>
              <a:ext uri="{FF2B5EF4-FFF2-40B4-BE49-F238E27FC236}">
                <a16:creationId xmlns:a16="http://schemas.microsoft.com/office/drawing/2014/main" id="{5150C509-0EDF-3BEE-277D-26C3DD542597}"/>
              </a:ext>
            </a:extLst>
          </p:cNvPr>
          <p:cNvSpPr/>
          <p:nvPr/>
        </p:nvSpPr>
        <p:spPr>
          <a:xfrm>
            <a:off x="576000" y="2187525"/>
            <a:ext cx="952547" cy="700424"/>
          </a:xfrm>
          <a:prstGeom prst="rect">
            <a:avLst/>
          </a:prstGeom>
          <a:solidFill>
            <a:schemeClr val="bg2">
              <a:lumMod val="20000"/>
              <a:lumOff val="80000"/>
              <a:alpha val="30000"/>
            </a:schemeClr>
          </a:solidFill>
          <a:ln w="1270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10000"/>
              </a:lnSpc>
              <a:spcBef>
                <a:spcPts val="200"/>
              </a:spcBef>
              <a:spcAft>
                <a:spcPts val="200"/>
              </a:spcAft>
            </a:pPr>
            <a:r>
              <a:rPr lang="en-US" sz="900">
                <a:solidFill>
                  <a:schemeClr val="tx1"/>
                </a:solidFill>
                <a:latin typeface="Segoe UI" panose="020B0502040204020203" pitchFamily="34" charset="0"/>
                <a:cs typeface="Segoe UI" panose="020B0502040204020203" pitchFamily="34" charset="0"/>
              </a:rPr>
              <a:t>Business need</a:t>
            </a:r>
          </a:p>
        </p:txBody>
      </p:sp>
      <p:sp>
        <p:nvSpPr>
          <p:cNvPr id="12" name="Rectangle: Rounded Corners 38">
            <a:extLst>
              <a:ext uri="{FF2B5EF4-FFF2-40B4-BE49-F238E27FC236}">
                <a16:creationId xmlns:a16="http://schemas.microsoft.com/office/drawing/2014/main" id="{846A841A-30CA-14F8-F222-40641C903F11}"/>
              </a:ext>
            </a:extLst>
          </p:cNvPr>
          <p:cNvSpPr/>
          <p:nvPr/>
        </p:nvSpPr>
        <p:spPr>
          <a:xfrm>
            <a:off x="4718377" y="2016398"/>
            <a:ext cx="900000" cy="1042678"/>
          </a:xfrm>
          <a:prstGeom prst="rect">
            <a:avLst/>
          </a:prstGeom>
          <a:solidFill>
            <a:schemeClr val="bg2">
              <a:lumMod val="20000"/>
              <a:lumOff val="80000"/>
              <a:alpha val="30000"/>
            </a:schemeClr>
          </a:solidFill>
          <a:ln w="1270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10000"/>
              </a:lnSpc>
              <a:spcBef>
                <a:spcPts val="200"/>
              </a:spcBef>
              <a:spcAft>
                <a:spcPts val="200"/>
              </a:spcAft>
            </a:pPr>
            <a:r>
              <a:rPr lang="en-US" sz="900">
                <a:solidFill>
                  <a:schemeClr val="tx1"/>
                </a:solidFill>
                <a:latin typeface="Segoe UI" panose="020B0502040204020203" pitchFamily="34" charset="0"/>
                <a:cs typeface="Segoe UI" panose="020B0502040204020203" pitchFamily="34" charset="0"/>
              </a:rPr>
              <a:t>Design</a:t>
            </a:r>
          </a:p>
        </p:txBody>
      </p:sp>
      <p:cxnSp>
        <p:nvCxnSpPr>
          <p:cNvPr id="18" name="Straight Arrow Connector 42">
            <a:extLst>
              <a:ext uri="{FF2B5EF4-FFF2-40B4-BE49-F238E27FC236}">
                <a16:creationId xmlns:a16="http://schemas.microsoft.com/office/drawing/2014/main" id="{2405AB0D-EC37-9444-DD70-1CF97100E5A9}"/>
              </a:ext>
            </a:extLst>
          </p:cNvPr>
          <p:cNvCxnSpPr>
            <a:cxnSpLocks/>
            <a:stCxn id="12" idx="3"/>
            <a:endCxn id="7" idx="1"/>
          </p:cNvCxnSpPr>
          <p:nvPr/>
        </p:nvCxnSpPr>
        <p:spPr>
          <a:xfrm>
            <a:off x="5618377" y="2537737"/>
            <a:ext cx="474259" cy="0"/>
          </a:xfrm>
          <a:prstGeom prst="straightConnector1">
            <a:avLst/>
          </a:prstGeom>
          <a:ln w="28575">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5" name="Rectangle: Rounded Corners 43">
            <a:extLst>
              <a:ext uri="{FF2B5EF4-FFF2-40B4-BE49-F238E27FC236}">
                <a16:creationId xmlns:a16="http://schemas.microsoft.com/office/drawing/2014/main" id="{26CA32B8-3B85-E1DA-3E48-DBCC7AC9FB8C}"/>
              </a:ext>
            </a:extLst>
          </p:cNvPr>
          <p:cNvSpPr/>
          <p:nvPr/>
        </p:nvSpPr>
        <p:spPr>
          <a:xfrm>
            <a:off x="7443417" y="2016398"/>
            <a:ext cx="900000" cy="1042678"/>
          </a:xfrm>
          <a:prstGeom prst="roundRect">
            <a:avLst>
              <a:gd name="adj" fmla="val 0"/>
            </a:avLst>
          </a:prstGeom>
          <a:solidFill>
            <a:schemeClr val="bg2">
              <a:lumMod val="20000"/>
              <a:lumOff val="80000"/>
              <a:alpha val="30000"/>
            </a:schemeClr>
          </a:solidFill>
          <a:ln w="1270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10000"/>
              </a:lnSpc>
              <a:spcBef>
                <a:spcPts val="200"/>
              </a:spcBef>
              <a:spcAft>
                <a:spcPts val="200"/>
              </a:spcAft>
            </a:pPr>
            <a:r>
              <a:rPr lang="en-US" sz="900">
                <a:solidFill>
                  <a:schemeClr val="tx1"/>
                </a:solidFill>
                <a:latin typeface="Segoe UI" panose="020B0502040204020203" pitchFamily="34" charset="0"/>
                <a:cs typeface="Segoe UI" panose="020B0502040204020203" pitchFamily="34" charset="0"/>
              </a:rPr>
              <a:t>Tests</a:t>
            </a:r>
          </a:p>
        </p:txBody>
      </p:sp>
      <p:cxnSp>
        <p:nvCxnSpPr>
          <p:cNvPr id="26" name="Straight Arrow Connector 44">
            <a:extLst>
              <a:ext uri="{FF2B5EF4-FFF2-40B4-BE49-F238E27FC236}">
                <a16:creationId xmlns:a16="http://schemas.microsoft.com/office/drawing/2014/main" id="{E294F942-7646-A0CC-224B-C5A3F568A1DC}"/>
              </a:ext>
            </a:extLst>
          </p:cNvPr>
          <p:cNvCxnSpPr>
            <a:cxnSpLocks/>
            <a:stCxn id="7" idx="3"/>
            <a:endCxn id="25" idx="1"/>
          </p:cNvCxnSpPr>
          <p:nvPr/>
        </p:nvCxnSpPr>
        <p:spPr>
          <a:xfrm>
            <a:off x="6992636" y="2537737"/>
            <a:ext cx="450781" cy="0"/>
          </a:xfrm>
          <a:prstGeom prst="straightConnector1">
            <a:avLst/>
          </a:prstGeom>
          <a:ln w="28575">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5" name="Rectangle: Rounded Corners 45">
            <a:extLst>
              <a:ext uri="{FF2B5EF4-FFF2-40B4-BE49-F238E27FC236}">
                <a16:creationId xmlns:a16="http://schemas.microsoft.com/office/drawing/2014/main" id="{4D38DEF0-6D9E-0ABA-590B-5F154B1C9279}"/>
              </a:ext>
            </a:extLst>
          </p:cNvPr>
          <p:cNvSpPr/>
          <p:nvPr/>
        </p:nvSpPr>
        <p:spPr>
          <a:xfrm>
            <a:off x="10081469" y="2016398"/>
            <a:ext cx="900000" cy="1042678"/>
          </a:xfrm>
          <a:prstGeom prst="roundRect">
            <a:avLst>
              <a:gd name="adj" fmla="val 0"/>
            </a:avLst>
          </a:prstGeom>
          <a:solidFill>
            <a:schemeClr val="bg2">
              <a:lumMod val="20000"/>
              <a:lumOff val="80000"/>
              <a:alpha val="30000"/>
            </a:schemeClr>
          </a:solidFill>
          <a:ln w="1270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10000"/>
              </a:lnSpc>
              <a:spcBef>
                <a:spcPts val="200"/>
              </a:spcBef>
              <a:spcAft>
                <a:spcPts val="200"/>
              </a:spcAft>
            </a:pPr>
            <a:r>
              <a:rPr lang="en-US" sz="900">
                <a:solidFill>
                  <a:schemeClr val="tx1"/>
                </a:solidFill>
                <a:latin typeface="Segoe UI" panose="020B0502040204020203" pitchFamily="34" charset="0"/>
                <a:cs typeface="Segoe UI" panose="020B0502040204020203" pitchFamily="34" charset="0"/>
              </a:rPr>
              <a:t>Usage + Run</a:t>
            </a:r>
          </a:p>
        </p:txBody>
      </p:sp>
      <p:cxnSp>
        <p:nvCxnSpPr>
          <p:cNvPr id="36" name="Straight Arrow Connector 46">
            <a:extLst>
              <a:ext uri="{FF2B5EF4-FFF2-40B4-BE49-F238E27FC236}">
                <a16:creationId xmlns:a16="http://schemas.microsoft.com/office/drawing/2014/main" id="{7387A1A5-DDE7-6ADB-0162-441673A9AB7D}"/>
              </a:ext>
            </a:extLst>
          </p:cNvPr>
          <p:cNvCxnSpPr>
            <a:cxnSpLocks/>
            <a:stCxn id="25" idx="3"/>
            <a:endCxn id="122" idx="1"/>
          </p:cNvCxnSpPr>
          <p:nvPr/>
        </p:nvCxnSpPr>
        <p:spPr>
          <a:xfrm>
            <a:off x="8343417" y="2537737"/>
            <a:ext cx="435467" cy="0"/>
          </a:xfrm>
          <a:prstGeom prst="straightConnector1">
            <a:avLst/>
          </a:prstGeom>
          <a:ln w="28575">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7" name="Connector: Elbow 80">
            <a:extLst>
              <a:ext uri="{FF2B5EF4-FFF2-40B4-BE49-F238E27FC236}">
                <a16:creationId xmlns:a16="http://schemas.microsoft.com/office/drawing/2014/main" id="{901E18D5-C8B4-B064-AC4C-FAE70710ADB4}"/>
              </a:ext>
            </a:extLst>
          </p:cNvPr>
          <p:cNvCxnSpPr>
            <a:cxnSpLocks/>
            <a:stCxn id="35" idx="0"/>
            <a:endCxn id="48" idx="0"/>
          </p:cNvCxnSpPr>
          <p:nvPr/>
        </p:nvCxnSpPr>
        <p:spPr>
          <a:xfrm rot="16200000" flipH="1" flipV="1">
            <a:off x="6265741" y="-1999947"/>
            <a:ext cx="249383" cy="8282072"/>
          </a:xfrm>
          <a:prstGeom prst="bentConnector3">
            <a:avLst>
              <a:gd name="adj1" fmla="val -106786"/>
            </a:avLst>
          </a:prstGeom>
          <a:ln w="28575">
            <a:prstDash val="sysDot"/>
            <a:tailEnd type="triangle"/>
          </a:ln>
        </p:spPr>
        <p:style>
          <a:lnRef idx="1">
            <a:schemeClr val="accent1"/>
          </a:lnRef>
          <a:fillRef idx="0">
            <a:schemeClr val="accent1"/>
          </a:fillRef>
          <a:effectRef idx="0">
            <a:schemeClr val="accent1"/>
          </a:effectRef>
          <a:fontRef idx="minor">
            <a:schemeClr val="tx1"/>
          </a:fontRef>
        </p:style>
      </p:cxnSp>
      <p:sp>
        <p:nvSpPr>
          <p:cNvPr id="48" name="Diamond 19">
            <a:extLst>
              <a:ext uri="{FF2B5EF4-FFF2-40B4-BE49-F238E27FC236}">
                <a16:creationId xmlns:a16="http://schemas.microsoft.com/office/drawing/2014/main" id="{24774CBE-B58C-920D-73D6-E14903A9BACB}"/>
              </a:ext>
            </a:extLst>
          </p:cNvPr>
          <p:cNvSpPr/>
          <p:nvPr/>
        </p:nvSpPr>
        <p:spPr>
          <a:xfrm>
            <a:off x="1888914" y="2265781"/>
            <a:ext cx="720965" cy="543913"/>
          </a:xfrm>
          <a:prstGeom prst="diamond">
            <a:avLst/>
          </a:prstGeom>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l"/>
            <a:endParaRPr lang="en-US"/>
          </a:p>
        </p:txBody>
      </p:sp>
      <p:sp>
        <p:nvSpPr>
          <p:cNvPr id="49" name="TextBox 92">
            <a:extLst>
              <a:ext uri="{FF2B5EF4-FFF2-40B4-BE49-F238E27FC236}">
                <a16:creationId xmlns:a16="http://schemas.microsoft.com/office/drawing/2014/main" id="{C41682A3-1915-FA1A-103E-F76720E89A78}"/>
              </a:ext>
            </a:extLst>
          </p:cNvPr>
          <p:cNvSpPr txBox="1"/>
          <p:nvPr/>
        </p:nvSpPr>
        <p:spPr>
          <a:xfrm>
            <a:off x="1465841" y="3883557"/>
            <a:ext cx="1727463" cy="1308050"/>
          </a:xfrm>
          <a:prstGeom prst="rect">
            <a:avLst/>
          </a:prstGeom>
          <a:noFill/>
        </p:spPr>
        <p:txBody>
          <a:bodyPr wrap="square">
            <a:spAutoFit/>
          </a:bodyPr>
          <a:lstStyle/>
          <a:p>
            <a:r>
              <a:rPr lang="en-US" sz="900"/>
              <a:t>The </a:t>
            </a:r>
            <a:r>
              <a:rPr lang="en-US" sz="900" b="1"/>
              <a:t>data officer </a:t>
            </a:r>
            <a:r>
              <a:rPr lang="en-US" sz="900"/>
              <a:t>decides who performs the qualification, depending on the complexity of the requirement: </a:t>
            </a:r>
          </a:p>
          <a:p>
            <a:pPr marL="171450" indent="-171450">
              <a:buFont typeface="Wingdings" panose="05000000000000000000" pitchFamily="2" charset="2"/>
              <a:buChar char="Ø"/>
            </a:pPr>
            <a:r>
              <a:rPr lang="en-US" sz="900" b="1"/>
              <a:t>New requirement</a:t>
            </a:r>
          </a:p>
          <a:p>
            <a:pPr marL="171450" indent="-171450">
              <a:buFont typeface="Wingdings" panose="05000000000000000000" pitchFamily="2" charset="2"/>
              <a:buChar char="ü"/>
            </a:pPr>
            <a:r>
              <a:rPr lang="en-US" sz="800"/>
              <a:t>Several data sources</a:t>
            </a:r>
          </a:p>
          <a:p>
            <a:pPr marL="171450" indent="-171450">
              <a:buFont typeface="Wingdings" panose="05000000000000000000" pitchFamily="2" charset="2"/>
              <a:buChar char="Ø"/>
            </a:pPr>
            <a:r>
              <a:rPr lang="en-US" sz="900" b="1"/>
              <a:t>Request Evolution </a:t>
            </a:r>
          </a:p>
          <a:p>
            <a:pPr marL="171450" indent="-171450">
              <a:buFont typeface="Wingdings" panose="05000000000000000000" pitchFamily="2" charset="2"/>
              <a:buChar char="ü"/>
            </a:pPr>
            <a:r>
              <a:rPr lang="en-US" sz="800"/>
              <a:t>Addition of new sources</a:t>
            </a:r>
          </a:p>
          <a:p>
            <a:endParaRPr lang="en-US" sz="900">
              <a:solidFill>
                <a:srgbClr val="FF0000"/>
              </a:solidFill>
            </a:endParaRPr>
          </a:p>
        </p:txBody>
      </p:sp>
      <p:cxnSp>
        <p:nvCxnSpPr>
          <p:cNvPr id="50" name="Straight Arrow Connector 197">
            <a:extLst>
              <a:ext uri="{FF2B5EF4-FFF2-40B4-BE49-F238E27FC236}">
                <a16:creationId xmlns:a16="http://schemas.microsoft.com/office/drawing/2014/main" id="{BE4CB6EF-C615-86FE-B759-C50162482CEF}"/>
              </a:ext>
            </a:extLst>
          </p:cNvPr>
          <p:cNvCxnSpPr>
            <a:cxnSpLocks/>
            <a:stCxn id="8" idx="3"/>
            <a:endCxn id="48" idx="1"/>
          </p:cNvCxnSpPr>
          <p:nvPr/>
        </p:nvCxnSpPr>
        <p:spPr>
          <a:xfrm>
            <a:off x="1528547" y="2537737"/>
            <a:ext cx="360367" cy="1"/>
          </a:xfrm>
          <a:prstGeom prst="straightConnector1">
            <a:avLst/>
          </a:prstGeom>
          <a:ln w="28575">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42">
            <a:extLst>
              <a:ext uri="{FF2B5EF4-FFF2-40B4-BE49-F238E27FC236}">
                <a16:creationId xmlns:a16="http://schemas.microsoft.com/office/drawing/2014/main" id="{8D2F2A4D-5E5E-8BA0-5EBC-158BCA48F79B}"/>
              </a:ext>
            </a:extLst>
          </p:cNvPr>
          <p:cNvCxnSpPr>
            <a:cxnSpLocks/>
            <a:stCxn id="5" idx="3"/>
            <a:endCxn id="12" idx="1"/>
          </p:cNvCxnSpPr>
          <p:nvPr/>
        </p:nvCxnSpPr>
        <p:spPr>
          <a:xfrm>
            <a:off x="4265311" y="2537737"/>
            <a:ext cx="453066" cy="0"/>
          </a:xfrm>
          <a:prstGeom prst="straightConnector1">
            <a:avLst/>
          </a:prstGeom>
          <a:ln w="28575">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42">
            <a:extLst>
              <a:ext uri="{FF2B5EF4-FFF2-40B4-BE49-F238E27FC236}">
                <a16:creationId xmlns:a16="http://schemas.microsoft.com/office/drawing/2014/main" id="{AF1F3D3B-B0B8-F481-89A9-6160DCF1BAC5}"/>
              </a:ext>
            </a:extLst>
          </p:cNvPr>
          <p:cNvCxnSpPr>
            <a:cxnSpLocks/>
            <a:stCxn id="48" idx="3"/>
            <a:endCxn id="5" idx="1"/>
          </p:cNvCxnSpPr>
          <p:nvPr/>
        </p:nvCxnSpPr>
        <p:spPr>
          <a:xfrm flipV="1">
            <a:off x="2609879" y="2537737"/>
            <a:ext cx="755432" cy="1"/>
          </a:xfrm>
          <a:prstGeom prst="straightConnector1">
            <a:avLst/>
          </a:prstGeom>
          <a:ln w="28575">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7" name="ZoneTexte 56">
            <a:extLst>
              <a:ext uri="{FF2B5EF4-FFF2-40B4-BE49-F238E27FC236}">
                <a16:creationId xmlns:a16="http://schemas.microsoft.com/office/drawing/2014/main" id="{FD5A4B5E-E5E1-9D57-38BC-9BA876A1156A}"/>
              </a:ext>
            </a:extLst>
          </p:cNvPr>
          <p:cNvSpPr txBox="1"/>
          <p:nvPr/>
        </p:nvSpPr>
        <p:spPr>
          <a:xfrm>
            <a:off x="9481418" y="1520505"/>
            <a:ext cx="1156430" cy="248338"/>
          </a:xfrm>
          <a:prstGeom prst="rect">
            <a:avLst/>
          </a:prstGeom>
          <a:noFill/>
        </p:spPr>
        <p:txBody>
          <a:bodyPr wrap="square">
            <a:spAutoFit/>
          </a:bodyPr>
          <a:lstStyle/>
          <a:p>
            <a:pPr algn="ctr">
              <a:lnSpc>
                <a:spcPct val="110000"/>
              </a:lnSpc>
              <a:spcBef>
                <a:spcPts val="200"/>
              </a:spcBef>
              <a:spcAft>
                <a:spcPts val="200"/>
              </a:spcAft>
            </a:pPr>
            <a:r>
              <a:rPr lang="en-US" sz="1000">
                <a:solidFill>
                  <a:schemeClr val="tx1"/>
                </a:solidFill>
                <a:latin typeface="Segoe UI" panose="020B0502040204020203" pitchFamily="34" charset="0"/>
                <a:cs typeface="Segoe UI" panose="020B0502040204020203" pitchFamily="34" charset="0"/>
              </a:rPr>
              <a:t>Major evolution</a:t>
            </a:r>
          </a:p>
        </p:txBody>
      </p:sp>
      <p:grpSp>
        <p:nvGrpSpPr>
          <p:cNvPr id="72" name="Groupe 71">
            <a:extLst>
              <a:ext uri="{FF2B5EF4-FFF2-40B4-BE49-F238E27FC236}">
                <a16:creationId xmlns:a16="http://schemas.microsoft.com/office/drawing/2014/main" id="{AC2EA1BD-B679-2B40-DAE1-D1E30BE86BD2}"/>
              </a:ext>
            </a:extLst>
          </p:cNvPr>
          <p:cNvGrpSpPr/>
          <p:nvPr/>
        </p:nvGrpSpPr>
        <p:grpSpPr>
          <a:xfrm>
            <a:off x="6101159" y="3218197"/>
            <a:ext cx="900000" cy="593385"/>
            <a:chOff x="8323287" y="4932498"/>
            <a:chExt cx="900000" cy="593385"/>
          </a:xfrm>
        </p:grpSpPr>
        <p:grpSp>
          <p:nvGrpSpPr>
            <p:cNvPr id="73" name="Groupe 72">
              <a:extLst>
                <a:ext uri="{FF2B5EF4-FFF2-40B4-BE49-F238E27FC236}">
                  <a16:creationId xmlns:a16="http://schemas.microsoft.com/office/drawing/2014/main" id="{274ADF03-E229-3DC4-8A39-D26C827C0D57}"/>
                </a:ext>
              </a:extLst>
            </p:cNvPr>
            <p:cNvGrpSpPr/>
            <p:nvPr/>
          </p:nvGrpSpPr>
          <p:grpSpPr>
            <a:xfrm>
              <a:off x="8587045" y="4932498"/>
              <a:ext cx="372486" cy="372486"/>
              <a:chOff x="4391953" y="3869326"/>
              <a:chExt cx="644441" cy="644441"/>
            </a:xfrm>
          </p:grpSpPr>
          <p:sp>
            <p:nvSpPr>
              <p:cNvPr id="83" name="Ellipse 82">
                <a:extLst>
                  <a:ext uri="{FF2B5EF4-FFF2-40B4-BE49-F238E27FC236}">
                    <a16:creationId xmlns:a16="http://schemas.microsoft.com/office/drawing/2014/main" id="{2BA69E5F-7B16-FD9E-3C96-B79C1AF51D1C}"/>
                  </a:ext>
                </a:extLst>
              </p:cNvPr>
              <p:cNvSpPr/>
              <p:nvPr/>
            </p:nvSpPr>
            <p:spPr>
              <a:xfrm>
                <a:off x="4391953" y="3869326"/>
                <a:ext cx="644441" cy="644441"/>
              </a:xfrm>
              <a:prstGeom prst="ellipse">
                <a:avLst/>
              </a:prstGeom>
              <a:solidFill>
                <a:srgbClr val="00B0AD">
                  <a:alpha val="5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latin typeface="Graphik" panose="020B0503030202060203" pitchFamily="34" charset="0"/>
                </a:endParaRPr>
              </a:p>
            </p:txBody>
          </p:sp>
          <p:pic>
            <p:nvPicPr>
              <p:cNvPr id="84" name="Image 83">
                <a:extLst>
                  <a:ext uri="{FF2B5EF4-FFF2-40B4-BE49-F238E27FC236}">
                    <a16:creationId xmlns:a16="http://schemas.microsoft.com/office/drawing/2014/main" id="{84C9D944-3AD8-CE14-32A8-3C57F7AC1FA4}"/>
                  </a:ext>
                </a:extLst>
              </p:cNvPr>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444173" y="3923668"/>
                <a:ext cx="540000" cy="535756"/>
              </a:xfrm>
              <a:prstGeom prst="rect">
                <a:avLst/>
              </a:prstGeom>
            </p:spPr>
          </p:pic>
        </p:grpSp>
        <p:sp>
          <p:nvSpPr>
            <p:cNvPr id="80" name="ZoneTexte 79">
              <a:extLst>
                <a:ext uri="{FF2B5EF4-FFF2-40B4-BE49-F238E27FC236}">
                  <a16:creationId xmlns:a16="http://schemas.microsoft.com/office/drawing/2014/main" id="{ACB37E49-BF45-F062-EC67-1B9741B79431}"/>
                </a:ext>
              </a:extLst>
            </p:cNvPr>
            <p:cNvSpPr txBox="1"/>
            <p:nvPr/>
          </p:nvSpPr>
          <p:spPr>
            <a:xfrm>
              <a:off x="8323287" y="5299292"/>
              <a:ext cx="900000" cy="226591"/>
            </a:xfrm>
            <a:prstGeom prst="rect">
              <a:avLst/>
            </a:prstGeom>
            <a:noFill/>
          </p:spPr>
          <p:txBody>
            <a:bodyPr wrap="square" lIns="36000" tIns="36000" rIns="36000" bIns="36000" rtlCol="0">
              <a:spAutoFit/>
            </a:bodyPr>
            <a:lstStyle/>
            <a:p>
              <a:pPr algn="ctr">
                <a:spcBef>
                  <a:spcPts val="600"/>
                </a:spcBef>
              </a:pPr>
              <a:r>
                <a:rPr lang="en-US" sz="1000" b="1"/>
                <a:t>Data engineer</a:t>
              </a:r>
            </a:p>
          </p:txBody>
        </p:sp>
      </p:grpSp>
      <p:grpSp>
        <p:nvGrpSpPr>
          <p:cNvPr id="86" name="Groupe 85">
            <a:extLst>
              <a:ext uri="{FF2B5EF4-FFF2-40B4-BE49-F238E27FC236}">
                <a16:creationId xmlns:a16="http://schemas.microsoft.com/office/drawing/2014/main" id="{B68BD105-990B-D6DA-E8F2-C83AB0F53E79}"/>
              </a:ext>
            </a:extLst>
          </p:cNvPr>
          <p:cNvGrpSpPr/>
          <p:nvPr/>
        </p:nvGrpSpPr>
        <p:grpSpPr>
          <a:xfrm>
            <a:off x="7548158" y="3187683"/>
            <a:ext cx="730154" cy="783149"/>
            <a:chOff x="5816396" y="4828052"/>
            <a:chExt cx="730154" cy="783149"/>
          </a:xfrm>
        </p:grpSpPr>
        <p:grpSp>
          <p:nvGrpSpPr>
            <p:cNvPr id="92" name="Groupe 91">
              <a:extLst>
                <a:ext uri="{FF2B5EF4-FFF2-40B4-BE49-F238E27FC236}">
                  <a16:creationId xmlns:a16="http://schemas.microsoft.com/office/drawing/2014/main" id="{166979FA-02BF-81F5-8497-91643C63E49F}"/>
                </a:ext>
              </a:extLst>
            </p:cNvPr>
            <p:cNvGrpSpPr/>
            <p:nvPr/>
          </p:nvGrpSpPr>
          <p:grpSpPr>
            <a:xfrm>
              <a:off x="5989596" y="4828052"/>
              <a:ext cx="372486" cy="372486"/>
              <a:chOff x="4331305" y="4580512"/>
              <a:chExt cx="644441" cy="644441"/>
            </a:xfrm>
          </p:grpSpPr>
          <p:sp>
            <p:nvSpPr>
              <p:cNvPr id="99" name="Ellipse 98">
                <a:extLst>
                  <a:ext uri="{FF2B5EF4-FFF2-40B4-BE49-F238E27FC236}">
                    <a16:creationId xmlns:a16="http://schemas.microsoft.com/office/drawing/2014/main" id="{F0FAAC04-EB2B-420B-3540-CF19EE277BDB}"/>
                  </a:ext>
                </a:extLst>
              </p:cNvPr>
              <p:cNvSpPr/>
              <p:nvPr/>
            </p:nvSpPr>
            <p:spPr>
              <a:xfrm>
                <a:off x="4331305" y="4580512"/>
                <a:ext cx="644441" cy="644441"/>
              </a:xfrm>
              <a:prstGeom prst="ellipse">
                <a:avLst/>
              </a:prstGeom>
              <a:solidFill>
                <a:srgbClr val="00B0AD">
                  <a:alpha val="5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latin typeface="Graphik" panose="020B0503030202060203" pitchFamily="34" charset="0"/>
                </a:endParaRPr>
              </a:p>
            </p:txBody>
          </p:sp>
          <p:pic>
            <p:nvPicPr>
              <p:cNvPr id="102" name="Picture 29" descr="A picture containing clipart&#10;&#10;Description automatically generated">
                <a:extLst>
                  <a:ext uri="{FF2B5EF4-FFF2-40B4-BE49-F238E27FC236}">
                    <a16:creationId xmlns:a16="http://schemas.microsoft.com/office/drawing/2014/main" id="{C001D205-BE22-48B0-A631-BEFD1318E9EF}"/>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383525" y="4632732"/>
                <a:ext cx="540000" cy="540000"/>
              </a:xfrm>
              <a:prstGeom prst="rect">
                <a:avLst/>
              </a:prstGeom>
            </p:spPr>
          </p:pic>
        </p:grpSp>
        <p:sp>
          <p:nvSpPr>
            <p:cNvPr id="96" name="ZoneTexte 95">
              <a:extLst>
                <a:ext uri="{FF2B5EF4-FFF2-40B4-BE49-F238E27FC236}">
                  <a16:creationId xmlns:a16="http://schemas.microsoft.com/office/drawing/2014/main" id="{E0962A19-DF6C-4E4F-EBE8-A791644FFDF9}"/>
                </a:ext>
              </a:extLst>
            </p:cNvPr>
            <p:cNvSpPr txBox="1"/>
            <p:nvPr/>
          </p:nvSpPr>
          <p:spPr>
            <a:xfrm>
              <a:off x="5816396" y="5230721"/>
              <a:ext cx="730154" cy="380480"/>
            </a:xfrm>
            <a:prstGeom prst="rect">
              <a:avLst/>
            </a:prstGeom>
            <a:noFill/>
          </p:spPr>
          <p:txBody>
            <a:bodyPr wrap="square" lIns="36000" tIns="36000" rIns="36000" bIns="36000" rtlCol="0">
              <a:spAutoFit/>
            </a:bodyPr>
            <a:lstStyle/>
            <a:p>
              <a:pPr algn="ctr">
                <a:spcBef>
                  <a:spcPts val="600"/>
                </a:spcBef>
              </a:pPr>
              <a:r>
                <a:rPr lang="en-US" sz="1000" b="1"/>
                <a:t>Data Product Owner</a:t>
              </a:r>
            </a:p>
          </p:txBody>
        </p:sp>
      </p:grpSp>
      <p:grpSp>
        <p:nvGrpSpPr>
          <p:cNvPr id="104" name="Groupe 103">
            <a:extLst>
              <a:ext uri="{FF2B5EF4-FFF2-40B4-BE49-F238E27FC236}">
                <a16:creationId xmlns:a16="http://schemas.microsoft.com/office/drawing/2014/main" id="{232F1BDC-4B49-0717-E40D-81D38AA299C1}"/>
              </a:ext>
            </a:extLst>
          </p:cNvPr>
          <p:cNvGrpSpPr/>
          <p:nvPr/>
        </p:nvGrpSpPr>
        <p:grpSpPr>
          <a:xfrm>
            <a:off x="7513041" y="4018871"/>
            <a:ext cx="800388" cy="748270"/>
            <a:chOff x="7107198" y="4880277"/>
            <a:chExt cx="800388" cy="748270"/>
          </a:xfrm>
        </p:grpSpPr>
        <p:sp>
          <p:nvSpPr>
            <p:cNvPr id="106" name="ZoneTexte 105">
              <a:extLst>
                <a:ext uri="{FF2B5EF4-FFF2-40B4-BE49-F238E27FC236}">
                  <a16:creationId xmlns:a16="http://schemas.microsoft.com/office/drawing/2014/main" id="{49AF032C-4FD9-9A8C-B133-189284263360}"/>
                </a:ext>
              </a:extLst>
            </p:cNvPr>
            <p:cNvSpPr txBox="1"/>
            <p:nvPr/>
          </p:nvSpPr>
          <p:spPr>
            <a:xfrm>
              <a:off x="7107198" y="5248067"/>
              <a:ext cx="800388" cy="380480"/>
            </a:xfrm>
            <a:prstGeom prst="rect">
              <a:avLst/>
            </a:prstGeom>
            <a:noFill/>
          </p:spPr>
          <p:txBody>
            <a:bodyPr wrap="square" lIns="36000" tIns="36000" rIns="36000" bIns="36000" rtlCol="0">
              <a:spAutoFit/>
            </a:bodyPr>
            <a:lstStyle/>
            <a:p>
              <a:pPr algn="ctr">
                <a:spcBef>
                  <a:spcPts val="600"/>
                </a:spcBef>
              </a:pPr>
              <a:r>
                <a:rPr lang="en-US" sz="1000" b="1"/>
                <a:t>Data Product Steward</a:t>
              </a:r>
            </a:p>
          </p:txBody>
        </p:sp>
        <p:grpSp>
          <p:nvGrpSpPr>
            <p:cNvPr id="112" name="Groupe 111">
              <a:extLst>
                <a:ext uri="{FF2B5EF4-FFF2-40B4-BE49-F238E27FC236}">
                  <a16:creationId xmlns:a16="http://schemas.microsoft.com/office/drawing/2014/main" id="{2BAA6692-EC30-F57E-CD03-DFCDE8BD0A67}"/>
                </a:ext>
              </a:extLst>
            </p:cNvPr>
            <p:cNvGrpSpPr/>
            <p:nvPr/>
          </p:nvGrpSpPr>
          <p:grpSpPr>
            <a:xfrm>
              <a:off x="7321150" y="4880277"/>
              <a:ext cx="372486" cy="372486"/>
              <a:chOff x="8644610" y="4492403"/>
              <a:chExt cx="644441" cy="644441"/>
            </a:xfrm>
          </p:grpSpPr>
          <p:sp>
            <p:nvSpPr>
              <p:cNvPr id="114" name="Ellipse 113">
                <a:extLst>
                  <a:ext uri="{FF2B5EF4-FFF2-40B4-BE49-F238E27FC236}">
                    <a16:creationId xmlns:a16="http://schemas.microsoft.com/office/drawing/2014/main" id="{B8A204CC-6683-DC32-BEAB-1484979F5915}"/>
                  </a:ext>
                </a:extLst>
              </p:cNvPr>
              <p:cNvSpPr/>
              <p:nvPr/>
            </p:nvSpPr>
            <p:spPr>
              <a:xfrm>
                <a:off x="8644610" y="4492403"/>
                <a:ext cx="644441" cy="644441"/>
              </a:xfrm>
              <a:prstGeom prst="ellipse">
                <a:avLst/>
              </a:prstGeom>
              <a:solidFill>
                <a:srgbClr val="00B0AD">
                  <a:alpha val="5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latin typeface="Graphik" panose="020B0503030202060203" pitchFamily="34" charset="0"/>
                </a:endParaRPr>
              </a:p>
            </p:txBody>
          </p:sp>
          <p:pic>
            <p:nvPicPr>
              <p:cNvPr id="115" name="Image 114">
                <a:extLst>
                  <a:ext uri="{FF2B5EF4-FFF2-40B4-BE49-F238E27FC236}">
                    <a16:creationId xmlns:a16="http://schemas.microsoft.com/office/drawing/2014/main" id="{F467DB6F-48EF-AC7C-35F0-E36982CFF610}"/>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8696830" y="4550760"/>
                <a:ext cx="540000" cy="527726"/>
              </a:xfrm>
              <a:prstGeom prst="rect">
                <a:avLst/>
              </a:prstGeom>
            </p:spPr>
          </p:pic>
        </p:grpSp>
      </p:grpSp>
      <p:grpSp>
        <p:nvGrpSpPr>
          <p:cNvPr id="4" name="Groupe 3">
            <a:extLst>
              <a:ext uri="{FF2B5EF4-FFF2-40B4-BE49-F238E27FC236}">
                <a16:creationId xmlns:a16="http://schemas.microsoft.com/office/drawing/2014/main" id="{B6EBFF87-BB84-86F3-670A-B73A20239FFD}"/>
              </a:ext>
            </a:extLst>
          </p:cNvPr>
          <p:cNvGrpSpPr/>
          <p:nvPr/>
        </p:nvGrpSpPr>
        <p:grpSpPr>
          <a:xfrm>
            <a:off x="3381032" y="3994983"/>
            <a:ext cx="993749" cy="599077"/>
            <a:chOff x="3381032" y="3994983"/>
            <a:chExt cx="993749" cy="599077"/>
          </a:xfrm>
        </p:grpSpPr>
        <p:sp>
          <p:nvSpPr>
            <p:cNvPr id="117" name="ZoneTexte 116">
              <a:extLst>
                <a:ext uri="{FF2B5EF4-FFF2-40B4-BE49-F238E27FC236}">
                  <a16:creationId xmlns:a16="http://schemas.microsoft.com/office/drawing/2014/main" id="{10548A29-068E-C818-5EDB-DE045F2B4F57}"/>
                </a:ext>
              </a:extLst>
            </p:cNvPr>
            <p:cNvSpPr txBox="1"/>
            <p:nvPr/>
          </p:nvSpPr>
          <p:spPr>
            <a:xfrm>
              <a:off x="3381032" y="4367469"/>
              <a:ext cx="993749" cy="226591"/>
            </a:xfrm>
            <a:prstGeom prst="rect">
              <a:avLst/>
            </a:prstGeom>
            <a:noFill/>
          </p:spPr>
          <p:txBody>
            <a:bodyPr wrap="square" lIns="36000" tIns="36000" rIns="36000" bIns="36000" rtlCol="0">
              <a:spAutoFit/>
            </a:bodyPr>
            <a:lstStyle/>
            <a:p>
              <a:pPr algn="ctr"/>
              <a:r>
                <a:rPr lang="en-US" sz="1000" b="1">
                  <a:highlight>
                    <a:srgbClr val="FFFF00"/>
                  </a:highlight>
                  <a:latin typeface="+mn-lt"/>
                </a:rPr>
                <a:t>Data Analyst</a:t>
              </a:r>
            </a:p>
          </p:txBody>
        </p:sp>
        <p:grpSp>
          <p:nvGrpSpPr>
            <p:cNvPr id="3" name="Groupe 2">
              <a:extLst>
                <a:ext uri="{FF2B5EF4-FFF2-40B4-BE49-F238E27FC236}">
                  <a16:creationId xmlns:a16="http://schemas.microsoft.com/office/drawing/2014/main" id="{EBA296AE-954F-34ED-DC42-80F2F2DDF443}"/>
                </a:ext>
              </a:extLst>
            </p:cNvPr>
            <p:cNvGrpSpPr/>
            <p:nvPr/>
          </p:nvGrpSpPr>
          <p:grpSpPr>
            <a:xfrm>
              <a:off x="3691665" y="3994983"/>
              <a:ext cx="373707" cy="372486"/>
              <a:chOff x="3691665" y="3994983"/>
              <a:chExt cx="373707" cy="372486"/>
            </a:xfrm>
          </p:grpSpPr>
          <p:sp>
            <p:nvSpPr>
              <p:cNvPr id="2" name="Arc plein 1">
                <a:extLst>
                  <a:ext uri="{FF2B5EF4-FFF2-40B4-BE49-F238E27FC236}">
                    <a16:creationId xmlns:a16="http://schemas.microsoft.com/office/drawing/2014/main" id="{9D59D643-9EB6-CA04-DC03-51AA7A857052}"/>
                  </a:ext>
                </a:extLst>
              </p:cNvPr>
              <p:cNvSpPr/>
              <p:nvPr/>
            </p:nvSpPr>
            <p:spPr>
              <a:xfrm rot="16200000">
                <a:off x="3692886" y="3994983"/>
                <a:ext cx="372486" cy="372486"/>
              </a:xfrm>
              <a:prstGeom prst="blockArc">
                <a:avLst/>
              </a:prstGeom>
              <a:solidFill>
                <a:srgbClr val="7FD7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endParaRPr>
              </a:p>
            </p:txBody>
          </p:sp>
          <p:sp>
            <p:nvSpPr>
              <p:cNvPr id="119" name="Arc plein 118">
                <a:extLst>
                  <a:ext uri="{FF2B5EF4-FFF2-40B4-BE49-F238E27FC236}">
                    <a16:creationId xmlns:a16="http://schemas.microsoft.com/office/drawing/2014/main" id="{18C4C909-EEC1-25C4-7BC6-0A5A9E9CDCE8}"/>
                  </a:ext>
                </a:extLst>
              </p:cNvPr>
              <p:cNvSpPr/>
              <p:nvPr/>
            </p:nvSpPr>
            <p:spPr>
              <a:xfrm rot="5400000">
                <a:off x="3691665" y="3994983"/>
                <a:ext cx="372486" cy="372486"/>
              </a:xfrm>
              <a:prstGeom prst="blockArc">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endParaRPr>
              </a:p>
            </p:txBody>
          </p:sp>
          <p:pic>
            <p:nvPicPr>
              <p:cNvPr id="120" name="Picture 74">
                <a:extLst>
                  <a:ext uri="{FF2B5EF4-FFF2-40B4-BE49-F238E27FC236}">
                    <a16:creationId xmlns:a16="http://schemas.microsoft.com/office/drawing/2014/main" id="{D114DC97-C574-4A82-6330-E323153BD203}"/>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3721848" y="4026920"/>
                <a:ext cx="312119" cy="308612"/>
              </a:xfrm>
              <a:prstGeom prst="rect">
                <a:avLst/>
              </a:prstGeom>
            </p:spPr>
          </p:pic>
        </p:grpSp>
      </p:grpSp>
      <p:sp>
        <p:nvSpPr>
          <p:cNvPr id="122" name="Rectangle: Rounded Corners 45">
            <a:extLst>
              <a:ext uri="{FF2B5EF4-FFF2-40B4-BE49-F238E27FC236}">
                <a16:creationId xmlns:a16="http://schemas.microsoft.com/office/drawing/2014/main" id="{0D263DD6-030E-7F29-15FC-BC0C071C06C5}"/>
              </a:ext>
            </a:extLst>
          </p:cNvPr>
          <p:cNvSpPr/>
          <p:nvPr/>
        </p:nvSpPr>
        <p:spPr>
          <a:xfrm>
            <a:off x="8778884" y="2016398"/>
            <a:ext cx="900000" cy="1042678"/>
          </a:xfrm>
          <a:prstGeom prst="roundRect">
            <a:avLst>
              <a:gd name="adj" fmla="val 0"/>
            </a:avLst>
          </a:prstGeom>
          <a:solidFill>
            <a:schemeClr val="bg2">
              <a:lumMod val="20000"/>
              <a:lumOff val="80000"/>
              <a:alpha val="30000"/>
            </a:schemeClr>
          </a:solidFill>
          <a:ln w="1270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10000"/>
              </a:lnSpc>
              <a:spcBef>
                <a:spcPts val="200"/>
              </a:spcBef>
              <a:spcAft>
                <a:spcPts val="200"/>
              </a:spcAft>
            </a:pPr>
            <a:r>
              <a:rPr lang="en-US" sz="900">
                <a:solidFill>
                  <a:schemeClr val="tx1"/>
                </a:solidFill>
                <a:latin typeface="Segoe UI" panose="020B0502040204020203" pitchFamily="34" charset="0"/>
                <a:cs typeface="Segoe UI" panose="020B0502040204020203" pitchFamily="34" charset="0"/>
              </a:rPr>
              <a:t>Publication</a:t>
            </a:r>
          </a:p>
        </p:txBody>
      </p:sp>
      <p:cxnSp>
        <p:nvCxnSpPr>
          <p:cNvPr id="124" name="Straight Arrow Connector 46">
            <a:extLst>
              <a:ext uri="{FF2B5EF4-FFF2-40B4-BE49-F238E27FC236}">
                <a16:creationId xmlns:a16="http://schemas.microsoft.com/office/drawing/2014/main" id="{091FBF3C-C65C-4666-CA62-266EE2CFEAFE}"/>
              </a:ext>
            </a:extLst>
          </p:cNvPr>
          <p:cNvCxnSpPr>
            <a:cxnSpLocks/>
            <a:stCxn id="122" idx="3"/>
            <a:endCxn id="35" idx="1"/>
          </p:cNvCxnSpPr>
          <p:nvPr/>
        </p:nvCxnSpPr>
        <p:spPr>
          <a:xfrm>
            <a:off x="9678884" y="2537737"/>
            <a:ext cx="402585" cy="0"/>
          </a:xfrm>
          <a:prstGeom prst="straightConnector1">
            <a:avLst/>
          </a:prstGeom>
          <a:ln w="28575">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26" name="Groupe 125">
            <a:extLst>
              <a:ext uri="{FF2B5EF4-FFF2-40B4-BE49-F238E27FC236}">
                <a16:creationId xmlns:a16="http://schemas.microsoft.com/office/drawing/2014/main" id="{1616F13B-4F7D-3996-AD8B-6EDD9F08E370}"/>
              </a:ext>
            </a:extLst>
          </p:cNvPr>
          <p:cNvGrpSpPr/>
          <p:nvPr/>
        </p:nvGrpSpPr>
        <p:grpSpPr>
          <a:xfrm>
            <a:off x="10089405" y="3233292"/>
            <a:ext cx="900000" cy="593385"/>
            <a:chOff x="8323287" y="4932498"/>
            <a:chExt cx="900000" cy="593385"/>
          </a:xfrm>
        </p:grpSpPr>
        <p:grpSp>
          <p:nvGrpSpPr>
            <p:cNvPr id="128" name="Groupe 127">
              <a:extLst>
                <a:ext uri="{FF2B5EF4-FFF2-40B4-BE49-F238E27FC236}">
                  <a16:creationId xmlns:a16="http://schemas.microsoft.com/office/drawing/2014/main" id="{3F27A2EC-04B5-0023-E748-033FDE928144}"/>
                </a:ext>
              </a:extLst>
            </p:cNvPr>
            <p:cNvGrpSpPr/>
            <p:nvPr/>
          </p:nvGrpSpPr>
          <p:grpSpPr>
            <a:xfrm>
              <a:off x="8587045" y="4932498"/>
              <a:ext cx="372486" cy="372486"/>
              <a:chOff x="4391953" y="3869326"/>
              <a:chExt cx="644441" cy="644441"/>
            </a:xfrm>
          </p:grpSpPr>
          <p:sp>
            <p:nvSpPr>
              <p:cNvPr id="133" name="Ellipse 132">
                <a:extLst>
                  <a:ext uri="{FF2B5EF4-FFF2-40B4-BE49-F238E27FC236}">
                    <a16:creationId xmlns:a16="http://schemas.microsoft.com/office/drawing/2014/main" id="{1AC5946E-8118-AF2C-CF58-B3B96A759F4A}"/>
                  </a:ext>
                </a:extLst>
              </p:cNvPr>
              <p:cNvSpPr/>
              <p:nvPr/>
            </p:nvSpPr>
            <p:spPr>
              <a:xfrm>
                <a:off x="4391953" y="3869326"/>
                <a:ext cx="644441" cy="644441"/>
              </a:xfrm>
              <a:prstGeom prst="ellipse">
                <a:avLst/>
              </a:prstGeom>
              <a:solidFill>
                <a:srgbClr val="00B0AD">
                  <a:alpha val="5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latin typeface="Graphik" panose="020B0503030202060203" pitchFamily="34" charset="0"/>
                </a:endParaRPr>
              </a:p>
            </p:txBody>
          </p:sp>
          <p:pic>
            <p:nvPicPr>
              <p:cNvPr id="135" name="Image 134">
                <a:extLst>
                  <a:ext uri="{FF2B5EF4-FFF2-40B4-BE49-F238E27FC236}">
                    <a16:creationId xmlns:a16="http://schemas.microsoft.com/office/drawing/2014/main" id="{C7B29982-C4BE-41E2-7297-ABA87AE3EC56}"/>
                  </a:ext>
                </a:extLst>
              </p:cNvPr>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444173" y="3923668"/>
                <a:ext cx="540000" cy="535756"/>
              </a:xfrm>
              <a:prstGeom prst="rect">
                <a:avLst/>
              </a:prstGeom>
            </p:spPr>
          </p:pic>
        </p:grpSp>
        <p:sp>
          <p:nvSpPr>
            <p:cNvPr id="131" name="ZoneTexte 130">
              <a:extLst>
                <a:ext uri="{FF2B5EF4-FFF2-40B4-BE49-F238E27FC236}">
                  <a16:creationId xmlns:a16="http://schemas.microsoft.com/office/drawing/2014/main" id="{074554A9-B0FB-A3BA-EDD2-65E151D76453}"/>
                </a:ext>
              </a:extLst>
            </p:cNvPr>
            <p:cNvSpPr txBox="1"/>
            <p:nvPr/>
          </p:nvSpPr>
          <p:spPr>
            <a:xfrm>
              <a:off x="8323287" y="5299292"/>
              <a:ext cx="900000" cy="226591"/>
            </a:xfrm>
            <a:prstGeom prst="rect">
              <a:avLst/>
            </a:prstGeom>
            <a:noFill/>
          </p:spPr>
          <p:txBody>
            <a:bodyPr wrap="square" lIns="36000" tIns="36000" rIns="36000" bIns="36000" rtlCol="0">
              <a:spAutoFit/>
            </a:bodyPr>
            <a:lstStyle/>
            <a:p>
              <a:pPr algn="ctr">
                <a:spcBef>
                  <a:spcPts val="600"/>
                </a:spcBef>
              </a:pPr>
              <a:r>
                <a:rPr lang="en-US" sz="1000" b="1"/>
                <a:t>Data engineer</a:t>
              </a:r>
            </a:p>
          </p:txBody>
        </p:sp>
      </p:grpSp>
      <p:grpSp>
        <p:nvGrpSpPr>
          <p:cNvPr id="137" name="Groupe 136">
            <a:extLst>
              <a:ext uri="{FF2B5EF4-FFF2-40B4-BE49-F238E27FC236}">
                <a16:creationId xmlns:a16="http://schemas.microsoft.com/office/drawing/2014/main" id="{07DCAF62-120B-FA86-3F26-6FD7237B08C8}"/>
              </a:ext>
            </a:extLst>
          </p:cNvPr>
          <p:cNvGrpSpPr/>
          <p:nvPr/>
        </p:nvGrpSpPr>
        <p:grpSpPr>
          <a:xfrm>
            <a:off x="8829512" y="3190279"/>
            <a:ext cx="800388" cy="748270"/>
            <a:chOff x="7107198" y="4880277"/>
            <a:chExt cx="800388" cy="748270"/>
          </a:xfrm>
        </p:grpSpPr>
        <p:sp>
          <p:nvSpPr>
            <p:cNvPr id="139" name="ZoneTexte 138">
              <a:extLst>
                <a:ext uri="{FF2B5EF4-FFF2-40B4-BE49-F238E27FC236}">
                  <a16:creationId xmlns:a16="http://schemas.microsoft.com/office/drawing/2014/main" id="{5A91D7CF-0899-6792-0C79-758A29A7F64C}"/>
                </a:ext>
              </a:extLst>
            </p:cNvPr>
            <p:cNvSpPr txBox="1"/>
            <p:nvPr/>
          </p:nvSpPr>
          <p:spPr>
            <a:xfrm>
              <a:off x="7107198" y="5248067"/>
              <a:ext cx="800388" cy="380480"/>
            </a:xfrm>
            <a:prstGeom prst="rect">
              <a:avLst/>
            </a:prstGeom>
            <a:noFill/>
          </p:spPr>
          <p:txBody>
            <a:bodyPr wrap="square" lIns="36000" tIns="36000" rIns="36000" bIns="36000" rtlCol="0">
              <a:spAutoFit/>
            </a:bodyPr>
            <a:lstStyle/>
            <a:p>
              <a:pPr algn="ctr">
                <a:spcBef>
                  <a:spcPts val="600"/>
                </a:spcBef>
              </a:pPr>
              <a:r>
                <a:rPr lang="en-US" sz="1000" b="1"/>
                <a:t>Data Product Steward</a:t>
              </a:r>
            </a:p>
          </p:txBody>
        </p:sp>
        <p:grpSp>
          <p:nvGrpSpPr>
            <p:cNvPr id="140" name="Groupe 139">
              <a:extLst>
                <a:ext uri="{FF2B5EF4-FFF2-40B4-BE49-F238E27FC236}">
                  <a16:creationId xmlns:a16="http://schemas.microsoft.com/office/drawing/2014/main" id="{BFFAE537-5635-D431-2D8E-1B12042D0E29}"/>
                </a:ext>
              </a:extLst>
            </p:cNvPr>
            <p:cNvGrpSpPr/>
            <p:nvPr/>
          </p:nvGrpSpPr>
          <p:grpSpPr>
            <a:xfrm>
              <a:off x="7321150" y="4880277"/>
              <a:ext cx="372486" cy="372486"/>
              <a:chOff x="8644610" y="4492403"/>
              <a:chExt cx="644441" cy="644441"/>
            </a:xfrm>
          </p:grpSpPr>
          <p:sp>
            <p:nvSpPr>
              <p:cNvPr id="141" name="Ellipse 140">
                <a:extLst>
                  <a:ext uri="{FF2B5EF4-FFF2-40B4-BE49-F238E27FC236}">
                    <a16:creationId xmlns:a16="http://schemas.microsoft.com/office/drawing/2014/main" id="{6F3C402E-7B7C-A9F2-5E4D-7D406429BD85}"/>
                  </a:ext>
                </a:extLst>
              </p:cNvPr>
              <p:cNvSpPr/>
              <p:nvPr/>
            </p:nvSpPr>
            <p:spPr>
              <a:xfrm>
                <a:off x="8644610" y="4492403"/>
                <a:ext cx="644441" cy="644441"/>
              </a:xfrm>
              <a:prstGeom prst="ellipse">
                <a:avLst/>
              </a:prstGeom>
              <a:solidFill>
                <a:srgbClr val="00B0AD">
                  <a:alpha val="5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latin typeface="Graphik" panose="020B0503030202060203" pitchFamily="34" charset="0"/>
                </a:endParaRPr>
              </a:p>
            </p:txBody>
          </p:sp>
          <p:pic>
            <p:nvPicPr>
              <p:cNvPr id="142" name="Image 141">
                <a:extLst>
                  <a:ext uri="{FF2B5EF4-FFF2-40B4-BE49-F238E27FC236}">
                    <a16:creationId xmlns:a16="http://schemas.microsoft.com/office/drawing/2014/main" id="{22DE9640-531F-AE28-A083-F6E839FF976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8696830" y="4550760"/>
                <a:ext cx="540000" cy="527726"/>
              </a:xfrm>
              <a:prstGeom prst="rect">
                <a:avLst/>
              </a:prstGeom>
            </p:spPr>
          </p:pic>
        </p:grpSp>
      </p:grpSp>
      <p:grpSp>
        <p:nvGrpSpPr>
          <p:cNvPr id="143" name="Groupe 142">
            <a:extLst>
              <a:ext uri="{FF2B5EF4-FFF2-40B4-BE49-F238E27FC236}">
                <a16:creationId xmlns:a16="http://schemas.microsoft.com/office/drawing/2014/main" id="{491F8314-030B-82AE-BBCD-BC2D2C1D3394}"/>
              </a:ext>
            </a:extLst>
          </p:cNvPr>
          <p:cNvGrpSpPr/>
          <p:nvPr/>
        </p:nvGrpSpPr>
        <p:grpSpPr>
          <a:xfrm>
            <a:off x="8768788" y="4099844"/>
            <a:ext cx="921836" cy="722782"/>
            <a:chOff x="743376" y="4143905"/>
            <a:chExt cx="921836" cy="722782"/>
          </a:xfrm>
        </p:grpSpPr>
        <p:sp>
          <p:nvSpPr>
            <p:cNvPr id="144" name="ZoneTexte 143">
              <a:extLst>
                <a:ext uri="{FF2B5EF4-FFF2-40B4-BE49-F238E27FC236}">
                  <a16:creationId xmlns:a16="http://schemas.microsoft.com/office/drawing/2014/main" id="{801A95A1-1554-CAEA-258B-1804A3371D57}"/>
                </a:ext>
              </a:extLst>
            </p:cNvPr>
            <p:cNvSpPr txBox="1"/>
            <p:nvPr/>
          </p:nvSpPr>
          <p:spPr>
            <a:xfrm>
              <a:off x="743376" y="4486207"/>
              <a:ext cx="921836" cy="380480"/>
            </a:xfrm>
            <a:prstGeom prst="rect">
              <a:avLst/>
            </a:prstGeom>
            <a:noFill/>
          </p:spPr>
          <p:txBody>
            <a:bodyPr wrap="square" lIns="36000" tIns="36000" rIns="36000" bIns="36000" rtlCol="0">
              <a:spAutoFit/>
            </a:bodyPr>
            <a:lstStyle/>
            <a:p>
              <a:pPr algn="ctr"/>
              <a:r>
                <a:rPr lang="en-US" sz="1000" b="1">
                  <a:latin typeface="+mn-lt"/>
                </a:rPr>
                <a:t>Data governance facilitator</a:t>
              </a:r>
            </a:p>
          </p:txBody>
        </p:sp>
        <p:grpSp>
          <p:nvGrpSpPr>
            <p:cNvPr id="145" name="Groupe 144">
              <a:extLst>
                <a:ext uri="{FF2B5EF4-FFF2-40B4-BE49-F238E27FC236}">
                  <a16:creationId xmlns:a16="http://schemas.microsoft.com/office/drawing/2014/main" id="{C201BA94-66DA-DA8D-458B-F0A6679674EE}"/>
                </a:ext>
              </a:extLst>
            </p:cNvPr>
            <p:cNvGrpSpPr/>
            <p:nvPr/>
          </p:nvGrpSpPr>
          <p:grpSpPr>
            <a:xfrm>
              <a:off x="1022062" y="4143905"/>
              <a:ext cx="372486" cy="372486"/>
              <a:chOff x="2572226" y="4251096"/>
              <a:chExt cx="644441" cy="644441"/>
            </a:xfrm>
          </p:grpSpPr>
          <p:sp>
            <p:nvSpPr>
              <p:cNvPr id="146" name="Ellipse 145">
                <a:extLst>
                  <a:ext uri="{FF2B5EF4-FFF2-40B4-BE49-F238E27FC236}">
                    <a16:creationId xmlns:a16="http://schemas.microsoft.com/office/drawing/2014/main" id="{7869FF64-2A90-1F64-4186-148E17E3612D}"/>
                  </a:ext>
                </a:extLst>
              </p:cNvPr>
              <p:cNvSpPr/>
              <p:nvPr/>
            </p:nvSpPr>
            <p:spPr>
              <a:xfrm>
                <a:off x="2572226" y="4251096"/>
                <a:ext cx="644441" cy="644441"/>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endParaRPr>
              </a:p>
            </p:txBody>
          </p:sp>
          <p:pic>
            <p:nvPicPr>
              <p:cNvPr id="147" name="Picture 74" descr="A picture containing vector graphics&#10;&#10;Description automatically generated">
                <a:extLst>
                  <a:ext uri="{FF2B5EF4-FFF2-40B4-BE49-F238E27FC236}">
                    <a16:creationId xmlns:a16="http://schemas.microsoft.com/office/drawing/2014/main" id="{0F025182-1E41-B616-A602-C7FB04972221}"/>
                  </a:ext>
                </a:extLst>
              </p:cNvPr>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2624446" y="4303316"/>
                <a:ext cx="540000" cy="540000"/>
              </a:xfrm>
              <a:prstGeom prst="rect">
                <a:avLst/>
              </a:prstGeom>
            </p:spPr>
          </p:pic>
        </p:grpSp>
      </p:grpSp>
      <p:grpSp>
        <p:nvGrpSpPr>
          <p:cNvPr id="148" name="Groupe 147">
            <a:extLst>
              <a:ext uri="{FF2B5EF4-FFF2-40B4-BE49-F238E27FC236}">
                <a16:creationId xmlns:a16="http://schemas.microsoft.com/office/drawing/2014/main" id="{9F8479C9-B0BE-5AE8-858E-3959EAA748C3}"/>
              </a:ext>
            </a:extLst>
          </p:cNvPr>
          <p:cNvGrpSpPr/>
          <p:nvPr/>
        </p:nvGrpSpPr>
        <p:grpSpPr>
          <a:xfrm>
            <a:off x="10078487" y="3994983"/>
            <a:ext cx="921836" cy="747127"/>
            <a:chOff x="2579690" y="4149744"/>
            <a:chExt cx="921836" cy="747127"/>
          </a:xfrm>
        </p:grpSpPr>
        <p:sp>
          <p:nvSpPr>
            <p:cNvPr id="149" name="ZoneTexte 148">
              <a:extLst>
                <a:ext uri="{FF2B5EF4-FFF2-40B4-BE49-F238E27FC236}">
                  <a16:creationId xmlns:a16="http://schemas.microsoft.com/office/drawing/2014/main" id="{8B4845B0-B186-FD1C-3119-CADA8505BA28}"/>
                </a:ext>
              </a:extLst>
            </p:cNvPr>
            <p:cNvSpPr txBox="1"/>
            <p:nvPr/>
          </p:nvSpPr>
          <p:spPr>
            <a:xfrm>
              <a:off x="2579690" y="4516391"/>
              <a:ext cx="921836" cy="380480"/>
            </a:xfrm>
            <a:prstGeom prst="rect">
              <a:avLst/>
            </a:prstGeom>
            <a:noFill/>
          </p:spPr>
          <p:txBody>
            <a:bodyPr wrap="square" lIns="36000" tIns="36000" rIns="36000" bIns="36000" rtlCol="0">
              <a:spAutoFit/>
            </a:bodyPr>
            <a:lstStyle/>
            <a:p>
              <a:pPr algn="ctr"/>
              <a:r>
                <a:rPr lang="en-US" sz="1000" b="1">
                  <a:latin typeface="+mn-lt"/>
                </a:rPr>
                <a:t>Data community coordinator</a:t>
              </a:r>
            </a:p>
          </p:txBody>
        </p:sp>
        <p:grpSp>
          <p:nvGrpSpPr>
            <p:cNvPr id="150" name="Groupe 149">
              <a:extLst>
                <a:ext uri="{FF2B5EF4-FFF2-40B4-BE49-F238E27FC236}">
                  <a16:creationId xmlns:a16="http://schemas.microsoft.com/office/drawing/2014/main" id="{9362A0A3-C8DA-A9C2-C853-C7342C930875}"/>
                </a:ext>
              </a:extLst>
            </p:cNvPr>
            <p:cNvGrpSpPr/>
            <p:nvPr/>
          </p:nvGrpSpPr>
          <p:grpSpPr>
            <a:xfrm>
              <a:off x="2854366" y="4149744"/>
              <a:ext cx="372486" cy="372486"/>
              <a:chOff x="2572226" y="4251096"/>
              <a:chExt cx="644441" cy="644441"/>
            </a:xfrm>
          </p:grpSpPr>
          <p:sp>
            <p:nvSpPr>
              <p:cNvPr id="151" name="Ellipse 150">
                <a:extLst>
                  <a:ext uri="{FF2B5EF4-FFF2-40B4-BE49-F238E27FC236}">
                    <a16:creationId xmlns:a16="http://schemas.microsoft.com/office/drawing/2014/main" id="{33032451-D43D-FB64-C2C8-F60FA74A072F}"/>
                  </a:ext>
                </a:extLst>
              </p:cNvPr>
              <p:cNvSpPr/>
              <p:nvPr/>
            </p:nvSpPr>
            <p:spPr>
              <a:xfrm>
                <a:off x="2572226" y="4251096"/>
                <a:ext cx="644441" cy="644441"/>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endParaRPr>
              </a:p>
            </p:txBody>
          </p:sp>
          <p:pic>
            <p:nvPicPr>
              <p:cNvPr id="152" name="Picture 74">
                <a:extLst>
                  <a:ext uri="{FF2B5EF4-FFF2-40B4-BE49-F238E27FC236}">
                    <a16:creationId xmlns:a16="http://schemas.microsoft.com/office/drawing/2014/main" id="{C64C44A9-8792-9442-CC50-BB79A3D371D4}"/>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2624446" y="4303316"/>
                <a:ext cx="540000" cy="540000"/>
              </a:xfrm>
              <a:prstGeom prst="rect">
                <a:avLst/>
              </a:prstGeom>
            </p:spPr>
          </p:pic>
        </p:grpSp>
      </p:grpSp>
      <p:grpSp>
        <p:nvGrpSpPr>
          <p:cNvPr id="153" name="Groupe 152">
            <a:extLst>
              <a:ext uri="{FF2B5EF4-FFF2-40B4-BE49-F238E27FC236}">
                <a16:creationId xmlns:a16="http://schemas.microsoft.com/office/drawing/2014/main" id="{8998E862-C519-0AB3-C582-866FA1AB04EE}"/>
              </a:ext>
            </a:extLst>
          </p:cNvPr>
          <p:cNvGrpSpPr/>
          <p:nvPr/>
        </p:nvGrpSpPr>
        <p:grpSpPr>
          <a:xfrm>
            <a:off x="1900654" y="3233292"/>
            <a:ext cx="672687" cy="599077"/>
            <a:chOff x="3392383" y="1950963"/>
            <a:chExt cx="1163822" cy="1036468"/>
          </a:xfrm>
        </p:grpSpPr>
        <p:sp>
          <p:nvSpPr>
            <p:cNvPr id="154" name="ZoneTexte 153">
              <a:extLst>
                <a:ext uri="{FF2B5EF4-FFF2-40B4-BE49-F238E27FC236}">
                  <a16:creationId xmlns:a16="http://schemas.microsoft.com/office/drawing/2014/main" id="{8D336C0E-27EF-6930-227D-3EA5C551DCE9}"/>
                </a:ext>
              </a:extLst>
            </p:cNvPr>
            <p:cNvSpPr txBox="1"/>
            <p:nvPr/>
          </p:nvSpPr>
          <p:spPr>
            <a:xfrm>
              <a:off x="3392383" y="2595404"/>
              <a:ext cx="1163822" cy="392027"/>
            </a:xfrm>
            <a:prstGeom prst="rect">
              <a:avLst/>
            </a:prstGeom>
            <a:noFill/>
          </p:spPr>
          <p:txBody>
            <a:bodyPr wrap="square" lIns="36000" tIns="36000" rIns="36000" bIns="36000" rtlCol="0">
              <a:spAutoFit/>
            </a:bodyPr>
            <a:lstStyle/>
            <a:p>
              <a:pPr algn="ctr">
                <a:spcBef>
                  <a:spcPts val="600"/>
                </a:spcBef>
              </a:pPr>
              <a:r>
                <a:rPr lang="en-US" sz="1000" b="1">
                  <a:latin typeface="+mn-lt"/>
                </a:rPr>
                <a:t>Data Officer</a:t>
              </a:r>
            </a:p>
          </p:txBody>
        </p:sp>
        <p:grpSp>
          <p:nvGrpSpPr>
            <p:cNvPr id="155" name="Groupe 154">
              <a:extLst>
                <a:ext uri="{FF2B5EF4-FFF2-40B4-BE49-F238E27FC236}">
                  <a16:creationId xmlns:a16="http://schemas.microsoft.com/office/drawing/2014/main" id="{748495D1-FBE1-F9FF-21D3-89BB4B0C1D80}"/>
                </a:ext>
              </a:extLst>
            </p:cNvPr>
            <p:cNvGrpSpPr/>
            <p:nvPr/>
          </p:nvGrpSpPr>
          <p:grpSpPr>
            <a:xfrm>
              <a:off x="3681564" y="1950963"/>
              <a:ext cx="644441" cy="644441"/>
              <a:chOff x="1031930" y="4251096"/>
              <a:chExt cx="644441" cy="644441"/>
            </a:xfrm>
          </p:grpSpPr>
          <p:sp>
            <p:nvSpPr>
              <p:cNvPr id="156" name="Ellipse 155">
                <a:extLst>
                  <a:ext uri="{FF2B5EF4-FFF2-40B4-BE49-F238E27FC236}">
                    <a16:creationId xmlns:a16="http://schemas.microsoft.com/office/drawing/2014/main" id="{83B2700C-1179-784F-546F-2DD377802413}"/>
                  </a:ext>
                </a:extLst>
              </p:cNvPr>
              <p:cNvSpPr/>
              <p:nvPr/>
            </p:nvSpPr>
            <p:spPr>
              <a:xfrm>
                <a:off x="1031930" y="4251096"/>
                <a:ext cx="644441" cy="644441"/>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endParaRPr>
              </a:p>
            </p:txBody>
          </p:sp>
          <p:pic>
            <p:nvPicPr>
              <p:cNvPr id="157" name="Image 156">
                <a:extLst>
                  <a:ext uri="{FF2B5EF4-FFF2-40B4-BE49-F238E27FC236}">
                    <a16:creationId xmlns:a16="http://schemas.microsoft.com/office/drawing/2014/main" id="{53F054E5-1AD9-388B-16A2-D68726E6E674}"/>
                  </a:ext>
                </a:extLst>
              </p:cNvPr>
              <p:cNvPicPr>
                <a:picLocks noChangeAspect="1"/>
              </p:cNvPicPr>
              <p:nvPr/>
            </p:nvPicPr>
            <p:blipFill>
              <a:blip r:embed="rId9">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84150" y="4303316"/>
                <a:ext cx="540000" cy="540000"/>
              </a:xfrm>
              <a:prstGeom prst="rect">
                <a:avLst/>
              </a:prstGeom>
            </p:spPr>
          </p:pic>
        </p:grpSp>
      </p:grpSp>
      <p:grpSp>
        <p:nvGrpSpPr>
          <p:cNvPr id="158" name="Groupe 157">
            <a:extLst>
              <a:ext uri="{FF2B5EF4-FFF2-40B4-BE49-F238E27FC236}">
                <a16:creationId xmlns:a16="http://schemas.microsoft.com/office/drawing/2014/main" id="{2BB2D99C-E344-D791-5483-89E49FA3EA3B}"/>
              </a:ext>
            </a:extLst>
          </p:cNvPr>
          <p:cNvGrpSpPr/>
          <p:nvPr/>
        </p:nvGrpSpPr>
        <p:grpSpPr>
          <a:xfrm>
            <a:off x="3508466" y="3228299"/>
            <a:ext cx="730154" cy="783149"/>
            <a:chOff x="5816396" y="4828052"/>
            <a:chExt cx="730154" cy="783149"/>
          </a:xfrm>
        </p:grpSpPr>
        <p:grpSp>
          <p:nvGrpSpPr>
            <p:cNvPr id="159" name="Groupe 158">
              <a:extLst>
                <a:ext uri="{FF2B5EF4-FFF2-40B4-BE49-F238E27FC236}">
                  <a16:creationId xmlns:a16="http://schemas.microsoft.com/office/drawing/2014/main" id="{7D90AFB0-0692-3120-348E-94EC767A332C}"/>
                </a:ext>
              </a:extLst>
            </p:cNvPr>
            <p:cNvGrpSpPr/>
            <p:nvPr/>
          </p:nvGrpSpPr>
          <p:grpSpPr>
            <a:xfrm>
              <a:off x="5989596" y="4828052"/>
              <a:ext cx="372486" cy="372486"/>
              <a:chOff x="4331305" y="4580512"/>
              <a:chExt cx="644441" cy="644441"/>
            </a:xfrm>
          </p:grpSpPr>
          <p:sp>
            <p:nvSpPr>
              <p:cNvPr id="161" name="Ellipse 160">
                <a:extLst>
                  <a:ext uri="{FF2B5EF4-FFF2-40B4-BE49-F238E27FC236}">
                    <a16:creationId xmlns:a16="http://schemas.microsoft.com/office/drawing/2014/main" id="{DF154AE0-3CA6-3B7F-A02E-E74ED19F4DB8}"/>
                  </a:ext>
                </a:extLst>
              </p:cNvPr>
              <p:cNvSpPr/>
              <p:nvPr/>
            </p:nvSpPr>
            <p:spPr>
              <a:xfrm>
                <a:off x="4331305" y="4580512"/>
                <a:ext cx="644441" cy="644441"/>
              </a:xfrm>
              <a:prstGeom prst="ellipse">
                <a:avLst/>
              </a:prstGeom>
              <a:solidFill>
                <a:srgbClr val="00B0AD">
                  <a:alpha val="5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latin typeface="Graphik" panose="020B0503030202060203" pitchFamily="34" charset="0"/>
                </a:endParaRPr>
              </a:p>
            </p:txBody>
          </p:sp>
          <p:pic>
            <p:nvPicPr>
              <p:cNvPr id="162" name="Picture 29" descr="A picture containing clipart&#10;&#10;Description automatically generated">
                <a:extLst>
                  <a:ext uri="{FF2B5EF4-FFF2-40B4-BE49-F238E27FC236}">
                    <a16:creationId xmlns:a16="http://schemas.microsoft.com/office/drawing/2014/main" id="{280A31DB-84E1-77A4-33C7-3467ADB582E7}"/>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383525" y="4632732"/>
                <a:ext cx="540000" cy="540000"/>
              </a:xfrm>
              <a:prstGeom prst="rect">
                <a:avLst/>
              </a:prstGeom>
            </p:spPr>
          </p:pic>
        </p:grpSp>
        <p:sp>
          <p:nvSpPr>
            <p:cNvPr id="160" name="ZoneTexte 159">
              <a:extLst>
                <a:ext uri="{FF2B5EF4-FFF2-40B4-BE49-F238E27FC236}">
                  <a16:creationId xmlns:a16="http://schemas.microsoft.com/office/drawing/2014/main" id="{56A98397-8C90-B8D3-6F9E-A75890972EC4}"/>
                </a:ext>
              </a:extLst>
            </p:cNvPr>
            <p:cNvSpPr txBox="1"/>
            <p:nvPr/>
          </p:nvSpPr>
          <p:spPr>
            <a:xfrm>
              <a:off x="5816396" y="5230721"/>
              <a:ext cx="730154" cy="380480"/>
            </a:xfrm>
            <a:prstGeom prst="rect">
              <a:avLst/>
            </a:prstGeom>
            <a:noFill/>
          </p:spPr>
          <p:txBody>
            <a:bodyPr wrap="square" lIns="36000" tIns="36000" rIns="36000" bIns="36000" rtlCol="0">
              <a:spAutoFit/>
            </a:bodyPr>
            <a:lstStyle/>
            <a:p>
              <a:pPr algn="ctr">
                <a:spcBef>
                  <a:spcPts val="600"/>
                </a:spcBef>
              </a:pPr>
              <a:r>
                <a:rPr lang="en-US" sz="1000" b="1"/>
                <a:t>Data Product Owner</a:t>
              </a:r>
            </a:p>
          </p:txBody>
        </p:sp>
      </p:grpSp>
      <p:grpSp>
        <p:nvGrpSpPr>
          <p:cNvPr id="168" name="Groupe 167">
            <a:extLst>
              <a:ext uri="{FF2B5EF4-FFF2-40B4-BE49-F238E27FC236}">
                <a16:creationId xmlns:a16="http://schemas.microsoft.com/office/drawing/2014/main" id="{536FCE80-4AE8-AB50-8FC3-155A6F13A3B7}"/>
              </a:ext>
            </a:extLst>
          </p:cNvPr>
          <p:cNvGrpSpPr/>
          <p:nvPr/>
        </p:nvGrpSpPr>
        <p:grpSpPr>
          <a:xfrm>
            <a:off x="4812717" y="3179026"/>
            <a:ext cx="730154" cy="783149"/>
            <a:chOff x="5816396" y="4828052"/>
            <a:chExt cx="730154" cy="783149"/>
          </a:xfrm>
        </p:grpSpPr>
        <p:grpSp>
          <p:nvGrpSpPr>
            <p:cNvPr id="169" name="Groupe 168">
              <a:extLst>
                <a:ext uri="{FF2B5EF4-FFF2-40B4-BE49-F238E27FC236}">
                  <a16:creationId xmlns:a16="http://schemas.microsoft.com/office/drawing/2014/main" id="{DBF0330A-9D81-0607-B989-049888DE6134}"/>
                </a:ext>
              </a:extLst>
            </p:cNvPr>
            <p:cNvGrpSpPr/>
            <p:nvPr/>
          </p:nvGrpSpPr>
          <p:grpSpPr>
            <a:xfrm>
              <a:off x="5989596" y="4828052"/>
              <a:ext cx="372486" cy="372486"/>
              <a:chOff x="4331305" y="4580512"/>
              <a:chExt cx="644441" cy="644441"/>
            </a:xfrm>
          </p:grpSpPr>
          <p:sp>
            <p:nvSpPr>
              <p:cNvPr id="171" name="Ellipse 170">
                <a:extLst>
                  <a:ext uri="{FF2B5EF4-FFF2-40B4-BE49-F238E27FC236}">
                    <a16:creationId xmlns:a16="http://schemas.microsoft.com/office/drawing/2014/main" id="{BB730E0F-B664-80AB-7F6C-654BFD145A3D}"/>
                  </a:ext>
                </a:extLst>
              </p:cNvPr>
              <p:cNvSpPr/>
              <p:nvPr/>
            </p:nvSpPr>
            <p:spPr>
              <a:xfrm>
                <a:off x="4331305" y="4580512"/>
                <a:ext cx="644441" cy="644441"/>
              </a:xfrm>
              <a:prstGeom prst="ellipse">
                <a:avLst/>
              </a:prstGeom>
              <a:solidFill>
                <a:srgbClr val="00B0AD">
                  <a:alpha val="5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latin typeface="Graphik" panose="020B0503030202060203" pitchFamily="34" charset="0"/>
                </a:endParaRPr>
              </a:p>
            </p:txBody>
          </p:sp>
          <p:pic>
            <p:nvPicPr>
              <p:cNvPr id="172" name="Picture 29" descr="A picture containing clipart&#10;&#10;Description automatically generated">
                <a:extLst>
                  <a:ext uri="{FF2B5EF4-FFF2-40B4-BE49-F238E27FC236}">
                    <a16:creationId xmlns:a16="http://schemas.microsoft.com/office/drawing/2014/main" id="{111C9A61-A566-DA6B-62CA-6BFCA552E292}"/>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383525" y="4632732"/>
                <a:ext cx="540000" cy="540000"/>
              </a:xfrm>
              <a:prstGeom prst="rect">
                <a:avLst/>
              </a:prstGeom>
            </p:spPr>
          </p:pic>
        </p:grpSp>
        <p:sp>
          <p:nvSpPr>
            <p:cNvPr id="170" name="ZoneTexte 169">
              <a:extLst>
                <a:ext uri="{FF2B5EF4-FFF2-40B4-BE49-F238E27FC236}">
                  <a16:creationId xmlns:a16="http://schemas.microsoft.com/office/drawing/2014/main" id="{8904A19A-542F-800D-7397-3C7322E5AD8E}"/>
                </a:ext>
              </a:extLst>
            </p:cNvPr>
            <p:cNvSpPr txBox="1"/>
            <p:nvPr/>
          </p:nvSpPr>
          <p:spPr>
            <a:xfrm>
              <a:off x="5816396" y="5230721"/>
              <a:ext cx="730154" cy="380480"/>
            </a:xfrm>
            <a:prstGeom prst="rect">
              <a:avLst/>
            </a:prstGeom>
            <a:noFill/>
          </p:spPr>
          <p:txBody>
            <a:bodyPr wrap="square" lIns="36000" tIns="36000" rIns="36000" bIns="36000" rtlCol="0">
              <a:spAutoFit/>
            </a:bodyPr>
            <a:lstStyle/>
            <a:p>
              <a:pPr algn="ctr">
                <a:spcBef>
                  <a:spcPts val="600"/>
                </a:spcBef>
              </a:pPr>
              <a:r>
                <a:rPr lang="en-US" sz="1000" b="1"/>
                <a:t>Data Product Owner</a:t>
              </a:r>
            </a:p>
          </p:txBody>
        </p:sp>
      </p:grpSp>
      <p:grpSp>
        <p:nvGrpSpPr>
          <p:cNvPr id="173" name="Groupe 172">
            <a:extLst>
              <a:ext uri="{FF2B5EF4-FFF2-40B4-BE49-F238E27FC236}">
                <a16:creationId xmlns:a16="http://schemas.microsoft.com/office/drawing/2014/main" id="{DFD5FC83-A13B-A53F-D180-833874FD3400}"/>
              </a:ext>
            </a:extLst>
          </p:cNvPr>
          <p:cNvGrpSpPr/>
          <p:nvPr/>
        </p:nvGrpSpPr>
        <p:grpSpPr>
          <a:xfrm>
            <a:off x="4777600" y="4010214"/>
            <a:ext cx="800388" cy="748270"/>
            <a:chOff x="7107198" y="4880277"/>
            <a:chExt cx="800388" cy="748270"/>
          </a:xfrm>
        </p:grpSpPr>
        <p:sp>
          <p:nvSpPr>
            <p:cNvPr id="174" name="ZoneTexte 173">
              <a:extLst>
                <a:ext uri="{FF2B5EF4-FFF2-40B4-BE49-F238E27FC236}">
                  <a16:creationId xmlns:a16="http://schemas.microsoft.com/office/drawing/2014/main" id="{D3B91024-983D-9830-14BC-17FA2694C770}"/>
                </a:ext>
              </a:extLst>
            </p:cNvPr>
            <p:cNvSpPr txBox="1"/>
            <p:nvPr/>
          </p:nvSpPr>
          <p:spPr>
            <a:xfrm>
              <a:off x="7107198" y="5248067"/>
              <a:ext cx="800388" cy="380480"/>
            </a:xfrm>
            <a:prstGeom prst="rect">
              <a:avLst/>
            </a:prstGeom>
            <a:noFill/>
          </p:spPr>
          <p:txBody>
            <a:bodyPr wrap="square" lIns="36000" tIns="36000" rIns="36000" bIns="36000" rtlCol="0">
              <a:spAutoFit/>
            </a:bodyPr>
            <a:lstStyle/>
            <a:p>
              <a:pPr algn="ctr">
                <a:spcBef>
                  <a:spcPts val="600"/>
                </a:spcBef>
              </a:pPr>
              <a:r>
                <a:rPr lang="en-US" sz="1000" b="1"/>
                <a:t>Data Product Steward</a:t>
              </a:r>
            </a:p>
          </p:txBody>
        </p:sp>
        <p:grpSp>
          <p:nvGrpSpPr>
            <p:cNvPr id="175" name="Groupe 174">
              <a:extLst>
                <a:ext uri="{FF2B5EF4-FFF2-40B4-BE49-F238E27FC236}">
                  <a16:creationId xmlns:a16="http://schemas.microsoft.com/office/drawing/2014/main" id="{F7332870-E6A7-71B7-D42B-5FDA935404B4}"/>
                </a:ext>
              </a:extLst>
            </p:cNvPr>
            <p:cNvGrpSpPr/>
            <p:nvPr/>
          </p:nvGrpSpPr>
          <p:grpSpPr>
            <a:xfrm>
              <a:off x="7321150" y="4880277"/>
              <a:ext cx="372486" cy="372486"/>
              <a:chOff x="8644610" y="4492403"/>
              <a:chExt cx="644441" cy="644441"/>
            </a:xfrm>
          </p:grpSpPr>
          <p:sp>
            <p:nvSpPr>
              <p:cNvPr id="176" name="Ellipse 175">
                <a:extLst>
                  <a:ext uri="{FF2B5EF4-FFF2-40B4-BE49-F238E27FC236}">
                    <a16:creationId xmlns:a16="http://schemas.microsoft.com/office/drawing/2014/main" id="{8FBEAF10-F311-F0B2-852B-274C945B73B6}"/>
                  </a:ext>
                </a:extLst>
              </p:cNvPr>
              <p:cNvSpPr/>
              <p:nvPr/>
            </p:nvSpPr>
            <p:spPr>
              <a:xfrm>
                <a:off x="8644610" y="4492403"/>
                <a:ext cx="644441" cy="644441"/>
              </a:xfrm>
              <a:prstGeom prst="ellipse">
                <a:avLst/>
              </a:prstGeom>
              <a:solidFill>
                <a:srgbClr val="00B0AD">
                  <a:alpha val="5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latin typeface="Graphik" panose="020B0503030202060203" pitchFamily="34" charset="0"/>
                </a:endParaRPr>
              </a:p>
            </p:txBody>
          </p:sp>
          <p:pic>
            <p:nvPicPr>
              <p:cNvPr id="177" name="Image 176">
                <a:extLst>
                  <a:ext uri="{FF2B5EF4-FFF2-40B4-BE49-F238E27FC236}">
                    <a16:creationId xmlns:a16="http://schemas.microsoft.com/office/drawing/2014/main" id="{B241EEFC-B26B-8D06-6EC9-6C23397A6DF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8696830" y="4550760"/>
                <a:ext cx="540000" cy="527726"/>
              </a:xfrm>
              <a:prstGeom prst="rect">
                <a:avLst/>
              </a:prstGeom>
            </p:spPr>
          </p:pic>
        </p:grpSp>
      </p:grpSp>
      <p:grpSp>
        <p:nvGrpSpPr>
          <p:cNvPr id="178" name="Groupe 177">
            <a:extLst>
              <a:ext uri="{FF2B5EF4-FFF2-40B4-BE49-F238E27FC236}">
                <a16:creationId xmlns:a16="http://schemas.microsoft.com/office/drawing/2014/main" id="{39BB74E0-E719-068E-BFD3-28DC898625B4}"/>
              </a:ext>
            </a:extLst>
          </p:cNvPr>
          <p:cNvGrpSpPr/>
          <p:nvPr/>
        </p:nvGrpSpPr>
        <p:grpSpPr>
          <a:xfrm>
            <a:off x="4727794" y="4821220"/>
            <a:ext cx="900000" cy="593385"/>
            <a:chOff x="8323287" y="4932498"/>
            <a:chExt cx="900000" cy="593385"/>
          </a:xfrm>
        </p:grpSpPr>
        <p:grpSp>
          <p:nvGrpSpPr>
            <p:cNvPr id="179" name="Groupe 178">
              <a:extLst>
                <a:ext uri="{FF2B5EF4-FFF2-40B4-BE49-F238E27FC236}">
                  <a16:creationId xmlns:a16="http://schemas.microsoft.com/office/drawing/2014/main" id="{9EDC985C-9E76-54E0-285C-61B8550169E6}"/>
                </a:ext>
              </a:extLst>
            </p:cNvPr>
            <p:cNvGrpSpPr/>
            <p:nvPr/>
          </p:nvGrpSpPr>
          <p:grpSpPr>
            <a:xfrm>
              <a:off x="8587045" y="4932498"/>
              <a:ext cx="372486" cy="372486"/>
              <a:chOff x="4391953" y="3869326"/>
              <a:chExt cx="644441" cy="644441"/>
            </a:xfrm>
          </p:grpSpPr>
          <p:sp>
            <p:nvSpPr>
              <p:cNvPr id="181" name="Ellipse 180">
                <a:extLst>
                  <a:ext uri="{FF2B5EF4-FFF2-40B4-BE49-F238E27FC236}">
                    <a16:creationId xmlns:a16="http://schemas.microsoft.com/office/drawing/2014/main" id="{308BA707-4F96-764D-737E-258CE60C7EB9}"/>
                  </a:ext>
                </a:extLst>
              </p:cNvPr>
              <p:cNvSpPr/>
              <p:nvPr/>
            </p:nvSpPr>
            <p:spPr>
              <a:xfrm>
                <a:off x="4391953" y="3869326"/>
                <a:ext cx="644441" cy="644441"/>
              </a:xfrm>
              <a:prstGeom prst="ellipse">
                <a:avLst/>
              </a:prstGeom>
              <a:solidFill>
                <a:srgbClr val="00B0AD">
                  <a:alpha val="5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latin typeface="Graphik" panose="020B0503030202060203" pitchFamily="34" charset="0"/>
                </a:endParaRPr>
              </a:p>
            </p:txBody>
          </p:sp>
          <p:pic>
            <p:nvPicPr>
              <p:cNvPr id="182" name="Image 181">
                <a:extLst>
                  <a:ext uri="{FF2B5EF4-FFF2-40B4-BE49-F238E27FC236}">
                    <a16:creationId xmlns:a16="http://schemas.microsoft.com/office/drawing/2014/main" id="{954D5526-6219-473C-C89D-B6EEB316AC47}"/>
                  </a:ext>
                </a:extLst>
              </p:cNvPr>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444173" y="3923668"/>
                <a:ext cx="540000" cy="535756"/>
              </a:xfrm>
              <a:prstGeom prst="rect">
                <a:avLst/>
              </a:prstGeom>
            </p:spPr>
          </p:pic>
        </p:grpSp>
        <p:sp>
          <p:nvSpPr>
            <p:cNvPr id="180" name="ZoneTexte 179">
              <a:extLst>
                <a:ext uri="{FF2B5EF4-FFF2-40B4-BE49-F238E27FC236}">
                  <a16:creationId xmlns:a16="http://schemas.microsoft.com/office/drawing/2014/main" id="{8DB8F95F-AF5E-A530-B95E-D8902FE2395C}"/>
                </a:ext>
              </a:extLst>
            </p:cNvPr>
            <p:cNvSpPr txBox="1"/>
            <p:nvPr/>
          </p:nvSpPr>
          <p:spPr>
            <a:xfrm>
              <a:off x="8323287" y="5299292"/>
              <a:ext cx="900000" cy="226591"/>
            </a:xfrm>
            <a:prstGeom prst="rect">
              <a:avLst/>
            </a:prstGeom>
            <a:noFill/>
          </p:spPr>
          <p:txBody>
            <a:bodyPr wrap="square" lIns="36000" tIns="36000" rIns="36000" bIns="36000" rtlCol="0">
              <a:spAutoFit/>
            </a:bodyPr>
            <a:lstStyle/>
            <a:p>
              <a:pPr algn="ctr">
                <a:spcBef>
                  <a:spcPts val="600"/>
                </a:spcBef>
              </a:pPr>
              <a:r>
                <a:rPr lang="en-US" sz="1000" b="1"/>
                <a:t>Data engineer</a:t>
              </a:r>
            </a:p>
          </p:txBody>
        </p:sp>
      </p:grpSp>
      <p:sp>
        <p:nvSpPr>
          <p:cNvPr id="184" name="Ellipse 183">
            <a:extLst>
              <a:ext uri="{FF2B5EF4-FFF2-40B4-BE49-F238E27FC236}">
                <a16:creationId xmlns:a16="http://schemas.microsoft.com/office/drawing/2014/main" id="{0600C6CF-0E9F-1FD5-F839-7141CABE423E}"/>
              </a:ext>
            </a:extLst>
          </p:cNvPr>
          <p:cNvSpPr/>
          <p:nvPr/>
        </p:nvSpPr>
        <p:spPr>
          <a:xfrm>
            <a:off x="11215810" y="5953288"/>
            <a:ext cx="180000" cy="180000"/>
          </a:xfrm>
          <a:prstGeom prst="ellipse">
            <a:avLst/>
          </a:prstGeom>
          <a:solidFill>
            <a:srgbClr val="4FC1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a:ln>
                <a:noFill/>
              </a:ln>
              <a:solidFill>
                <a:srgbClr val="3F3F3F"/>
              </a:solidFill>
              <a:effectLst/>
              <a:uLnTx/>
              <a:uFillTx/>
              <a:latin typeface="Vinci Sans Light"/>
              <a:ea typeface="+mn-ea"/>
              <a:cs typeface="+mn-cs"/>
            </a:endParaRPr>
          </a:p>
        </p:txBody>
      </p:sp>
      <p:sp>
        <p:nvSpPr>
          <p:cNvPr id="185" name="Ellipse 184">
            <a:extLst>
              <a:ext uri="{FF2B5EF4-FFF2-40B4-BE49-F238E27FC236}">
                <a16:creationId xmlns:a16="http://schemas.microsoft.com/office/drawing/2014/main" id="{A90630C6-1C59-420A-2C7F-80288D87ADE1}"/>
              </a:ext>
            </a:extLst>
          </p:cNvPr>
          <p:cNvSpPr/>
          <p:nvPr/>
        </p:nvSpPr>
        <p:spPr>
          <a:xfrm>
            <a:off x="11207874" y="5701551"/>
            <a:ext cx="180000" cy="180000"/>
          </a:xfrm>
          <a:prstGeom prst="ellipse">
            <a:avLst/>
          </a:prstGeom>
          <a:solidFill>
            <a:srgbClr val="F46F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a:ln>
                <a:noFill/>
              </a:ln>
              <a:solidFill>
                <a:srgbClr val="3F3F3F"/>
              </a:solidFill>
              <a:effectLst/>
              <a:uLnTx/>
              <a:uFillTx/>
              <a:latin typeface="Vinci Sans Light"/>
              <a:ea typeface="+mn-ea"/>
              <a:cs typeface="+mn-cs"/>
            </a:endParaRPr>
          </a:p>
        </p:txBody>
      </p:sp>
      <p:sp>
        <p:nvSpPr>
          <p:cNvPr id="186" name="ZoneTexte 185">
            <a:extLst>
              <a:ext uri="{FF2B5EF4-FFF2-40B4-BE49-F238E27FC236}">
                <a16:creationId xmlns:a16="http://schemas.microsoft.com/office/drawing/2014/main" id="{FD23DD2F-B203-7531-7EB1-585A5BC745DD}"/>
              </a:ext>
            </a:extLst>
          </p:cNvPr>
          <p:cNvSpPr txBox="1"/>
          <p:nvPr/>
        </p:nvSpPr>
        <p:spPr>
          <a:xfrm>
            <a:off x="9845457" y="5629814"/>
            <a:ext cx="1959195" cy="584775"/>
          </a:xfrm>
          <a:prstGeom prst="rect">
            <a:avLst/>
          </a:prstGeom>
          <a:noFill/>
          <a:ln>
            <a:solidFill>
              <a:schemeClr val="tx1"/>
            </a:solidFill>
          </a:ln>
        </p:spPr>
        <p:txBody>
          <a:bodyPr wrap="square" rtlCol="0">
            <a:spAutoFit/>
          </a:bodyPr>
          <a:lstStyle/>
          <a:p>
            <a:r>
              <a:rPr lang="fr-FR" sz="1600"/>
              <a:t>Data Office</a:t>
            </a:r>
          </a:p>
          <a:p>
            <a:r>
              <a:rPr lang="fr-FR" sz="1600"/>
              <a:t>Data </a:t>
            </a:r>
            <a:r>
              <a:rPr lang="fr-FR" sz="1600" err="1"/>
              <a:t>Producers</a:t>
            </a:r>
            <a:endParaRPr lang="fr-FR" sz="1600"/>
          </a:p>
        </p:txBody>
      </p:sp>
    </p:spTree>
    <p:extLst>
      <p:ext uri="{BB962C8B-B14F-4D97-AF65-F5344CB8AC3E}">
        <p14:creationId xmlns:p14="http://schemas.microsoft.com/office/powerpoint/2010/main" val="2294161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576E01A-75AF-AECE-FE11-51D9066F11B6}"/>
              </a:ext>
            </a:extLst>
          </p:cNvPr>
          <p:cNvSpPr>
            <a:spLocks noGrp="1"/>
          </p:cNvSpPr>
          <p:nvPr>
            <p:ph type="title"/>
          </p:nvPr>
        </p:nvSpPr>
        <p:spPr/>
        <p:txBody>
          <a:bodyPr/>
          <a:lstStyle/>
          <a:p>
            <a:r>
              <a:rPr lang="en-US"/>
              <a:t>Example : Procurement diagnosis Use Case</a:t>
            </a:r>
          </a:p>
        </p:txBody>
      </p:sp>
      <p:sp>
        <p:nvSpPr>
          <p:cNvPr id="6" name="Title 2">
            <a:extLst>
              <a:ext uri="{FF2B5EF4-FFF2-40B4-BE49-F238E27FC236}">
                <a16:creationId xmlns:a16="http://schemas.microsoft.com/office/drawing/2014/main" id="{3A6FC3C5-0588-AC42-A3A1-76C5B7E0EC1D}"/>
              </a:ext>
            </a:extLst>
          </p:cNvPr>
          <p:cNvSpPr txBox="1">
            <a:spLocks/>
          </p:cNvSpPr>
          <p:nvPr/>
        </p:nvSpPr>
        <p:spPr bwMode="auto">
          <a:xfrm>
            <a:off x="603973" y="1274623"/>
            <a:ext cx="2793980" cy="348163"/>
          </a:xfrm>
          <a:prstGeom prst="rect">
            <a:avLst/>
          </a:prstGeom>
          <a:solidFill>
            <a:srgbClr val="6AB4FF"/>
          </a:solidFill>
          <a:ln>
            <a:noFill/>
          </a:ln>
          <a:effectLst/>
          <a:extLst>
            <a:ext uri="{FAA26D3D-D897-4be2-8F04-BA451C77F1D7}">
              <ma14:placeholderFlag xmlns="" xmlns:ma14="http://schemas.microsoft.com/office/mac/drawingml/2011/main" val="1"/>
            </a:ext>
          </a:extLst>
        </p:spPr>
        <p:txBody>
          <a:bodyPr vert="horz" wrap="square" lIns="0" tIns="45720" rIns="91440" bIns="45720" numCol="1" anchor="ctr" anchorCtr="0" compatLnSpc="1">
            <a:prstTxWarp prst="textNoShape">
              <a:avLst/>
            </a:prstTxWarp>
          </a:bodyPr>
          <a:lstStyle>
            <a:defPPr>
              <a:defRPr lang="fr-FR"/>
            </a:defPPr>
            <a:lvl1pPr algn="ctr" eaLnBrk="0" fontAlgn="base" hangingPunct="0">
              <a:lnSpc>
                <a:spcPct val="90000"/>
              </a:lnSpc>
              <a:spcBef>
                <a:spcPct val="0"/>
              </a:spcBef>
              <a:spcAft>
                <a:spcPct val="0"/>
              </a:spcAft>
              <a:defRPr sz="2000" b="1" kern="0">
                <a:solidFill>
                  <a:schemeClr val="tx2"/>
                </a:solidFill>
                <a:latin typeface="Arial" panose="020B0604020202020204" pitchFamily="34" charset="0"/>
                <a:ea typeface="+mj-ea"/>
                <a:cs typeface="Arial" panose="020B0604020202020204" pitchFamily="34" charset="0"/>
              </a:defRPr>
            </a:lvl1pPr>
            <a:lvl2pPr eaLnBrk="0" fontAlgn="base" hangingPunct="0">
              <a:lnSpc>
                <a:spcPct val="90000"/>
              </a:lnSpc>
              <a:spcBef>
                <a:spcPct val="0"/>
              </a:spcBef>
              <a:spcAft>
                <a:spcPct val="0"/>
              </a:spcAft>
              <a:defRPr sz="2200">
                <a:solidFill>
                  <a:schemeClr val="tx2"/>
                </a:solidFill>
                <a:latin typeface="Arial" pitchFamily="34" charset="0"/>
              </a:defRPr>
            </a:lvl2pPr>
            <a:lvl3pPr eaLnBrk="0" fontAlgn="base" hangingPunct="0">
              <a:lnSpc>
                <a:spcPct val="90000"/>
              </a:lnSpc>
              <a:spcBef>
                <a:spcPct val="0"/>
              </a:spcBef>
              <a:spcAft>
                <a:spcPct val="0"/>
              </a:spcAft>
              <a:defRPr sz="2200">
                <a:solidFill>
                  <a:schemeClr val="tx2"/>
                </a:solidFill>
                <a:latin typeface="Arial" pitchFamily="34" charset="0"/>
              </a:defRPr>
            </a:lvl3pPr>
            <a:lvl4pPr eaLnBrk="0" fontAlgn="base" hangingPunct="0">
              <a:lnSpc>
                <a:spcPct val="90000"/>
              </a:lnSpc>
              <a:spcBef>
                <a:spcPct val="0"/>
              </a:spcBef>
              <a:spcAft>
                <a:spcPct val="0"/>
              </a:spcAft>
              <a:defRPr sz="2200">
                <a:solidFill>
                  <a:schemeClr val="tx2"/>
                </a:solidFill>
                <a:latin typeface="Arial" pitchFamily="34" charset="0"/>
              </a:defRPr>
            </a:lvl4pPr>
            <a:lvl5pPr eaLnBrk="0" fontAlgn="base" hangingPunct="0">
              <a:lnSpc>
                <a:spcPct val="90000"/>
              </a:lnSpc>
              <a:spcBef>
                <a:spcPct val="0"/>
              </a:spcBef>
              <a:spcAft>
                <a:spcPct val="0"/>
              </a:spcAft>
              <a:defRPr sz="2200">
                <a:solidFill>
                  <a:schemeClr val="tx2"/>
                </a:solidFill>
                <a:latin typeface="Arial" pitchFamily="34" charset="0"/>
              </a:defRPr>
            </a:lvl5pPr>
            <a:lvl6pPr marL="457200" fontAlgn="base">
              <a:lnSpc>
                <a:spcPct val="90000"/>
              </a:lnSpc>
              <a:spcBef>
                <a:spcPct val="0"/>
              </a:spcBef>
              <a:spcAft>
                <a:spcPct val="0"/>
              </a:spcAft>
              <a:defRPr sz="2200">
                <a:latin typeface="Arial" pitchFamily="34" charset="0"/>
              </a:defRPr>
            </a:lvl6pPr>
            <a:lvl7pPr marL="914400" fontAlgn="base">
              <a:lnSpc>
                <a:spcPct val="90000"/>
              </a:lnSpc>
              <a:spcBef>
                <a:spcPct val="0"/>
              </a:spcBef>
              <a:spcAft>
                <a:spcPct val="0"/>
              </a:spcAft>
              <a:defRPr sz="2200">
                <a:latin typeface="Arial" pitchFamily="34" charset="0"/>
              </a:defRPr>
            </a:lvl7pPr>
            <a:lvl8pPr marL="1371600" fontAlgn="base">
              <a:lnSpc>
                <a:spcPct val="90000"/>
              </a:lnSpc>
              <a:spcBef>
                <a:spcPct val="0"/>
              </a:spcBef>
              <a:spcAft>
                <a:spcPct val="0"/>
              </a:spcAft>
              <a:defRPr sz="2200">
                <a:latin typeface="Arial" pitchFamily="34" charset="0"/>
              </a:defRPr>
            </a:lvl8pPr>
            <a:lvl9pPr marL="1828800" fontAlgn="base">
              <a:lnSpc>
                <a:spcPct val="90000"/>
              </a:lnSpc>
              <a:spcBef>
                <a:spcPct val="0"/>
              </a:spcBef>
              <a:spcAft>
                <a:spcPct val="0"/>
              </a:spcAft>
              <a:defRPr sz="2200">
                <a:latin typeface="Arial" pitchFamily="34" charset="0"/>
              </a:defRPr>
            </a:lvl9pPr>
          </a:lstStyle>
          <a:p>
            <a:pPr defTabSz="914377">
              <a:defRPr/>
            </a:pPr>
            <a:r>
              <a:rPr lang="en-US" sz="1200">
                <a:solidFill>
                  <a:srgbClr val="004489"/>
                </a:solidFill>
              </a:rPr>
              <a:t>Business</a:t>
            </a:r>
          </a:p>
        </p:txBody>
      </p:sp>
      <p:sp>
        <p:nvSpPr>
          <p:cNvPr id="7" name="Title 2">
            <a:extLst>
              <a:ext uri="{FF2B5EF4-FFF2-40B4-BE49-F238E27FC236}">
                <a16:creationId xmlns:a16="http://schemas.microsoft.com/office/drawing/2014/main" id="{24AE7A80-8867-F84F-375D-04A4B3D89DFA}"/>
              </a:ext>
            </a:extLst>
          </p:cNvPr>
          <p:cNvSpPr txBox="1">
            <a:spLocks/>
          </p:cNvSpPr>
          <p:nvPr/>
        </p:nvSpPr>
        <p:spPr bwMode="auto">
          <a:xfrm>
            <a:off x="3544791" y="1274623"/>
            <a:ext cx="8489165" cy="348163"/>
          </a:xfrm>
          <a:prstGeom prst="rect">
            <a:avLst/>
          </a:prstGeom>
          <a:solidFill>
            <a:srgbClr val="6AB4FF"/>
          </a:solidFill>
          <a:ln>
            <a:noFill/>
          </a:ln>
          <a:effectLst/>
          <a:extLst>
            <a:ext uri="{FAA26D3D-D897-4be2-8F04-BA451C77F1D7}">
              <ma14:placeholderFlag xmlns="" xmlns:ma14="http://schemas.microsoft.com/office/mac/drawingml/2011/main" val="1"/>
            </a:ext>
          </a:extLst>
        </p:spPr>
        <p:txBody>
          <a:bodyPr vert="horz" wrap="square" lIns="0" tIns="45720" rIns="91440" bIns="45720" numCol="1" anchor="ctr" anchorCtr="0" compatLnSpc="1">
            <a:prstTxWarp prst="textNoShape">
              <a:avLst/>
            </a:prstTxWarp>
          </a:bodyPr>
          <a:lstStyle>
            <a:lvl1pPr algn="l" rtl="0" eaLnBrk="0" fontAlgn="base" hangingPunct="0">
              <a:lnSpc>
                <a:spcPct val="90000"/>
              </a:lnSpc>
              <a:spcBef>
                <a:spcPct val="0"/>
              </a:spcBef>
              <a:spcAft>
                <a:spcPct val="0"/>
              </a:spcAft>
              <a:defRPr sz="2200">
                <a:solidFill>
                  <a:schemeClr val="tx2"/>
                </a:solidFill>
                <a:latin typeface="+mj-lt"/>
                <a:ea typeface="+mj-ea"/>
                <a:cs typeface="+mj-cs"/>
              </a:defRPr>
            </a:lvl1pPr>
            <a:lvl2pPr algn="l" rtl="0" eaLnBrk="0" fontAlgn="base" hangingPunct="0">
              <a:lnSpc>
                <a:spcPct val="90000"/>
              </a:lnSpc>
              <a:spcBef>
                <a:spcPct val="0"/>
              </a:spcBef>
              <a:spcAft>
                <a:spcPct val="0"/>
              </a:spcAft>
              <a:defRPr sz="2200">
                <a:solidFill>
                  <a:schemeClr val="tx2"/>
                </a:solidFill>
                <a:latin typeface="Arial" pitchFamily="34" charset="0"/>
              </a:defRPr>
            </a:lvl2pPr>
            <a:lvl3pPr algn="l" rtl="0" eaLnBrk="0" fontAlgn="base" hangingPunct="0">
              <a:lnSpc>
                <a:spcPct val="90000"/>
              </a:lnSpc>
              <a:spcBef>
                <a:spcPct val="0"/>
              </a:spcBef>
              <a:spcAft>
                <a:spcPct val="0"/>
              </a:spcAft>
              <a:defRPr sz="2200">
                <a:solidFill>
                  <a:schemeClr val="tx2"/>
                </a:solidFill>
                <a:latin typeface="Arial" pitchFamily="34" charset="0"/>
              </a:defRPr>
            </a:lvl3pPr>
            <a:lvl4pPr algn="l" rtl="0" eaLnBrk="0" fontAlgn="base" hangingPunct="0">
              <a:lnSpc>
                <a:spcPct val="90000"/>
              </a:lnSpc>
              <a:spcBef>
                <a:spcPct val="0"/>
              </a:spcBef>
              <a:spcAft>
                <a:spcPct val="0"/>
              </a:spcAft>
              <a:defRPr sz="2200">
                <a:solidFill>
                  <a:schemeClr val="tx2"/>
                </a:solidFill>
                <a:latin typeface="Arial" pitchFamily="34" charset="0"/>
              </a:defRPr>
            </a:lvl4pPr>
            <a:lvl5pPr algn="l" rtl="0" eaLnBrk="0" fontAlgn="base" hangingPunct="0">
              <a:lnSpc>
                <a:spcPct val="90000"/>
              </a:lnSpc>
              <a:spcBef>
                <a:spcPct val="0"/>
              </a:spcBef>
              <a:spcAft>
                <a:spcPct val="0"/>
              </a:spcAft>
              <a:defRPr sz="2200">
                <a:solidFill>
                  <a:schemeClr val="tx2"/>
                </a:solidFill>
                <a:latin typeface="Arial" pitchFamily="34" charset="0"/>
              </a:defRPr>
            </a:lvl5pPr>
            <a:lvl6pPr marL="457200" algn="l" rtl="0" fontAlgn="base">
              <a:lnSpc>
                <a:spcPct val="90000"/>
              </a:lnSpc>
              <a:spcBef>
                <a:spcPct val="0"/>
              </a:spcBef>
              <a:spcAft>
                <a:spcPct val="0"/>
              </a:spcAft>
              <a:defRPr sz="2200">
                <a:solidFill>
                  <a:schemeClr val="tx1"/>
                </a:solidFill>
                <a:latin typeface="Arial" pitchFamily="34" charset="0"/>
              </a:defRPr>
            </a:lvl6pPr>
            <a:lvl7pPr marL="914400" algn="l" rtl="0" fontAlgn="base">
              <a:lnSpc>
                <a:spcPct val="90000"/>
              </a:lnSpc>
              <a:spcBef>
                <a:spcPct val="0"/>
              </a:spcBef>
              <a:spcAft>
                <a:spcPct val="0"/>
              </a:spcAft>
              <a:defRPr sz="2200">
                <a:solidFill>
                  <a:schemeClr val="tx1"/>
                </a:solidFill>
                <a:latin typeface="Arial" pitchFamily="34" charset="0"/>
              </a:defRPr>
            </a:lvl7pPr>
            <a:lvl8pPr marL="1371600" algn="l" rtl="0" fontAlgn="base">
              <a:lnSpc>
                <a:spcPct val="90000"/>
              </a:lnSpc>
              <a:spcBef>
                <a:spcPct val="0"/>
              </a:spcBef>
              <a:spcAft>
                <a:spcPct val="0"/>
              </a:spcAft>
              <a:defRPr sz="2200">
                <a:solidFill>
                  <a:schemeClr val="tx1"/>
                </a:solidFill>
                <a:latin typeface="Arial" pitchFamily="34" charset="0"/>
              </a:defRPr>
            </a:lvl8pPr>
            <a:lvl9pPr marL="1828800" algn="l" rtl="0" fontAlgn="base">
              <a:lnSpc>
                <a:spcPct val="90000"/>
              </a:lnSpc>
              <a:spcBef>
                <a:spcPct val="0"/>
              </a:spcBef>
              <a:spcAft>
                <a:spcPct val="0"/>
              </a:spcAft>
              <a:defRPr sz="2200">
                <a:solidFill>
                  <a:schemeClr val="tx1"/>
                </a:solidFill>
                <a:latin typeface="Arial" pitchFamily="34" charset="0"/>
              </a:defRPr>
            </a:lvl9pPr>
          </a:lstStyle>
          <a:p>
            <a:pPr algn="ctr"/>
            <a:r>
              <a:rPr lang="en-US" sz="1200" b="1" kern="0">
                <a:solidFill>
                  <a:srgbClr val="004489"/>
                </a:solidFill>
                <a:latin typeface="Arial" panose="020B0604020202020204" pitchFamily="34" charset="0"/>
                <a:cs typeface="Arial" panose="020B0604020202020204" pitchFamily="34" charset="0"/>
              </a:rPr>
              <a:t>IT</a:t>
            </a:r>
          </a:p>
        </p:txBody>
      </p:sp>
      <p:sp>
        <p:nvSpPr>
          <p:cNvPr id="13" name="Rectangle 12">
            <a:extLst>
              <a:ext uri="{FF2B5EF4-FFF2-40B4-BE49-F238E27FC236}">
                <a16:creationId xmlns:a16="http://schemas.microsoft.com/office/drawing/2014/main" id="{FDB0B4DF-EE00-9B2D-9A2C-DFC99CB45BD9}"/>
              </a:ext>
            </a:extLst>
          </p:cNvPr>
          <p:cNvSpPr/>
          <p:nvPr/>
        </p:nvSpPr>
        <p:spPr bwMode="auto">
          <a:xfrm>
            <a:off x="603972" y="3149107"/>
            <a:ext cx="8485016" cy="1397551"/>
          </a:xfrm>
          <a:prstGeom prst="rect">
            <a:avLst/>
          </a:prstGeom>
          <a:noFill/>
          <a:ln>
            <a:solidFill>
              <a:srgbClr val="004489"/>
            </a:solidFill>
          </a:ln>
          <a:effectLst/>
        </p:spPr>
        <p:txBody>
          <a:bodyPr vert="horz" wrap="square" lIns="91440" tIns="45720" rIns="91440" bIns="45720" numCol="1" rtlCol="0" anchor="t" anchorCtr="0" compatLnSpc="1">
            <a:prstTxWarp prst="textNoShape">
              <a:avLst/>
            </a:prstTxWarp>
          </a:bodyPr>
          <a:lstStyle/>
          <a:p>
            <a:pPr algn="ctr" fontAlgn="base">
              <a:lnSpc>
                <a:spcPct val="90000"/>
              </a:lnSpc>
              <a:spcBef>
                <a:spcPct val="0"/>
              </a:spcBef>
              <a:spcAft>
                <a:spcPct val="0"/>
              </a:spcAft>
              <a:defRPr/>
            </a:pPr>
            <a:r>
              <a:rPr lang="en-US" sz="1200" b="1" kern="0">
                <a:solidFill>
                  <a:srgbClr val="004489"/>
                </a:solidFill>
                <a:latin typeface="Arial" pitchFamily="34" charset="0"/>
              </a:rPr>
              <a:t>Core team</a:t>
            </a:r>
          </a:p>
        </p:txBody>
      </p:sp>
      <p:graphicFrame>
        <p:nvGraphicFramePr>
          <p:cNvPr id="16" name="Tableau 15">
            <a:extLst>
              <a:ext uri="{FF2B5EF4-FFF2-40B4-BE49-F238E27FC236}">
                <a16:creationId xmlns:a16="http://schemas.microsoft.com/office/drawing/2014/main" id="{89DA1D1F-AA0D-F651-88A6-91AB380DF5C8}"/>
              </a:ext>
            </a:extLst>
          </p:cNvPr>
          <p:cNvGraphicFramePr>
            <a:graphicFrameLocks noGrp="1"/>
          </p:cNvGraphicFramePr>
          <p:nvPr/>
        </p:nvGraphicFramePr>
        <p:xfrm>
          <a:off x="767893" y="3474791"/>
          <a:ext cx="2549968" cy="437760"/>
        </p:xfrm>
        <a:graphic>
          <a:graphicData uri="http://schemas.openxmlformats.org/drawingml/2006/table">
            <a:tbl>
              <a:tblPr firstRow="1" bandRow="1"/>
              <a:tblGrid>
                <a:gridCol w="946712">
                  <a:extLst>
                    <a:ext uri="{9D8B030D-6E8A-4147-A177-3AD203B41FA5}">
                      <a16:colId xmlns:a16="http://schemas.microsoft.com/office/drawing/2014/main" val="3996293728"/>
                    </a:ext>
                  </a:extLst>
                </a:gridCol>
                <a:gridCol w="1603256">
                  <a:extLst>
                    <a:ext uri="{9D8B030D-6E8A-4147-A177-3AD203B41FA5}">
                      <a16:colId xmlns:a16="http://schemas.microsoft.com/office/drawing/2014/main" val="2483845328"/>
                    </a:ext>
                  </a:extLst>
                </a:gridCol>
              </a:tblGrid>
              <a:tr h="437760">
                <a:tc>
                  <a:txBody>
                    <a:bodyPr/>
                    <a:lstStyle>
                      <a:lvl1pPr marL="0" algn="l" defTabSz="609585" rtl="0" eaLnBrk="1" latinLnBrk="0" hangingPunct="1">
                        <a:defRPr sz="2400" b="1" kern="1200">
                          <a:solidFill>
                            <a:schemeClr val="lt1"/>
                          </a:solidFill>
                          <a:latin typeface="Calibri"/>
                        </a:defRPr>
                      </a:lvl1pPr>
                      <a:lvl2pPr marL="609585" algn="l" defTabSz="609585" rtl="0" eaLnBrk="1" latinLnBrk="0" hangingPunct="1">
                        <a:defRPr sz="2400" b="1" kern="1200">
                          <a:solidFill>
                            <a:schemeClr val="lt1"/>
                          </a:solidFill>
                          <a:latin typeface="Calibri"/>
                        </a:defRPr>
                      </a:lvl2pPr>
                      <a:lvl3pPr marL="1219170" algn="l" defTabSz="609585" rtl="0" eaLnBrk="1" latinLnBrk="0" hangingPunct="1">
                        <a:defRPr sz="2400" b="1" kern="1200">
                          <a:solidFill>
                            <a:schemeClr val="lt1"/>
                          </a:solidFill>
                          <a:latin typeface="Calibri"/>
                        </a:defRPr>
                      </a:lvl3pPr>
                      <a:lvl4pPr marL="1828754" algn="l" defTabSz="609585" rtl="0" eaLnBrk="1" latinLnBrk="0" hangingPunct="1">
                        <a:defRPr sz="2400" b="1" kern="1200">
                          <a:solidFill>
                            <a:schemeClr val="lt1"/>
                          </a:solidFill>
                          <a:latin typeface="Calibri"/>
                        </a:defRPr>
                      </a:lvl4pPr>
                      <a:lvl5pPr marL="2438339" algn="l" defTabSz="609585" rtl="0" eaLnBrk="1" latinLnBrk="0" hangingPunct="1">
                        <a:defRPr sz="2400" b="1" kern="1200">
                          <a:solidFill>
                            <a:schemeClr val="lt1"/>
                          </a:solidFill>
                          <a:latin typeface="Calibri"/>
                        </a:defRPr>
                      </a:lvl5pPr>
                      <a:lvl6pPr marL="3047924" algn="l" defTabSz="609585" rtl="0" eaLnBrk="1" latinLnBrk="0" hangingPunct="1">
                        <a:defRPr sz="2400" b="1" kern="1200">
                          <a:solidFill>
                            <a:schemeClr val="lt1"/>
                          </a:solidFill>
                          <a:latin typeface="Calibri"/>
                        </a:defRPr>
                      </a:lvl6pPr>
                      <a:lvl7pPr marL="3657509" algn="l" defTabSz="609585" rtl="0" eaLnBrk="1" latinLnBrk="0" hangingPunct="1">
                        <a:defRPr sz="2400" b="1" kern="1200">
                          <a:solidFill>
                            <a:schemeClr val="lt1"/>
                          </a:solidFill>
                          <a:latin typeface="Calibri"/>
                        </a:defRPr>
                      </a:lvl7pPr>
                      <a:lvl8pPr marL="4267093" algn="l" defTabSz="609585" rtl="0" eaLnBrk="1" latinLnBrk="0" hangingPunct="1">
                        <a:defRPr sz="2400" b="1" kern="1200">
                          <a:solidFill>
                            <a:schemeClr val="lt1"/>
                          </a:solidFill>
                          <a:latin typeface="Calibri"/>
                        </a:defRPr>
                      </a:lvl8pPr>
                      <a:lvl9pPr marL="4876678" algn="l" defTabSz="609585" rtl="0" eaLnBrk="1" latinLnBrk="0" hangingPunct="1">
                        <a:defRPr sz="2400" b="1" kern="1200">
                          <a:solidFill>
                            <a:schemeClr val="lt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noProof="0">
                          <a:solidFill>
                            <a:schemeClr val="tx1"/>
                          </a:solidFill>
                          <a:latin typeface="Arial" pitchFamily="34" charset="0"/>
                        </a:rPr>
                        <a:t>Data </a:t>
                      </a:r>
                      <a:r>
                        <a:rPr lang="en-US" sz="1200" b="0" kern="1200" noProof="0">
                          <a:solidFill>
                            <a:schemeClr val="tx1"/>
                          </a:solidFill>
                          <a:latin typeface="Arial"/>
                          <a:ea typeface="+mn-ea"/>
                          <a:cs typeface="+mn-cs"/>
                        </a:rPr>
                        <a:t>owner</a:t>
                      </a:r>
                    </a:p>
                  </a:txBody>
                  <a:tcPr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7FD7D6"/>
                    </a:solidFill>
                  </a:tcPr>
                </a:tc>
                <a:tc>
                  <a:txBody>
                    <a:bodyPr/>
                    <a:lstStyle>
                      <a:lvl1pPr marL="0" algn="l" defTabSz="609585" rtl="0" eaLnBrk="1" latinLnBrk="0" hangingPunct="1">
                        <a:defRPr sz="2400" b="1" kern="1200">
                          <a:solidFill>
                            <a:schemeClr val="lt1"/>
                          </a:solidFill>
                          <a:latin typeface="Calibri"/>
                        </a:defRPr>
                      </a:lvl1pPr>
                      <a:lvl2pPr marL="609585" algn="l" defTabSz="609585" rtl="0" eaLnBrk="1" latinLnBrk="0" hangingPunct="1">
                        <a:defRPr sz="2400" b="1" kern="1200">
                          <a:solidFill>
                            <a:schemeClr val="lt1"/>
                          </a:solidFill>
                          <a:latin typeface="Calibri"/>
                        </a:defRPr>
                      </a:lvl2pPr>
                      <a:lvl3pPr marL="1219170" algn="l" defTabSz="609585" rtl="0" eaLnBrk="1" latinLnBrk="0" hangingPunct="1">
                        <a:defRPr sz="2400" b="1" kern="1200">
                          <a:solidFill>
                            <a:schemeClr val="lt1"/>
                          </a:solidFill>
                          <a:latin typeface="Calibri"/>
                        </a:defRPr>
                      </a:lvl3pPr>
                      <a:lvl4pPr marL="1828754" algn="l" defTabSz="609585" rtl="0" eaLnBrk="1" latinLnBrk="0" hangingPunct="1">
                        <a:defRPr sz="2400" b="1" kern="1200">
                          <a:solidFill>
                            <a:schemeClr val="lt1"/>
                          </a:solidFill>
                          <a:latin typeface="Calibri"/>
                        </a:defRPr>
                      </a:lvl4pPr>
                      <a:lvl5pPr marL="2438339" algn="l" defTabSz="609585" rtl="0" eaLnBrk="1" latinLnBrk="0" hangingPunct="1">
                        <a:defRPr sz="2400" b="1" kern="1200">
                          <a:solidFill>
                            <a:schemeClr val="lt1"/>
                          </a:solidFill>
                          <a:latin typeface="Calibri"/>
                        </a:defRPr>
                      </a:lvl5pPr>
                      <a:lvl6pPr marL="3047924" algn="l" defTabSz="609585" rtl="0" eaLnBrk="1" latinLnBrk="0" hangingPunct="1">
                        <a:defRPr sz="2400" b="1" kern="1200">
                          <a:solidFill>
                            <a:schemeClr val="lt1"/>
                          </a:solidFill>
                          <a:latin typeface="Calibri"/>
                        </a:defRPr>
                      </a:lvl6pPr>
                      <a:lvl7pPr marL="3657509" algn="l" defTabSz="609585" rtl="0" eaLnBrk="1" latinLnBrk="0" hangingPunct="1">
                        <a:defRPr sz="2400" b="1" kern="1200">
                          <a:solidFill>
                            <a:schemeClr val="lt1"/>
                          </a:solidFill>
                          <a:latin typeface="Calibri"/>
                        </a:defRPr>
                      </a:lvl7pPr>
                      <a:lvl8pPr marL="4267093" algn="l" defTabSz="609585" rtl="0" eaLnBrk="1" latinLnBrk="0" hangingPunct="1">
                        <a:defRPr sz="2400" b="1" kern="1200">
                          <a:solidFill>
                            <a:schemeClr val="lt1"/>
                          </a:solidFill>
                          <a:latin typeface="Calibri"/>
                        </a:defRPr>
                      </a:lvl8pPr>
                      <a:lvl9pPr marL="4876678" algn="l" defTabSz="609585" rtl="0" eaLnBrk="1" latinLnBrk="0" hangingPunct="1">
                        <a:defRPr sz="2400" b="1" kern="1200">
                          <a:solidFill>
                            <a:schemeClr val="lt1"/>
                          </a:solidFill>
                          <a:latin typeface="Calibri"/>
                        </a:defRPr>
                      </a:lvl9pPr>
                    </a:lstStyle>
                    <a:p>
                      <a:pPr fontAlgn="base">
                        <a:lnSpc>
                          <a:spcPct val="90000"/>
                        </a:lnSpc>
                        <a:spcBef>
                          <a:spcPct val="0"/>
                        </a:spcBef>
                        <a:spcAft>
                          <a:spcPct val="0"/>
                        </a:spcAft>
                      </a:pPr>
                      <a:r>
                        <a:rPr lang="fr-FR" sz="1200" b="0">
                          <a:solidFill>
                            <a:schemeClr val="tx1"/>
                          </a:solidFill>
                          <a:latin typeface="Arial"/>
                        </a:rPr>
                        <a:t>Graziella </a:t>
                      </a:r>
                      <a:r>
                        <a:rPr lang="fr-FR" sz="1200" b="0" err="1">
                          <a:solidFill>
                            <a:schemeClr val="tx1"/>
                          </a:solidFill>
                          <a:latin typeface="Arial"/>
                        </a:rPr>
                        <a:t>Alati</a:t>
                      </a:r>
                      <a:endParaRPr lang="fr-FR" sz="1200" b="0">
                        <a:solidFill>
                          <a:schemeClr val="tx1"/>
                        </a:solidFill>
                        <a:latin typeface="Arial"/>
                      </a:endParaRPr>
                    </a:p>
                  </a:txBody>
                  <a:tcPr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1836467"/>
                  </a:ext>
                </a:extLst>
              </a:tr>
            </a:tbl>
          </a:graphicData>
        </a:graphic>
      </p:graphicFrame>
      <p:graphicFrame>
        <p:nvGraphicFramePr>
          <p:cNvPr id="19" name="Tableau 18">
            <a:extLst>
              <a:ext uri="{FF2B5EF4-FFF2-40B4-BE49-F238E27FC236}">
                <a16:creationId xmlns:a16="http://schemas.microsoft.com/office/drawing/2014/main" id="{44E43776-5E3C-8A06-EC53-637AB5DC5EEB}"/>
              </a:ext>
            </a:extLst>
          </p:cNvPr>
          <p:cNvGraphicFramePr>
            <a:graphicFrameLocks noGrp="1"/>
          </p:cNvGraphicFramePr>
          <p:nvPr>
            <p:extLst>
              <p:ext uri="{D42A27DB-BD31-4B8C-83A1-F6EECF244321}">
                <p14:modId xmlns:p14="http://schemas.microsoft.com/office/powerpoint/2010/main" val="620558339"/>
              </p:ext>
            </p:extLst>
          </p:nvPr>
        </p:nvGraphicFramePr>
        <p:xfrm>
          <a:off x="3680120" y="2559023"/>
          <a:ext cx="2549968" cy="437760"/>
        </p:xfrm>
        <a:graphic>
          <a:graphicData uri="http://schemas.openxmlformats.org/drawingml/2006/table">
            <a:tbl>
              <a:tblPr firstRow="1" bandRow="1"/>
              <a:tblGrid>
                <a:gridCol w="1014709">
                  <a:extLst>
                    <a:ext uri="{9D8B030D-6E8A-4147-A177-3AD203B41FA5}">
                      <a16:colId xmlns:a16="http://schemas.microsoft.com/office/drawing/2014/main" val="3996293728"/>
                    </a:ext>
                  </a:extLst>
                </a:gridCol>
                <a:gridCol w="1535259">
                  <a:extLst>
                    <a:ext uri="{9D8B030D-6E8A-4147-A177-3AD203B41FA5}">
                      <a16:colId xmlns:a16="http://schemas.microsoft.com/office/drawing/2014/main" val="2483845328"/>
                    </a:ext>
                  </a:extLst>
                </a:gridCol>
              </a:tblGrid>
              <a:tr h="437760">
                <a:tc>
                  <a:txBody>
                    <a:bodyPr/>
                    <a:lstStyle>
                      <a:lvl1pPr marL="0" algn="l" defTabSz="609585" rtl="0" eaLnBrk="1" latinLnBrk="0" hangingPunct="1">
                        <a:defRPr sz="2400" b="1" kern="1200">
                          <a:solidFill>
                            <a:schemeClr val="lt1"/>
                          </a:solidFill>
                          <a:latin typeface="Calibri"/>
                        </a:defRPr>
                      </a:lvl1pPr>
                      <a:lvl2pPr marL="609585" algn="l" defTabSz="609585" rtl="0" eaLnBrk="1" latinLnBrk="0" hangingPunct="1">
                        <a:defRPr sz="2400" b="1" kern="1200">
                          <a:solidFill>
                            <a:schemeClr val="lt1"/>
                          </a:solidFill>
                          <a:latin typeface="Calibri"/>
                        </a:defRPr>
                      </a:lvl2pPr>
                      <a:lvl3pPr marL="1219170" algn="l" defTabSz="609585" rtl="0" eaLnBrk="1" latinLnBrk="0" hangingPunct="1">
                        <a:defRPr sz="2400" b="1" kern="1200">
                          <a:solidFill>
                            <a:schemeClr val="lt1"/>
                          </a:solidFill>
                          <a:latin typeface="Calibri"/>
                        </a:defRPr>
                      </a:lvl3pPr>
                      <a:lvl4pPr marL="1828754" algn="l" defTabSz="609585" rtl="0" eaLnBrk="1" latinLnBrk="0" hangingPunct="1">
                        <a:defRPr sz="2400" b="1" kern="1200">
                          <a:solidFill>
                            <a:schemeClr val="lt1"/>
                          </a:solidFill>
                          <a:latin typeface="Calibri"/>
                        </a:defRPr>
                      </a:lvl4pPr>
                      <a:lvl5pPr marL="2438339" algn="l" defTabSz="609585" rtl="0" eaLnBrk="1" latinLnBrk="0" hangingPunct="1">
                        <a:defRPr sz="2400" b="1" kern="1200">
                          <a:solidFill>
                            <a:schemeClr val="lt1"/>
                          </a:solidFill>
                          <a:latin typeface="Calibri"/>
                        </a:defRPr>
                      </a:lvl5pPr>
                      <a:lvl6pPr marL="3047924" algn="l" defTabSz="609585" rtl="0" eaLnBrk="1" latinLnBrk="0" hangingPunct="1">
                        <a:defRPr sz="2400" b="1" kern="1200">
                          <a:solidFill>
                            <a:schemeClr val="lt1"/>
                          </a:solidFill>
                          <a:latin typeface="Calibri"/>
                        </a:defRPr>
                      </a:lvl6pPr>
                      <a:lvl7pPr marL="3657509" algn="l" defTabSz="609585" rtl="0" eaLnBrk="1" latinLnBrk="0" hangingPunct="1">
                        <a:defRPr sz="2400" b="1" kern="1200">
                          <a:solidFill>
                            <a:schemeClr val="lt1"/>
                          </a:solidFill>
                          <a:latin typeface="Calibri"/>
                        </a:defRPr>
                      </a:lvl7pPr>
                      <a:lvl8pPr marL="4267093" algn="l" defTabSz="609585" rtl="0" eaLnBrk="1" latinLnBrk="0" hangingPunct="1">
                        <a:defRPr sz="2400" b="1" kern="1200">
                          <a:solidFill>
                            <a:schemeClr val="lt1"/>
                          </a:solidFill>
                          <a:latin typeface="Calibri"/>
                        </a:defRPr>
                      </a:lvl8pPr>
                      <a:lvl9pPr marL="4876678" algn="l" defTabSz="609585" rtl="0" eaLnBrk="1" latinLnBrk="0" hangingPunct="1">
                        <a:defRPr sz="2400" b="1" kern="1200">
                          <a:solidFill>
                            <a:schemeClr val="lt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noProof="0">
                          <a:solidFill>
                            <a:schemeClr val="tx1"/>
                          </a:solidFill>
                          <a:latin typeface="Arial" pitchFamily="34" charset="0"/>
                        </a:rPr>
                        <a:t>IT Lead</a:t>
                      </a:r>
                    </a:p>
                  </a:txBody>
                  <a:tcPr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lvl1pPr marL="0" algn="l" defTabSz="609585" rtl="0" eaLnBrk="1" latinLnBrk="0" hangingPunct="1">
                        <a:defRPr sz="2400" b="1" kern="1200">
                          <a:solidFill>
                            <a:schemeClr val="lt1"/>
                          </a:solidFill>
                          <a:latin typeface="Calibri"/>
                        </a:defRPr>
                      </a:lvl1pPr>
                      <a:lvl2pPr marL="609585" algn="l" defTabSz="609585" rtl="0" eaLnBrk="1" latinLnBrk="0" hangingPunct="1">
                        <a:defRPr sz="2400" b="1" kern="1200">
                          <a:solidFill>
                            <a:schemeClr val="lt1"/>
                          </a:solidFill>
                          <a:latin typeface="Calibri"/>
                        </a:defRPr>
                      </a:lvl2pPr>
                      <a:lvl3pPr marL="1219170" algn="l" defTabSz="609585" rtl="0" eaLnBrk="1" latinLnBrk="0" hangingPunct="1">
                        <a:defRPr sz="2400" b="1" kern="1200">
                          <a:solidFill>
                            <a:schemeClr val="lt1"/>
                          </a:solidFill>
                          <a:latin typeface="Calibri"/>
                        </a:defRPr>
                      </a:lvl3pPr>
                      <a:lvl4pPr marL="1828754" algn="l" defTabSz="609585" rtl="0" eaLnBrk="1" latinLnBrk="0" hangingPunct="1">
                        <a:defRPr sz="2400" b="1" kern="1200">
                          <a:solidFill>
                            <a:schemeClr val="lt1"/>
                          </a:solidFill>
                          <a:latin typeface="Calibri"/>
                        </a:defRPr>
                      </a:lvl4pPr>
                      <a:lvl5pPr marL="2438339" algn="l" defTabSz="609585" rtl="0" eaLnBrk="1" latinLnBrk="0" hangingPunct="1">
                        <a:defRPr sz="2400" b="1" kern="1200">
                          <a:solidFill>
                            <a:schemeClr val="lt1"/>
                          </a:solidFill>
                          <a:latin typeface="Calibri"/>
                        </a:defRPr>
                      </a:lvl5pPr>
                      <a:lvl6pPr marL="3047924" algn="l" defTabSz="609585" rtl="0" eaLnBrk="1" latinLnBrk="0" hangingPunct="1">
                        <a:defRPr sz="2400" b="1" kern="1200">
                          <a:solidFill>
                            <a:schemeClr val="lt1"/>
                          </a:solidFill>
                          <a:latin typeface="Calibri"/>
                        </a:defRPr>
                      </a:lvl6pPr>
                      <a:lvl7pPr marL="3657509" algn="l" defTabSz="609585" rtl="0" eaLnBrk="1" latinLnBrk="0" hangingPunct="1">
                        <a:defRPr sz="2400" b="1" kern="1200">
                          <a:solidFill>
                            <a:schemeClr val="lt1"/>
                          </a:solidFill>
                          <a:latin typeface="Calibri"/>
                        </a:defRPr>
                      </a:lvl7pPr>
                      <a:lvl8pPr marL="4267093" algn="l" defTabSz="609585" rtl="0" eaLnBrk="1" latinLnBrk="0" hangingPunct="1">
                        <a:defRPr sz="2400" b="1" kern="1200">
                          <a:solidFill>
                            <a:schemeClr val="lt1"/>
                          </a:solidFill>
                          <a:latin typeface="Calibri"/>
                        </a:defRPr>
                      </a:lvl8pPr>
                      <a:lvl9pPr marL="4876678" algn="l" defTabSz="609585" rtl="0" eaLnBrk="1" latinLnBrk="0" hangingPunct="1">
                        <a:defRPr sz="2400" b="1" kern="1200">
                          <a:solidFill>
                            <a:schemeClr val="lt1"/>
                          </a:solidFill>
                          <a:latin typeface="Calibri"/>
                        </a:defRPr>
                      </a:lvl9pPr>
                    </a:lstStyle>
                    <a:p>
                      <a:pPr lvl="0">
                        <a:lnSpc>
                          <a:spcPct val="90000"/>
                        </a:lnSpc>
                        <a:spcBef>
                          <a:spcPct val="0"/>
                        </a:spcBef>
                        <a:spcAft>
                          <a:spcPct val="0"/>
                        </a:spcAft>
                        <a:buNone/>
                      </a:pPr>
                      <a:r>
                        <a:rPr lang="fr-FR" sz="1200" b="0">
                          <a:solidFill>
                            <a:schemeClr val="tx1"/>
                          </a:solidFill>
                          <a:latin typeface="Arial"/>
                        </a:rPr>
                        <a:t>Emmanuel Peigne</a:t>
                      </a:r>
                      <a:endParaRPr lang="fr-FR" sz="1200" b="0">
                        <a:solidFill>
                          <a:schemeClr val="tx1"/>
                        </a:solidFill>
                        <a:latin typeface="Arial" pitchFamily="34" charset="0"/>
                      </a:endParaRPr>
                    </a:p>
                  </a:txBody>
                  <a:tcPr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1836467"/>
                  </a:ext>
                </a:extLst>
              </a:tr>
            </a:tbl>
          </a:graphicData>
        </a:graphic>
      </p:graphicFrame>
      <p:graphicFrame>
        <p:nvGraphicFramePr>
          <p:cNvPr id="22" name="Tableau 21">
            <a:extLst>
              <a:ext uri="{FF2B5EF4-FFF2-40B4-BE49-F238E27FC236}">
                <a16:creationId xmlns:a16="http://schemas.microsoft.com/office/drawing/2014/main" id="{0CA093F9-6008-6079-BF70-F460C088ECF7}"/>
              </a:ext>
            </a:extLst>
          </p:cNvPr>
          <p:cNvGraphicFramePr>
            <a:graphicFrameLocks noGrp="1"/>
          </p:cNvGraphicFramePr>
          <p:nvPr/>
        </p:nvGraphicFramePr>
        <p:xfrm>
          <a:off x="767893" y="4634460"/>
          <a:ext cx="2549968" cy="437760"/>
        </p:xfrm>
        <a:graphic>
          <a:graphicData uri="http://schemas.openxmlformats.org/drawingml/2006/table">
            <a:tbl>
              <a:tblPr firstRow="1" bandRow="1"/>
              <a:tblGrid>
                <a:gridCol w="946712">
                  <a:extLst>
                    <a:ext uri="{9D8B030D-6E8A-4147-A177-3AD203B41FA5}">
                      <a16:colId xmlns:a16="http://schemas.microsoft.com/office/drawing/2014/main" val="3996293728"/>
                    </a:ext>
                  </a:extLst>
                </a:gridCol>
                <a:gridCol w="1603256">
                  <a:extLst>
                    <a:ext uri="{9D8B030D-6E8A-4147-A177-3AD203B41FA5}">
                      <a16:colId xmlns:a16="http://schemas.microsoft.com/office/drawing/2014/main" val="2483845328"/>
                    </a:ext>
                  </a:extLst>
                </a:gridCol>
              </a:tblGrid>
              <a:tr h="437760">
                <a:tc>
                  <a:txBody>
                    <a:bodyPr/>
                    <a:lstStyle>
                      <a:lvl1pPr marL="0" algn="l" defTabSz="609585" rtl="0" eaLnBrk="1" latinLnBrk="0" hangingPunct="1">
                        <a:defRPr sz="2400" b="1" kern="1200">
                          <a:solidFill>
                            <a:schemeClr val="lt1"/>
                          </a:solidFill>
                          <a:latin typeface="Calibri"/>
                        </a:defRPr>
                      </a:lvl1pPr>
                      <a:lvl2pPr marL="609585" algn="l" defTabSz="609585" rtl="0" eaLnBrk="1" latinLnBrk="0" hangingPunct="1">
                        <a:defRPr sz="2400" b="1" kern="1200">
                          <a:solidFill>
                            <a:schemeClr val="lt1"/>
                          </a:solidFill>
                          <a:latin typeface="Calibri"/>
                        </a:defRPr>
                      </a:lvl2pPr>
                      <a:lvl3pPr marL="1219170" algn="l" defTabSz="609585" rtl="0" eaLnBrk="1" latinLnBrk="0" hangingPunct="1">
                        <a:defRPr sz="2400" b="1" kern="1200">
                          <a:solidFill>
                            <a:schemeClr val="lt1"/>
                          </a:solidFill>
                          <a:latin typeface="Calibri"/>
                        </a:defRPr>
                      </a:lvl3pPr>
                      <a:lvl4pPr marL="1828754" algn="l" defTabSz="609585" rtl="0" eaLnBrk="1" latinLnBrk="0" hangingPunct="1">
                        <a:defRPr sz="2400" b="1" kern="1200">
                          <a:solidFill>
                            <a:schemeClr val="lt1"/>
                          </a:solidFill>
                          <a:latin typeface="Calibri"/>
                        </a:defRPr>
                      </a:lvl4pPr>
                      <a:lvl5pPr marL="2438339" algn="l" defTabSz="609585" rtl="0" eaLnBrk="1" latinLnBrk="0" hangingPunct="1">
                        <a:defRPr sz="2400" b="1" kern="1200">
                          <a:solidFill>
                            <a:schemeClr val="lt1"/>
                          </a:solidFill>
                          <a:latin typeface="Calibri"/>
                        </a:defRPr>
                      </a:lvl5pPr>
                      <a:lvl6pPr marL="3047924" algn="l" defTabSz="609585" rtl="0" eaLnBrk="1" latinLnBrk="0" hangingPunct="1">
                        <a:defRPr sz="2400" b="1" kern="1200">
                          <a:solidFill>
                            <a:schemeClr val="lt1"/>
                          </a:solidFill>
                          <a:latin typeface="Calibri"/>
                        </a:defRPr>
                      </a:lvl6pPr>
                      <a:lvl7pPr marL="3657509" algn="l" defTabSz="609585" rtl="0" eaLnBrk="1" latinLnBrk="0" hangingPunct="1">
                        <a:defRPr sz="2400" b="1" kern="1200">
                          <a:solidFill>
                            <a:schemeClr val="lt1"/>
                          </a:solidFill>
                          <a:latin typeface="Calibri"/>
                        </a:defRPr>
                      </a:lvl7pPr>
                      <a:lvl8pPr marL="4267093" algn="l" defTabSz="609585" rtl="0" eaLnBrk="1" latinLnBrk="0" hangingPunct="1">
                        <a:defRPr sz="2400" b="1" kern="1200">
                          <a:solidFill>
                            <a:schemeClr val="lt1"/>
                          </a:solidFill>
                          <a:latin typeface="Calibri"/>
                        </a:defRPr>
                      </a:lvl8pPr>
                      <a:lvl9pPr marL="4876678" algn="l" defTabSz="609585" rtl="0" eaLnBrk="1" latinLnBrk="0" hangingPunct="1">
                        <a:defRPr sz="2400" b="1" kern="1200">
                          <a:solidFill>
                            <a:schemeClr val="lt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noProof="0">
                          <a:solidFill>
                            <a:schemeClr val="tx1"/>
                          </a:solidFill>
                          <a:latin typeface="Arial" pitchFamily="34" charset="0"/>
                        </a:rPr>
                        <a:t>Data consumer</a:t>
                      </a:r>
                    </a:p>
                  </a:txBody>
                  <a:tcPr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86D5A6"/>
                    </a:solidFill>
                  </a:tcPr>
                </a:tc>
                <a:tc>
                  <a:txBody>
                    <a:bodyPr/>
                    <a:lstStyle>
                      <a:lvl1pPr marL="0" algn="l" defTabSz="609585" rtl="0" eaLnBrk="1" latinLnBrk="0" hangingPunct="1">
                        <a:defRPr sz="2400" b="1" kern="1200">
                          <a:solidFill>
                            <a:schemeClr val="lt1"/>
                          </a:solidFill>
                          <a:latin typeface="Calibri"/>
                        </a:defRPr>
                      </a:lvl1pPr>
                      <a:lvl2pPr marL="609585" algn="l" defTabSz="609585" rtl="0" eaLnBrk="1" latinLnBrk="0" hangingPunct="1">
                        <a:defRPr sz="2400" b="1" kern="1200">
                          <a:solidFill>
                            <a:schemeClr val="lt1"/>
                          </a:solidFill>
                          <a:latin typeface="Calibri"/>
                        </a:defRPr>
                      </a:lvl2pPr>
                      <a:lvl3pPr marL="1219170" algn="l" defTabSz="609585" rtl="0" eaLnBrk="1" latinLnBrk="0" hangingPunct="1">
                        <a:defRPr sz="2400" b="1" kern="1200">
                          <a:solidFill>
                            <a:schemeClr val="lt1"/>
                          </a:solidFill>
                          <a:latin typeface="Calibri"/>
                        </a:defRPr>
                      </a:lvl3pPr>
                      <a:lvl4pPr marL="1828754" algn="l" defTabSz="609585" rtl="0" eaLnBrk="1" latinLnBrk="0" hangingPunct="1">
                        <a:defRPr sz="2400" b="1" kern="1200">
                          <a:solidFill>
                            <a:schemeClr val="lt1"/>
                          </a:solidFill>
                          <a:latin typeface="Calibri"/>
                        </a:defRPr>
                      </a:lvl4pPr>
                      <a:lvl5pPr marL="2438339" algn="l" defTabSz="609585" rtl="0" eaLnBrk="1" latinLnBrk="0" hangingPunct="1">
                        <a:defRPr sz="2400" b="1" kern="1200">
                          <a:solidFill>
                            <a:schemeClr val="lt1"/>
                          </a:solidFill>
                          <a:latin typeface="Calibri"/>
                        </a:defRPr>
                      </a:lvl5pPr>
                      <a:lvl6pPr marL="3047924" algn="l" defTabSz="609585" rtl="0" eaLnBrk="1" latinLnBrk="0" hangingPunct="1">
                        <a:defRPr sz="2400" b="1" kern="1200">
                          <a:solidFill>
                            <a:schemeClr val="lt1"/>
                          </a:solidFill>
                          <a:latin typeface="Calibri"/>
                        </a:defRPr>
                      </a:lvl6pPr>
                      <a:lvl7pPr marL="3657509" algn="l" defTabSz="609585" rtl="0" eaLnBrk="1" latinLnBrk="0" hangingPunct="1">
                        <a:defRPr sz="2400" b="1" kern="1200">
                          <a:solidFill>
                            <a:schemeClr val="lt1"/>
                          </a:solidFill>
                          <a:latin typeface="Calibri"/>
                        </a:defRPr>
                      </a:lvl7pPr>
                      <a:lvl8pPr marL="4267093" algn="l" defTabSz="609585" rtl="0" eaLnBrk="1" latinLnBrk="0" hangingPunct="1">
                        <a:defRPr sz="2400" b="1" kern="1200">
                          <a:solidFill>
                            <a:schemeClr val="lt1"/>
                          </a:solidFill>
                          <a:latin typeface="Calibri"/>
                        </a:defRPr>
                      </a:lvl8pPr>
                      <a:lvl9pPr marL="4876678" algn="l" defTabSz="609585" rtl="0" eaLnBrk="1" latinLnBrk="0" hangingPunct="1">
                        <a:defRPr sz="2400" b="1" kern="1200">
                          <a:solidFill>
                            <a:schemeClr val="lt1"/>
                          </a:solidFill>
                          <a:latin typeface="Calibri"/>
                        </a:defRPr>
                      </a:lvl9pPr>
                    </a:lstStyle>
                    <a:p>
                      <a:pPr fontAlgn="base">
                        <a:lnSpc>
                          <a:spcPct val="90000"/>
                        </a:lnSpc>
                        <a:spcBef>
                          <a:spcPct val="0"/>
                        </a:spcBef>
                        <a:spcAft>
                          <a:spcPct val="0"/>
                        </a:spcAft>
                      </a:pPr>
                      <a:r>
                        <a:rPr lang="fr-FR" sz="1200" b="0">
                          <a:solidFill>
                            <a:schemeClr val="tx1"/>
                          </a:solidFill>
                          <a:latin typeface="Arial"/>
                        </a:rPr>
                        <a:t>Coordinateur Achats</a:t>
                      </a:r>
                    </a:p>
                  </a:txBody>
                  <a:tcPr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1836467"/>
                  </a:ext>
                </a:extLst>
              </a:tr>
            </a:tbl>
          </a:graphicData>
        </a:graphic>
      </p:graphicFrame>
      <p:sp>
        <p:nvSpPr>
          <p:cNvPr id="26" name="Title 2">
            <a:extLst>
              <a:ext uri="{FF2B5EF4-FFF2-40B4-BE49-F238E27FC236}">
                <a16:creationId xmlns:a16="http://schemas.microsoft.com/office/drawing/2014/main" id="{7C9A15DD-3E1A-179F-4A4D-22E09BB4D69C}"/>
              </a:ext>
            </a:extLst>
          </p:cNvPr>
          <p:cNvSpPr txBox="1">
            <a:spLocks/>
          </p:cNvSpPr>
          <p:nvPr/>
        </p:nvSpPr>
        <p:spPr bwMode="auto">
          <a:xfrm>
            <a:off x="3635105" y="1725172"/>
            <a:ext cx="2640001" cy="311021"/>
          </a:xfrm>
          <a:prstGeom prst="rect">
            <a:avLst/>
          </a:prstGeom>
          <a:solidFill>
            <a:srgbClr val="6AB4FF"/>
          </a:solidFill>
          <a:ln>
            <a:noFill/>
          </a:ln>
          <a:effectLst/>
          <a:extLst>
            <a:ext uri="{FAA26D3D-D897-4be2-8F04-BA451C77F1D7}">
              <ma14:placeholderFlag xmlns="" xmlns:ma14="http://schemas.microsoft.com/office/mac/drawingml/2011/main" val="1"/>
            </a:ext>
          </a:extLst>
        </p:spPr>
        <p:txBody>
          <a:bodyPr vert="horz" wrap="square" lIns="0" tIns="45720" rIns="91440" bIns="45720" numCol="1" anchor="ctr" anchorCtr="0" compatLnSpc="1">
            <a:prstTxWarp prst="textNoShape">
              <a:avLst/>
            </a:prstTxWarp>
          </a:bodyPr>
          <a:lstStyle>
            <a:lvl1pPr algn="l" rtl="0" eaLnBrk="0" fontAlgn="base" hangingPunct="0">
              <a:lnSpc>
                <a:spcPct val="90000"/>
              </a:lnSpc>
              <a:spcBef>
                <a:spcPct val="0"/>
              </a:spcBef>
              <a:spcAft>
                <a:spcPct val="0"/>
              </a:spcAft>
              <a:defRPr sz="2200">
                <a:solidFill>
                  <a:schemeClr val="tx2"/>
                </a:solidFill>
                <a:latin typeface="+mj-lt"/>
                <a:ea typeface="+mj-ea"/>
                <a:cs typeface="+mj-cs"/>
              </a:defRPr>
            </a:lvl1pPr>
            <a:lvl2pPr algn="l" rtl="0" eaLnBrk="0" fontAlgn="base" hangingPunct="0">
              <a:lnSpc>
                <a:spcPct val="90000"/>
              </a:lnSpc>
              <a:spcBef>
                <a:spcPct val="0"/>
              </a:spcBef>
              <a:spcAft>
                <a:spcPct val="0"/>
              </a:spcAft>
              <a:defRPr sz="2200">
                <a:solidFill>
                  <a:schemeClr val="tx2"/>
                </a:solidFill>
                <a:latin typeface="Arial" pitchFamily="34" charset="0"/>
              </a:defRPr>
            </a:lvl2pPr>
            <a:lvl3pPr algn="l" rtl="0" eaLnBrk="0" fontAlgn="base" hangingPunct="0">
              <a:lnSpc>
                <a:spcPct val="90000"/>
              </a:lnSpc>
              <a:spcBef>
                <a:spcPct val="0"/>
              </a:spcBef>
              <a:spcAft>
                <a:spcPct val="0"/>
              </a:spcAft>
              <a:defRPr sz="2200">
                <a:solidFill>
                  <a:schemeClr val="tx2"/>
                </a:solidFill>
                <a:latin typeface="Arial" pitchFamily="34" charset="0"/>
              </a:defRPr>
            </a:lvl3pPr>
            <a:lvl4pPr algn="l" rtl="0" eaLnBrk="0" fontAlgn="base" hangingPunct="0">
              <a:lnSpc>
                <a:spcPct val="90000"/>
              </a:lnSpc>
              <a:spcBef>
                <a:spcPct val="0"/>
              </a:spcBef>
              <a:spcAft>
                <a:spcPct val="0"/>
              </a:spcAft>
              <a:defRPr sz="2200">
                <a:solidFill>
                  <a:schemeClr val="tx2"/>
                </a:solidFill>
                <a:latin typeface="Arial" pitchFamily="34" charset="0"/>
              </a:defRPr>
            </a:lvl4pPr>
            <a:lvl5pPr algn="l" rtl="0" eaLnBrk="0" fontAlgn="base" hangingPunct="0">
              <a:lnSpc>
                <a:spcPct val="90000"/>
              </a:lnSpc>
              <a:spcBef>
                <a:spcPct val="0"/>
              </a:spcBef>
              <a:spcAft>
                <a:spcPct val="0"/>
              </a:spcAft>
              <a:defRPr sz="2200">
                <a:solidFill>
                  <a:schemeClr val="tx2"/>
                </a:solidFill>
                <a:latin typeface="Arial" pitchFamily="34" charset="0"/>
              </a:defRPr>
            </a:lvl5pPr>
            <a:lvl6pPr marL="457200" algn="l" rtl="0" fontAlgn="base">
              <a:lnSpc>
                <a:spcPct val="90000"/>
              </a:lnSpc>
              <a:spcBef>
                <a:spcPct val="0"/>
              </a:spcBef>
              <a:spcAft>
                <a:spcPct val="0"/>
              </a:spcAft>
              <a:defRPr sz="2200">
                <a:solidFill>
                  <a:schemeClr val="tx1"/>
                </a:solidFill>
                <a:latin typeface="Arial" pitchFamily="34" charset="0"/>
              </a:defRPr>
            </a:lvl6pPr>
            <a:lvl7pPr marL="914400" algn="l" rtl="0" fontAlgn="base">
              <a:lnSpc>
                <a:spcPct val="90000"/>
              </a:lnSpc>
              <a:spcBef>
                <a:spcPct val="0"/>
              </a:spcBef>
              <a:spcAft>
                <a:spcPct val="0"/>
              </a:spcAft>
              <a:defRPr sz="2200">
                <a:solidFill>
                  <a:schemeClr val="tx1"/>
                </a:solidFill>
                <a:latin typeface="Arial" pitchFamily="34" charset="0"/>
              </a:defRPr>
            </a:lvl7pPr>
            <a:lvl8pPr marL="1371600" algn="l" rtl="0" fontAlgn="base">
              <a:lnSpc>
                <a:spcPct val="90000"/>
              </a:lnSpc>
              <a:spcBef>
                <a:spcPct val="0"/>
              </a:spcBef>
              <a:spcAft>
                <a:spcPct val="0"/>
              </a:spcAft>
              <a:defRPr sz="2200">
                <a:solidFill>
                  <a:schemeClr val="tx1"/>
                </a:solidFill>
                <a:latin typeface="Arial" pitchFamily="34" charset="0"/>
              </a:defRPr>
            </a:lvl8pPr>
            <a:lvl9pPr marL="1828800" algn="l" rtl="0" fontAlgn="base">
              <a:lnSpc>
                <a:spcPct val="90000"/>
              </a:lnSpc>
              <a:spcBef>
                <a:spcPct val="0"/>
              </a:spcBef>
              <a:spcAft>
                <a:spcPct val="0"/>
              </a:spcAft>
              <a:defRPr sz="2200">
                <a:solidFill>
                  <a:schemeClr val="tx1"/>
                </a:solidFill>
                <a:latin typeface="Arial" pitchFamily="34" charset="0"/>
              </a:defRPr>
            </a:lvl9pPr>
          </a:lstStyle>
          <a:p>
            <a:pPr algn="ctr"/>
            <a:r>
              <a:rPr lang="en-US" sz="1200" b="1" kern="0">
                <a:solidFill>
                  <a:srgbClr val="004489"/>
                </a:solidFill>
                <a:latin typeface="Arial" panose="020B0604020202020204" pitchFamily="34" charset="0"/>
                <a:cs typeface="Arial" panose="020B0604020202020204" pitchFamily="34" charset="0"/>
              </a:rPr>
              <a:t>IT domain team</a:t>
            </a:r>
          </a:p>
        </p:txBody>
      </p:sp>
      <p:sp>
        <p:nvSpPr>
          <p:cNvPr id="27" name="Title 2">
            <a:extLst>
              <a:ext uri="{FF2B5EF4-FFF2-40B4-BE49-F238E27FC236}">
                <a16:creationId xmlns:a16="http://schemas.microsoft.com/office/drawing/2014/main" id="{FCB20A3E-EC07-464C-A43F-C3629F1B5007}"/>
              </a:ext>
            </a:extLst>
          </p:cNvPr>
          <p:cNvSpPr txBox="1">
            <a:spLocks/>
          </p:cNvSpPr>
          <p:nvPr/>
        </p:nvSpPr>
        <p:spPr bwMode="auto">
          <a:xfrm>
            <a:off x="6448985" y="1725173"/>
            <a:ext cx="2640003" cy="317419"/>
          </a:xfrm>
          <a:prstGeom prst="rect">
            <a:avLst/>
          </a:prstGeom>
          <a:solidFill>
            <a:srgbClr val="6AB4FF"/>
          </a:solidFill>
          <a:ln>
            <a:noFill/>
          </a:ln>
          <a:effectLst/>
          <a:extLst>
            <a:ext uri="{FAA26D3D-D897-4be2-8F04-BA451C77F1D7}">
              <ma14:placeholderFlag xmlns="" xmlns:ma14="http://schemas.microsoft.com/office/mac/drawingml/2011/main" val="1"/>
            </a:ext>
          </a:extLst>
        </p:spPr>
        <p:txBody>
          <a:bodyPr vert="horz" wrap="square" lIns="0" tIns="45720" rIns="91440" bIns="45720" numCol="1" anchor="ctr" anchorCtr="0" compatLnSpc="1">
            <a:prstTxWarp prst="textNoShape">
              <a:avLst/>
            </a:prstTxWarp>
          </a:bodyPr>
          <a:lstStyle>
            <a:lvl1pPr algn="l" rtl="0" eaLnBrk="0" fontAlgn="base" hangingPunct="0">
              <a:lnSpc>
                <a:spcPct val="90000"/>
              </a:lnSpc>
              <a:spcBef>
                <a:spcPct val="0"/>
              </a:spcBef>
              <a:spcAft>
                <a:spcPct val="0"/>
              </a:spcAft>
              <a:defRPr sz="2200">
                <a:solidFill>
                  <a:schemeClr val="tx2"/>
                </a:solidFill>
                <a:latin typeface="+mj-lt"/>
                <a:ea typeface="+mj-ea"/>
                <a:cs typeface="+mj-cs"/>
              </a:defRPr>
            </a:lvl1pPr>
            <a:lvl2pPr algn="l" rtl="0" eaLnBrk="0" fontAlgn="base" hangingPunct="0">
              <a:lnSpc>
                <a:spcPct val="90000"/>
              </a:lnSpc>
              <a:spcBef>
                <a:spcPct val="0"/>
              </a:spcBef>
              <a:spcAft>
                <a:spcPct val="0"/>
              </a:spcAft>
              <a:defRPr sz="2200">
                <a:solidFill>
                  <a:schemeClr val="tx2"/>
                </a:solidFill>
                <a:latin typeface="Arial" pitchFamily="34" charset="0"/>
              </a:defRPr>
            </a:lvl2pPr>
            <a:lvl3pPr algn="l" rtl="0" eaLnBrk="0" fontAlgn="base" hangingPunct="0">
              <a:lnSpc>
                <a:spcPct val="90000"/>
              </a:lnSpc>
              <a:spcBef>
                <a:spcPct val="0"/>
              </a:spcBef>
              <a:spcAft>
                <a:spcPct val="0"/>
              </a:spcAft>
              <a:defRPr sz="2200">
                <a:solidFill>
                  <a:schemeClr val="tx2"/>
                </a:solidFill>
                <a:latin typeface="Arial" pitchFamily="34" charset="0"/>
              </a:defRPr>
            </a:lvl3pPr>
            <a:lvl4pPr algn="l" rtl="0" eaLnBrk="0" fontAlgn="base" hangingPunct="0">
              <a:lnSpc>
                <a:spcPct val="90000"/>
              </a:lnSpc>
              <a:spcBef>
                <a:spcPct val="0"/>
              </a:spcBef>
              <a:spcAft>
                <a:spcPct val="0"/>
              </a:spcAft>
              <a:defRPr sz="2200">
                <a:solidFill>
                  <a:schemeClr val="tx2"/>
                </a:solidFill>
                <a:latin typeface="Arial" pitchFamily="34" charset="0"/>
              </a:defRPr>
            </a:lvl4pPr>
            <a:lvl5pPr algn="l" rtl="0" eaLnBrk="0" fontAlgn="base" hangingPunct="0">
              <a:lnSpc>
                <a:spcPct val="90000"/>
              </a:lnSpc>
              <a:spcBef>
                <a:spcPct val="0"/>
              </a:spcBef>
              <a:spcAft>
                <a:spcPct val="0"/>
              </a:spcAft>
              <a:defRPr sz="2200">
                <a:solidFill>
                  <a:schemeClr val="tx2"/>
                </a:solidFill>
                <a:latin typeface="Arial" pitchFamily="34" charset="0"/>
              </a:defRPr>
            </a:lvl5pPr>
            <a:lvl6pPr marL="457200" algn="l" rtl="0" fontAlgn="base">
              <a:lnSpc>
                <a:spcPct val="90000"/>
              </a:lnSpc>
              <a:spcBef>
                <a:spcPct val="0"/>
              </a:spcBef>
              <a:spcAft>
                <a:spcPct val="0"/>
              </a:spcAft>
              <a:defRPr sz="2200">
                <a:solidFill>
                  <a:schemeClr val="tx1"/>
                </a:solidFill>
                <a:latin typeface="Arial" pitchFamily="34" charset="0"/>
              </a:defRPr>
            </a:lvl6pPr>
            <a:lvl7pPr marL="914400" algn="l" rtl="0" fontAlgn="base">
              <a:lnSpc>
                <a:spcPct val="90000"/>
              </a:lnSpc>
              <a:spcBef>
                <a:spcPct val="0"/>
              </a:spcBef>
              <a:spcAft>
                <a:spcPct val="0"/>
              </a:spcAft>
              <a:defRPr sz="2200">
                <a:solidFill>
                  <a:schemeClr val="tx1"/>
                </a:solidFill>
                <a:latin typeface="Arial" pitchFamily="34" charset="0"/>
              </a:defRPr>
            </a:lvl7pPr>
            <a:lvl8pPr marL="1371600" algn="l" rtl="0" fontAlgn="base">
              <a:lnSpc>
                <a:spcPct val="90000"/>
              </a:lnSpc>
              <a:spcBef>
                <a:spcPct val="0"/>
              </a:spcBef>
              <a:spcAft>
                <a:spcPct val="0"/>
              </a:spcAft>
              <a:defRPr sz="2200">
                <a:solidFill>
                  <a:schemeClr val="tx1"/>
                </a:solidFill>
                <a:latin typeface="Arial" pitchFamily="34" charset="0"/>
              </a:defRPr>
            </a:lvl8pPr>
            <a:lvl9pPr marL="1828800" algn="l" rtl="0" fontAlgn="base">
              <a:lnSpc>
                <a:spcPct val="90000"/>
              </a:lnSpc>
              <a:spcBef>
                <a:spcPct val="0"/>
              </a:spcBef>
              <a:spcAft>
                <a:spcPct val="0"/>
              </a:spcAft>
              <a:defRPr sz="2200">
                <a:solidFill>
                  <a:schemeClr val="tx1"/>
                </a:solidFill>
                <a:latin typeface="Arial" pitchFamily="34" charset="0"/>
              </a:defRPr>
            </a:lvl9pPr>
          </a:lstStyle>
          <a:p>
            <a:pPr algn="ctr"/>
            <a:r>
              <a:rPr lang="en-US" sz="1200" b="1" kern="0">
                <a:solidFill>
                  <a:srgbClr val="004489"/>
                </a:solidFill>
                <a:latin typeface="Arial" panose="020B0604020202020204" pitchFamily="34" charset="0"/>
                <a:cs typeface="Arial" panose="020B0604020202020204" pitchFamily="34" charset="0"/>
              </a:rPr>
              <a:t>Data factory team</a:t>
            </a:r>
          </a:p>
        </p:txBody>
      </p:sp>
      <p:graphicFrame>
        <p:nvGraphicFramePr>
          <p:cNvPr id="28" name="Tableau 80">
            <a:extLst>
              <a:ext uri="{FF2B5EF4-FFF2-40B4-BE49-F238E27FC236}">
                <a16:creationId xmlns:a16="http://schemas.microsoft.com/office/drawing/2014/main" id="{ADC540BA-D7C8-2BC6-48B3-9E523FFB5D6A}"/>
              </a:ext>
            </a:extLst>
          </p:cNvPr>
          <p:cNvGraphicFramePr>
            <a:graphicFrameLocks noGrp="1"/>
          </p:cNvGraphicFramePr>
          <p:nvPr/>
        </p:nvGraphicFramePr>
        <p:xfrm>
          <a:off x="6505152" y="4612429"/>
          <a:ext cx="2549968" cy="875520"/>
        </p:xfrm>
        <a:graphic>
          <a:graphicData uri="http://schemas.openxmlformats.org/drawingml/2006/table">
            <a:tbl>
              <a:tblPr firstRow="1" bandRow="1"/>
              <a:tblGrid>
                <a:gridCol w="990389">
                  <a:extLst>
                    <a:ext uri="{9D8B030D-6E8A-4147-A177-3AD203B41FA5}">
                      <a16:colId xmlns:a16="http://schemas.microsoft.com/office/drawing/2014/main" val="3996293728"/>
                    </a:ext>
                  </a:extLst>
                </a:gridCol>
                <a:gridCol w="1559579">
                  <a:extLst>
                    <a:ext uri="{9D8B030D-6E8A-4147-A177-3AD203B41FA5}">
                      <a16:colId xmlns:a16="http://schemas.microsoft.com/office/drawing/2014/main" val="2483845328"/>
                    </a:ext>
                  </a:extLst>
                </a:gridCol>
              </a:tblGrid>
              <a:tr h="437760">
                <a:tc>
                  <a:txBody>
                    <a:bodyPr/>
                    <a:lstStyle>
                      <a:lvl1pPr marL="0" algn="l" defTabSz="609585" rtl="0" eaLnBrk="1" latinLnBrk="0" hangingPunct="1">
                        <a:defRPr sz="2400" b="1" kern="1200">
                          <a:solidFill>
                            <a:schemeClr val="lt1"/>
                          </a:solidFill>
                          <a:latin typeface="Calibri"/>
                        </a:defRPr>
                      </a:lvl1pPr>
                      <a:lvl2pPr marL="609585" algn="l" defTabSz="609585" rtl="0" eaLnBrk="1" latinLnBrk="0" hangingPunct="1">
                        <a:defRPr sz="2400" b="1" kern="1200">
                          <a:solidFill>
                            <a:schemeClr val="lt1"/>
                          </a:solidFill>
                          <a:latin typeface="Calibri"/>
                        </a:defRPr>
                      </a:lvl2pPr>
                      <a:lvl3pPr marL="1219170" algn="l" defTabSz="609585" rtl="0" eaLnBrk="1" latinLnBrk="0" hangingPunct="1">
                        <a:defRPr sz="2400" b="1" kern="1200">
                          <a:solidFill>
                            <a:schemeClr val="lt1"/>
                          </a:solidFill>
                          <a:latin typeface="Calibri"/>
                        </a:defRPr>
                      </a:lvl3pPr>
                      <a:lvl4pPr marL="1828754" algn="l" defTabSz="609585" rtl="0" eaLnBrk="1" latinLnBrk="0" hangingPunct="1">
                        <a:defRPr sz="2400" b="1" kern="1200">
                          <a:solidFill>
                            <a:schemeClr val="lt1"/>
                          </a:solidFill>
                          <a:latin typeface="Calibri"/>
                        </a:defRPr>
                      </a:lvl4pPr>
                      <a:lvl5pPr marL="2438339" algn="l" defTabSz="609585" rtl="0" eaLnBrk="1" latinLnBrk="0" hangingPunct="1">
                        <a:defRPr sz="2400" b="1" kern="1200">
                          <a:solidFill>
                            <a:schemeClr val="lt1"/>
                          </a:solidFill>
                          <a:latin typeface="Calibri"/>
                        </a:defRPr>
                      </a:lvl5pPr>
                      <a:lvl6pPr marL="3047924" algn="l" defTabSz="609585" rtl="0" eaLnBrk="1" latinLnBrk="0" hangingPunct="1">
                        <a:defRPr sz="2400" b="1" kern="1200">
                          <a:solidFill>
                            <a:schemeClr val="lt1"/>
                          </a:solidFill>
                          <a:latin typeface="Calibri"/>
                        </a:defRPr>
                      </a:lvl6pPr>
                      <a:lvl7pPr marL="3657509" algn="l" defTabSz="609585" rtl="0" eaLnBrk="1" latinLnBrk="0" hangingPunct="1">
                        <a:defRPr sz="2400" b="1" kern="1200">
                          <a:solidFill>
                            <a:schemeClr val="lt1"/>
                          </a:solidFill>
                          <a:latin typeface="Calibri"/>
                        </a:defRPr>
                      </a:lvl7pPr>
                      <a:lvl8pPr marL="4267093" algn="l" defTabSz="609585" rtl="0" eaLnBrk="1" latinLnBrk="0" hangingPunct="1">
                        <a:defRPr sz="2400" b="1" kern="1200">
                          <a:solidFill>
                            <a:schemeClr val="lt1"/>
                          </a:solidFill>
                          <a:latin typeface="Calibri"/>
                        </a:defRPr>
                      </a:lvl8pPr>
                      <a:lvl9pPr marL="4876678" algn="l" defTabSz="609585" rtl="0" eaLnBrk="1" latinLnBrk="0" hangingPunct="1">
                        <a:defRPr sz="2400" b="1" kern="1200">
                          <a:solidFill>
                            <a:schemeClr val="lt1"/>
                          </a:solidFill>
                          <a:latin typeface="Calibri"/>
                        </a:defRPr>
                      </a:lvl9pPr>
                    </a:lstStyle>
                    <a:p>
                      <a:pPr marL="0" marR="0" lvl="0" indent="0" algn="l" rtl="0" eaLnBrk="1" fontAlgn="auto" latinLnBrk="0" hangingPunct="1">
                        <a:lnSpc>
                          <a:spcPct val="100000"/>
                        </a:lnSpc>
                        <a:spcBef>
                          <a:spcPts val="0"/>
                        </a:spcBef>
                        <a:spcAft>
                          <a:spcPts val="0"/>
                        </a:spcAft>
                        <a:buClrTx/>
                        <a:buSzTx/>
                        <a:buFontTx/>
                        <a:buNone/>
                      </a:pPr>
                      <a:r>
                        <a:rPr lang="fr-FR" sz="1200" b="0">
                          <a:solidFill>
                            <a:schemeClr val="tx1"/>
                          </a:solidFill>
                          <a:latin typeface="Arial"/>
                        </a:rPr>
                        <a:t>DevOps</a:t>
                      </a:r>
                    </a:p>
                  </a:txBody>
                  <a:tcPr marT="36000" marB="36000" anchor="ctr">
                    <a:lnL w="12700" cmpd="sng">
                      <a:noFill/>
                    </a:lnL>
                    <a:lnR w="12700" cmpd="sng">
                      <a:noFill/>
                    </a:lnR>
                    <a:lnT w="12700" cmpd="sng">
                      <a:noFill/>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7FD7D6"/>
                    </a:solidFill>
                  </a:tcPr>
                </a:tc>
                <a:tc>
                  <a:txBody>
                    <a:bodyPr/>
                    <a:lstStyle>
                      <a:lvl1pPr marL="0" algn="l" defTabSz="609585" rtl="0" eaLnBrk="1" latinLnBrk="0" hangingPunct="1">
                        <a:defRPr sz="2400" b="1" kern="1200">
                          <a:solidFill>
                            <a:schemeClr val="lt1"/>
                          </a:solidFill>
                          <a:latin typeface="Calibri"/>
                        </a:defRPr>
                      </a:lvl1pPr>
                      <a:lvl2pPr marL="609585" algn="l" defTabSz="609585" rtl="0" eaLnBrk="1" latinLnBrk="0" hangingPunct="1">
                        <a:defRPr sz="2400" b="1" kern="1200">
                          <a:solidFill>
                            <a:schemeClr val="lt1"/>
                          </a:solidFill>
                          <a:latin typeface="Calibri"/>
                        </a:defRPr>
                      </a:lvl2pPr>
                      <a:lvl3pPr marL="1219170" algn="l" defTabSz="609585" rtl="0" eaLnBrk="1" latinLnBrk="0" hangingPunct="1">
                        <a:defRPr sz="2400" b="1" kern="1200">
                          <a:solidFill>
                            <a:schemeClr val="lt1"/>
                          </a:solidFill>
                          <a:latin typeface="Calibri"/>
                        </a:defRPr>
                      </a:lvl3pPr>
                      <a:lvl4pPr marL="1828754" algn="l" defTabSz="609585" rtl="0" eaLnBrk="1" latinLnBrk="0" hangingPunct="1">
                        <a:defRPr sz="2400" b="1" kern="1200">
                          <a:solidFill>
                            <a:schemeClr val="lt1"/>
                          </a:solidFill>
                          <a:latin typeface="Calibri"/>
                        </a:defRPr>
                      </a:lvl4pPr>
                      <a:lvl5pPr marL="2438339" algn="l" defTabSz="609585" rtl="0" eaLnBrk="1" latinLnBrk="0" hangingPunct="1">
                        <a:defRPr sz="2400" b="1" kern="1200">
                          <a:solidFill>
                            <a:schemeClr val="lt1"/>
                          </a:solidFill>
                          <a:latin typeface="Calibri"/>
                        </a:defRPr>
                      </a:lvl5pPr>
                      <a:lvl6pPr marL="3047924" algn="l" defTabSz="609585" rtl="0" eaLnBrk="1" latinLnBrk="0" hangingPunct="1">
                        <a:defRPr sz="2400" b="1" kern="1200">
                          <a:solidFill>
                            <a:schemeClr val="lt1"/>
                          </a:solidFill>
                          <a:latin typeface="Calibri"/>
                        </a:defRPr>
                      </a:lvl6pPr>
                      <a:lvl7pPr marL="3657509" algn="l" defTabSz="609585" rtl="0" eaLnBrk="1" latinLnBrk="0" hangingPunct="1">
                        <a:defRPr sz="2400" b="1" kern="1200">
                          <a:solidFill>
                            <a:schemeClr val="lt1"/>
                          </a:solidFill>
                          <a:latin typeface="Calibri"/>
                        </a:defRPr>
                      </a:lvl7pPr>
                      <a:lvl8pPr marL="4267093" algn="l" defTabSz="609585" rtl="0" eaLnBrk="1" latinLnBrk="0" hangingPunct="1">
                        <a:defRPr sz="2400" b="1" kern="1200">
                          <a:solidFill>
                            <a:schemeClr val="lt1"/>
                          </a:solidFill>
                          <a:latin typeface="Calibri"/>
                        </a:defRPr>
                      </a:lvl8pPr>
                      <a:lvl9pPr marL="4876678" algn="l" defTabSz="609585" rtl="0" eaLnBrk="1" latinLnBrk="0" hangingPunct="1">
                        <a:defRPr sz="2400" b="1" kern="1200">
                          <a:solidFill>
                            <a:schemeClr val="lt1"/>
                          </a:solidFill>
                          <a:latin typeface="Calibri"/>
                        </a:defRPr>
                      </a:lvl9pPr>
                    </a:lstStyle>
                    <a:p>
                      <a:pPr fontAlgn="base">
                        <a:lnSpc>
                          <a:spcPct val="90000"/>
                        </a:lnSpc>
                        <a:spcBef>
                          <a:spcPct val="0"/>
                        </a:spcBef>
                        <a:spcAft>
                          <a:spcPct val="0"/>
                        </a:spcAft>
                      </a:pPr>
                      <a:r>
                        <a:rPr lang="fr-FR" sz="1200" b="0">
                          <a:solidFill>
                            <a:schemeClr val="tx1"/>
                          </a:solidFill>
                          <a:latin typeface="Arial" pitchFamily="34" charset="0"/>
                        </a:rPr>
                        <a:t>Simon Soulié</a:t>
                      </a:r>
                    </a:p>
                  </a:txBody>
                  <a:tcPr marT="36000" marB="36000" anchor="ctr">
                    <a:lnL w="12700" cmpd="sng">
                      <a:noFill/>
                    </a:lnL>
                    <a:lnR w="12700" cmpd="sng">
                      <a:noFill/>
                    </a:lnR>
                    <a:lnT w="12700" cmpd="sng">
                      <a:noFill/>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1836467"/>
                  </a:ext>
                </a:extLst>
              </a:tr>
              <a:tr h="437760">
                <a:tc>
                  <a:txBody>
                    <a:bodyPr/>
                    <a:lstStyle>
                      <a:lvl1pPr marL="0" algn="l" defTabSz="609585" rtl="0" eaLnBrk="1" latinLnBrk="0" hangingPunct="1">
                        <a:defRPr sz="2400" b="1" kern="1200">
                          <a:solidFill>
                            <a:schemeClr val="lt1"/>
                          </a:solidFill>
                          <a:latin typeface="Calibri"/>
                        </a:defRPr>
                      </a:lvl1pPr>
                      <a:lvl2pPr marL="609585" algn="l" defTabSz="609585" rtl="0" eaLnBrk="1" latinLnBrk="0" hangingPunct="1">
                        <a:defRPr sz="2400" b="1" kern="1200">
                          <a:solidFill>
                            <a:schemeClr val="lt1"/>
                          </a:solidFill>
                          <a:latin typeface="Calibri"/>
                        </a:defRPr>
                      </a:lvl2pPr>
                      <a:lvl3pPr marL="1219170" algn="l" defTabSz="609585" rtl="0" eaLnBrk="1" latinLnBrk="0" hangingPunct="1">
                        <a:defRPr sz="2400" b="1" kern="1200">
                          <a:solidFill>
                            <a:schemeClr val="lt1"/>
                          </a:solidFill>
                          <a:latin typeface="Calibri"/>
                        </a:defRPr>
                      </a:lvl3pPr>
                      <a:lvl4pPr marL="1828754" algn="l" defTabSz="609585" rtl="0" eaLnBrk="1" latinLnBrk="0" hangingPunct="1">
                        <a:defRPr sz="2400" b="1" kern="1200">
                          <a:solidFill>
                            <a:schemeClr val="lt1"/>
                          </a:solidFill>
                          <a:latin typeface="Calibri"/>
                        </a:defRPr>
                      </a:lvl4pPr>
                      <a:lvl5pPr marL="2438339" algn="l" defTabSz="609585" rtl="0" eaLnBrk="1" latinLnBrk="0" hangingPunct="1">
                        <a:defRPr sz="2400" b="1" kern="1200">
                          <a:solidFill>
                            <a:schemeClr val="lt1"/>
                          </a:solidFill>
                          <a:latin typeface="Calibri"/>
                        </a:defRPr>
                      </a:lvl5pPr>
                      <a:lvl6pPr marL="3047924" algn="l" defTabSz="609585" rtl="0" eaLnBrk="1" latinLnBrk="0" hangingPunct="1">
                        <a:defRPr sz="2400" b="1" kern="1200">
                          <a:solidFill>
                            <a:schemeClr val="lt1"/>
                          </a:solidFill>
                          <a:latin typeface="Calibri"/>
                        </a:defRPr>
                      </a:lvl6pPr>
                      <a:lvl7pPr marL="3657509" algn="l" defTabSz="609585" rtl="0" eaLnBrk="1" latinLnBrk="0" hangingPunct="1">
                        <a:defRPr sz="2400" b="1" kern="1200">
                          <a:solidFill>
                            <a:schemeClr val="lt1"/>
                          </a:solidFill>
                          <a:latin typeface="Calibri"/>
                        </a:defRPr>
                      </a:lvl7pPr>
                      <a:lvl8pPr marL="4267093" algn="l" defTabSz="609585" rtl="0" eaLnBrk="1" latinLnBrk="0" hangingPunct="1">
                        <a:defRPr sz="2400" b="1" kern="1200">
                          <a:solidFill>
                            <a:schemeClr val="lt1"/>
                          </a:solidFill>
                          <a:latin typeface="Calibri"/>
                        </a:defRPr>
                      </a:lvl8pPr>
                      <a:lvl9pPr marL="4876678" algn="l" defTabSz="609585" rtl="0" eaLnBrk="1" latinLnBrk="0" hangingPunct="1">
                        <a:defRPr sz="2400" b="1" kern="1200">
                          <a:solidFill>
                            <a:schemeClr val="lt1"/>
                          </a:solidFill>
                          <a:latin typeface="Calibri"/>
                        </a:defRPr>
                      </a:lvl9pPr>
                    </a:lstStyle>
                    <a:p>
                      <a:pPr marL="0" marR="0" lvl="0" indent="0" algn="l" rtl="0" eaLnBrk="1" fontAlgn="auto" latinLnBrk="0" hangingPunct="1">
                        <a:lnSpc>
                          <a:spcPct val="100000"/>
                        </a:lnSpc>
                        <a:spcBef>
                          <a:spcPts val="0"/>
                        </a:spcBef>
                        <a:spcAft>
                          <a:spcPts val="0"/>
                        </a:spcAft>
                        <a:buClrTx/>
                        <a:buSzTx/>
                        <a:buFontTx/>
                        <a:buNone/>
                      </a:pPr>
                      <a:r>
                        <a:rPr lang="fr-FR" sz="1200" b="0">
                          <a:solidFill>
                            <a:schemeClr val="tx1"/>
                          </a:solidFill>
                          <a:latin typeface="Arial"/>
                        </a:rPr>
                        <a:t>Tech lead</a:t>
                      </a:r>
                    </a:p>
                  </a:txBody>
                  <a:tcPr marT="36000" marB="36000" anchor="ctr">
                    <a:lnL w="12700" cmpd="sng">
                      <a:noFill/>
                    </a:lnL>
                    <a:lnR w="12700" cmpd="sng">
                      <a:noFill/>
                    </a:lnR>
                    <a:lnT w="12700" cap="flat" cmpd="sng" algn="ctr">
                      <a:solidFill>
                        <a:sysClr val="window" lastClr="FFFFFF">
                          <a:lumMod val="65000"/>
                        </a:sysClr>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7FD7D6"/>
                    </a:solidFill>
                  </a:tcPr>
                </a:tc>
                <a:tc>
                  <a:txBody>
                    <a:bodyPr/>
                    <a:lstStyle>
                      <a:lvl1pPr marL="0" algn="l" defTabSz="609585" rtl="0" eaLnBrk="1" latinLnBrk="0" hangingPunct="1">
                        <a:defRPr sz="2400" b="1" kern="1200">
                          <a:solidFill>
                            <a:schemeClr val="lt1"/>
                          </a:solidFill>
                          <a:latin typeface="Calibri"/>
                        </a:defRPr>
                      </a:lvl1pPr>
                      <a:lvl2pPr marL="609585" algn="l" defTabSz="609585" rtl="0" eaLnBrk="1" latinLnBrk="0" hangingPunct="1">
                        <a:defRPr sz="2400" b="1" kern="1200">
                          <a:solidFill>
                            <a:schemeClr val="lt1"/>
                          </a:solidFill>
                          <a:latin typeface="Calibri"/>
                        </a:defRPr>
                      </a:lvl2pPr>
                      <a:lvl3pPr marL="1219170" algn="l" defTabSz="609585" rtl="0" eaLnBrk="1" latinLnBrk="0" hangingPunct="1">
                        <a:defRPr sz="2400" b="1" kern="1200">
                          <a:solidFill>
                            <a:schemeClr val="lt1"/>
                          </a:solidFill>
                          <a:latin typeface="Calibri"/>
                        </a:defRPr>
                      </a:lvl3pPr>
                      <a:lvl4pPr marL="1828754" algn="l" defTabSz="609585" rtl="0" eaLnBrk="1" latinLnBrk="0" hangingPunct="1">
                        <a:defRPr sz="2400" b="1" kern="1200">
                          <a:solidFill>
                            <a:schemeClr val="lt1"/>
                          </a:solidFill>
                          <a:latin typeface="Calibri"/>
                        </a:defRPr>
                      </a:lvl4pPr>
                      <a:lvl5pPr marL="2438339" algn="l" defTabSz="609585" rtl="0" eaLnBrk="1" latinLnBrk="0" hangingPunct="1">
                        <a:defRPr sz="2400" b="1" kern="1200">
                          <a:solidFill>
                            <a:schemeClr val="lt1"/>
                          </a:solidFill>
                          <a:latin typeface="Calibri"/>
                        </a:defRPr>
                      </a:lvl5pPr>
                      <a:lvl6pPr marL="3047924" algn="l" defTabSz="609585" rtl="0" eaLnBrk="1" latinLnBrk="0" hangingPunct="1">
                        <a:defRPr sz="2400" b="1" kern="1200">
                          <a:solidFill>
                            <a:schemeClr val="lt1"/>
                          </a:solidFill>
                          <a:latin typeface="Calibri"/>
                        </a:defRPr>
                      </a:lvl6pPr>
                      <a:lvl7pPr marL="3657509" algn="l" defTabSz="609585" rtl="0" eaLnBrk="1" latinLnBrk="0" hangingPunct="1">
                        <a:defRPr sz="2400" b="1" kern="1200">
                          <a:solidFill>
                            <a:schemeClr val="lt1"/>
                          </a:solidFill>
                          <a:latin typeface="Calibri"/>
                        </a:defRPr>
                      </a:lvl7pPr>
                      <a:lvl8pPr marL="4267093" algn="l" defTabSz="609585" rtl="0" eaLnBrk="1" latinLnBrk="0" hangingPunct="1">
                        <a:defRPr sz="2400" b="1" kern="1200">
                          <a:solidFill>
                            <a:schemeClr val="lt1"/>
                          </a:solidFill>
                          <a:latin typeface="Calibri"/>
                        </a:defRPr>
                      </a:lvl8pPr>
                      <a:lvl9pPr marL="4876678" algn="l" defTabSz="609585" rtl="0" eaLnBrk="1" latinLnBrk="0" hangingPunct="1">
                        <a:defRPr sz="2400" b="1" kern="1200">
                          <a:solidFill>
                            <a:schemeClr val="lt1"/>
                          </a:solidFill>
                          <a:latin typeface="Calibri"/>
                        </a:defRPr>
                      </a:lvl9pPr>
                    </a:lstStyle>
                    <a:p>
                      <a:pPr fontAlgn="base">
                        <a:lnSpc>
                          <a:spcPct val="90000"/>
                        </a:lnSpc>
                        <a:spcBef>
                          <a:spcPct val="0"/>
                        </a:spcBef>
                        <a:spcAft>
                          <a:spcPct val="0"/>
                        </a:spcAft>
                      </a:pPr>
                      <a:r>
                        <a:rPr lang="fr-FR" sz="1200" b="0">
                          <a:solidFill>
                            <a:schemeClr val="tx1"/>
                          </a:solidFill>
                          <a:latin typeface="Arial" pitchFamily="34" charset="0"/>
                        </a:rPr>
                        <a:t>Thomas Marencic</a:t>
                      </a:r>
                    </a:p>
                  </a:txBody>
                  <a:tcPr marT="36000" marB="36000" anchor="ctr">
                    <a:lnL w="12700" cmpd="sng">
                      <a:noFill/>
                    </a:lnL>
                    <a:lnR w="12700" cmpd="sng">
                      <a:noFill/>
                    </a:lnR>
                    <a:lnT w="12700" cap="flat" cmpd="sng" algn="ctr">
                      <a:solidFill>
                        <a:sysClr val="window" lastClr="FFFFFF">
                          <a:lumMod val="65000"/>
                        </a:sysClr>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10879046"/>
                  </a:ext>
                </a:extLst>
              </a:tr>
            </a:tbl>
          </a:graphicData>
        </a:graphic>
      </p:graphicFrame>
      <p:graphicFrame>
        <p:nvGraphicFramePr>
          <p:cNvPr id="31" name="Tableau 30">
            <a:extLst>
              <a:ext uri="{FF2B5EF4-FFF2-40B4-BE49-F238E27FC236}">
                <a16:creationId xmlns:a16="http://schemas.microsoft.com/office/drawing/2014/main" id="{B79A3EEC-C0AD-2A7B-F1CA-ADC1BB5DE153}"/>
              </a:ext>
            </a:extLst>
          </p:cNvPr>
          <p:cNvGraphicFramePr>
            <a:graphicFrameLocks noGrp="1"/>
          </p:cNvGraphicFramePr>
          <p:nvPr/>
        </p:nvGraphicFramePr>
        <p:xfrm>
          <a:off x="4196209" y="3462103"/>
          <a:ext cx="3799583" cy="437760"/>
        </p:xfrm>
        <a:graphic>
          <a:graphicData uri="http://schemas.openxmlformats.org/drawingml/2006/table">
            <a:tbl>
              <a:tblPr firstRow="1" bandRow="1"/>
              <a:tblGrid>
                <a:gridCol w="1103328">
                  <a:extLst>
                    <a:ext uri="{9D8B030D-6E8A-4147-A177-3AD203B41FA5}">
                      <a16:colId xmlns:a16="http://schemas.microsoft.com/office/drawing/2014/main" val="3996293728"/>
                    </a:ext>
                  </a:extLst>
                </a:gridCol>
                <a:gridCol w="2696255">
                  <a:extLst>
                    <a:ext uri="{9D8B030D-6E8A-4147-A177-3AD203B41FA5}">
                      <a16:colId xmlns:a16="http://schemas.microsoft.com/office/drawing/2014/main" val="2483845328"/>
                    </a:ext>
                  </a:extLst>
                </a:gridCol>
              </a:tblGrid>
              <a:tr h="437760">
                <a:tc>
                  <a:txBody>
                    <a:bodyPr/>
                    <a:lstStyle>
                      <a:lvl1pPr marL="0" algn="l" defTabSz="609585" rtl="0" eaLnBrk="1" latinLnBrk="0" hangingPunct="1">
                        <a:defRPr sz="2400" b="1" kern="1200">
                          <a:solidFill>
                            <a:schemeClr val="lt1"/>
                          </a:solidFill>
                          <a:latin typeface="Calibri"/>
                        </a:defRPr>
                      </a:lvl1pPr>
                      <a:lvl2pPr marL="609585" algn="l" defTabSz="609585" rtl="0" eaLnBrk="1" latinLnBrk="0" hangingPunct="1">
                        <a:defRPr sz="2400" b="1" kern="1200">
                          <a:solidFill>
                            <a:schemeClr val="lt1"/>
                          </a:solidFill>
                          <a:latin typeface="Calibri"/>
                        </a:defRPr>
                      </a:lvl2pPr>
                      <a:lvl3pPr marL="1219170" algn="l" defTabSz="609585" rtl="0" eaLnBrk="1" latinLnBrk="0" hangingPunct="1">
                        <a:defRPr sz="2400" b="1" kern="1200">
                          <a:solidFill>
                            <a:schemeClr val="lt1"/>
                          </a:solidFill>
                          <a:latin typeface="Calibri"/>
                        </a:defRPr>
                      </a:lvl3pPr>
                      <a:lvl4pPr marL="1828754" algn="l" defTabSz="609585" rtl="0" eaLnBrk="1" latinLnBrk="0" hangingPunct="1">
                        <a:defRPr sz="2400" b="1" kern="1200">
                          <a:solidFill>
                            <a:schemeClr val="lt1"/>
                          </a:solidFill>
                          <a:latin typeface="Calibri"/>
                        </a:defRPr>
                      </a:lvl4pPr>
                      <a:lvl5pPr marL="2438339" algn="l" defTabSz="609585" rtl="0" eaLnBrk="1" latinLnBrk="0" hangingPunct="1">
                        <a:defRPr sz="2400" b="1" kern="1200">
                          <a:solidFill>
                            <a:schemeClr val="lt1"/>
                          </a:solidFill>
                          <a:latin typeface="Calibri"/>
                        </a:defRPr>
                      </a:lvl5pPr>
                      <a:lvl6pPr marL="3047924" algn="l" defTabSz="609585" rtl="0" eaLnBrk="1" latinLnBrk="0" hangingPunct="1">
                        <a:defRPr sz="2400" b="1" kern="1200">
                          <a:solidFill>
                            <a:schemeClr val="lt1"/>
                          </a:solidFill>
                          <a:latin typeface="Calibri"/>
                        </a:defRPr>
                      </a:lvl6pPr>
                      <a:lvl7pPr marL="3657509" algn="l" defTabSz="609585" rtl="0" eaLnBrk="1" latinLnBrk="0" hangingPunct="1">
                        <a:defRPr sz="2400" b="1" kern="1200">
                          <a:solidFill>
                            <a:schemeClr val="lt1"/>
                          </a:solidFill>
                          <a:latin typeface="Calibri"/>
                        </a:defRPr>
                      </a:lvl7pPr>
                      <a:lvl8pPr marL="4267093" algn="l" defTabSz="609585" rtl="0" eaLnBrk="1" latinLnBrk="0" hangingPunct="1">
                        <a:defRPr sz="2400" b="1" kern="1200">
                          <a:solidFill>
                            <a:schemeClr val="lt1"/>
                          </a:solidFill>
                          <a:latin typeface="Calibri"/>
                        </a:defRPr>
                      </a:lvl8pPr>
                      <a:lvl9pPr marL="4876678" algn="l" defTabSz="609585" rtl="0" eaLnBrk="1" latinLnBrk="0" hangingPunct="1">
                        <a:defRPr sz="2400" b="1" kern="1200">
                          <a:solidFill>
                            <a:schemeClr val="lt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noProof="0">
                          <a:solidFill>
                            <a:schemeClr val="tx1"/>
                          </a:solidFill>
                          <a:latin typeface="Arial" pitchFamily="34" charset="0"/>
                        </a:rPr>
                        <a:t>Data Steward</a:t>
                      </a:r>
                    </a:p>
                  </a:txBody>
                  <a:tcPr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7FD7D6"/>
                    </a:solidFill>
                  </a:tcPr>
                </a:tc>
                <a:tc>
                  <a:txBody>
                    <a:bodyPr/>
                    <a:lstStyle>
                      <a:lvl1pPr marL="0" algn="l" defTabSz="609585" rtl="0" eaLnBrk="1" latinLnBrk="0" hangingPunct="1">
                        <a:defRPr sz="2400" b="1" kern="1200">
                          <a:solidFill>
                            <a:schemeClr val="lt1"/>
                          </a:solidFill>
                          <a:latin typeface="Calibri"/>
                        </a:defRPr>
                      </a:lvl1pPr>
                      <a:lvl2pPr marL="609585" algn="l" defTabSz="609585" rtl="0" eaLnBrk="1" latinLnBrk="0" hangingPunct="1">
                        <a:defRPr sz="2400" b="1" kern="1200">
                          <a:solidFill>
                            <a:schemeClr val="lt1"/>
                          </a:solidFill>
                          <a:latin typeface="Calibri"/>
                        </a:defRPr>
                      </a:lvl2pPr>
                      <a:lvl3pPr marL="1219170" algn="l" defTabSz="609585" rtl="0" eaLnBrk="1" latinLnBrk="0" hangingPunct="1">
                        <a:defRPr sz="2400" b="1" kern="1200">
                          <a:solidFill>
                            <a:schemeClr val="lt1"/>
                          </a:solidFill>
                          <a:latin typeface="Calibri"/>
                        </a:defRPr>
                      </a:lvl3pPr>
                      <a:lvl4pPr marL="1828754" algn="l" defTabSz="609585" rtl="0" eaLnBrk="1" latinLnBrk="0" hangingPunct="1">
                        <a:defRPr sz="2400" b="1" kern="1200">
                          <a:solidFill>
                            <a:schemeClr val="lt1"/>
                          </a:solidFill>
                          <a:latin typeface="Calibri"/>
                        </a:defRPr>
                      </a:lvl4pPr>
                      <a:lvl5pPr marL="2438339" algn="l" defTabSz="609585" rtl="0" eaLnBrk="1" latinLnBrk="0" hangingPunct="1">
                        <a:defRPr sz="2400" b="1" kern="1200">
                          <a:solidFill>
                            <a:schemeClr val="lt1"/>
                          </a:solidFill>
                          <a:latin typeface="Calibri"/>
                        </a:defRPr>
                      </a:lvl5pPr>
                      <a:lvl6pPr marL="3047924" algn="l" defTabSz="609585" rtl="0" eaLnBrk="1" latinLnBrk="0" hangingPunct="1">
                        <a:defRPr sz="2400" b="1" kern="1200">
                          <a:solidFill>
                            <a:schemeClr val="lt1"/>
                          </a:solidFill>
                          <a:latin typeface="Calibri"/>
                        </a:defRPr>
                      </a:lvl6pPr>
                      <a:lvl7pPr marL="3657509" algn="l" defTabSz="609585" rtl="0" eaLnBrk="1" latinLnBrk="0" hangingPunct="1">
                        <a:defRPr sz="2400" b="1" kern="1200">
                          <a:solidFill>
                            <a:schemeClr val="lt1"/>
                          </a:solidFill>
                          <a:latin typeface="Calibri"/>
                        </a:defRPr>
                      </a:lvl7pPr>
                      <a:lvl8pPr marL="4267093" algn="l" defTabSz="609585" rtl="0" eaLnBrk="1" latinLnBrk="0" hangingPunct="1">
                        <a:defRPr sz="2400" b="1" kern="1200">
                          <a:solidFill>
                            <a:schemeClr val="lt1"/>
                          </a:solidFill>
                          <a:latin typeface="Calibri"/>
                        </a:defRPr>
                      </a:lvl8pPr>
                      <a:lvl9pPr marL="4876678" algn="l" defTabSz="609585" rtl="0" eaLnBrk="1" latinLnBrk="0" hangingPunct="1">
                        <a:defRPr sz="2400" b="1" kern="1200">
                          <a:solidFill>
                            <a:schemeClr val="lt1"/>
                          </a:solidFill>
                          <a:latin typeface="Calibri"/>
                        </a:defRPr>
                      </a:lvl9pPr>
                    </a:lstStyle>
                    <a:p>
                      <a:pPr fontAlgn="base">
                        <a:lnSpc>
                          <a:spcPct val="90000"/>
                        </a:lnSpc>
                        <a:spcBef>
                          <a:spcPct val="0"/>
                        </a:spcBef>
                        <a:spcAft>
                          <a:spcPct val="0"/>
                        </a:spcAft>
                      </a:pPr>
                      <a:r>
                        <a:rPr lang="fr-FR" sz="1200" b="0">
                          <a:solidFill>
                            <a:schemeClr val="tx1"/>
                          </a:solidFill>
                          <a:latin typeface="Arial" pitchFamily="34" charset="0"/>
                        </a:rPr>
                        <a:t>Héloïse Fabre + Othman Ben Jemaa</a:t>
                      </a:r>
                    </a:p>
                  </a:txBody>
                  <a:tcPr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1836467"/>
                  </a:ext>
                </a:extLst>
              </a:tr>
            </a:tbl>
          </a:graphicData>
        </a:graphic>
      </p:graphicFrame>
      <p:graphicFrame>
        <p:nvGraphicFramePr>
          <p:cNvPr id="32" name="Tableau 31">
            <a:extLst>
              <a:ext uri="{FF2B5EF4-FFF2-40B4-BE49-F238E27FC236}">
                <a16:creationId xmlns:a16="http://schemas.microsoft.com/office/drawing/2014/main" id="{85014368-4DB6-071A-9473-5099D7714B9B}"/>
              </a:ext>
            </a:extLst>
          </p:cNvPr>
          <p:cNvGraphicFramePr>
            <a:graphicFrameLocks noGrp="1"/>
          </p:cNvGraphicFramePr>
          <p:nvPr/>
        </p:nvGraphicFramePr>
        <p:xfrm>
          <a:off x="6505152" y="4058439"/>
          <a:ext cx="2549968" cy="437760"/>
        </p:xfrm>
        <a:graphic>
          <a:graphicData uri="http://schemas.openxmlformats.org/drawingml/2006/table">
            <a:tbl>
              <a:tblPr firstRow="1" bandRow="1"/>
              <a:tblGrid>
                <a:gridCol w="1001679">
                  <a:extLst>
                    <a:ext uri="{9D8B030D-6E8A-4147-A177-3AD203B41FA5}">
                      <a16:colId xmlns:a16="http://schemas.microsoft.com/office/drawing/2014/main" val="3996293728"/>
                    </a:ext>
                  </a:extLst>
                </a:gridCol>
                <a:gridCol w="1548289">
                  <a:extLst>
                    <a:ext uri="{9D8B030D-6E8A-4147-A177-3AD203B41FA5}">
                      <a16:colId xmlns:a16="http://schemas.microsoft.com/office/drawing/2014/main" val="2483845328"/>
                    </a:ext>
                  </a:extLst>
                </a:gridCol>
              </a:tblGrid>
              <a:tr h="437760">
                <a:tc>
                  <a:txBody>
                    <a:bodyPr/>
                    <a:lstStyle>
                      <a:lvl1pPr marL="0" algn="l" defTabSz="609585" rtl="0" eaLnBrk="1" latinLnBrk="0" hangingPunct="1">
                        <a:defRPr sz="2400" b="1" kern="1200">
                          <a:solidFill>
                            <a:schemeClr val="lt1"/>
                          </a:solidFill>
                          <a:latin typeface="Calibri"/>
                        </a:defRPr>
                      </a:lvl1pPr>
                      <a:lvl2pPr marL="609585" algn="l" defTabSz="609585" rtl="0" eaLnBrk="1" latinLnBrk="0" hangingPunct="1">
                        <a:defRPr sz="2400" b="1" kern="1200">
                          <a:solidFill>
                            <a:schemeClr val="lt1"/>
                          </a:solidFill>
                          <a:latin typeface="Calibri"/>
                        </a:defRPr>
                      </a:lvl2pPr>
                      <a:lvl3pPr marL="1219170" algn="l" defTabSz="609585" rtl="0" eaLnBrk="1" latinLnBrk="0" hangingPunct="1">
                        <a:defRPr sz="2400" b="1" kern="1200">
                          <a:solidFill>
                            <a:schemeClr val="lt1"/>
                          </a:solidFill>
                          <a:latin typeface="Calibri"/>
                        </a:defRPr>
                      </a:lvl3pPr>
                      <a:lvl4pPr marL="1828754" algn="l" defTabSz="609585" rtl="0" eaLnBrk="1" latinLnBrk="0" hangingPunct="1">
                        <a:defRPr sz="2400" b="1" kern="1200">
                          <a:solidFill>
                            <a:schemeClr val="lt1"/>
                          </a:solidFill>
                          <a:latin typeface="Calibri"/>
                        </a:defRPr>
                      </a:lvl4pPr>
                      <a:lvl5pPr marL="2438339" algn="l" defTabSz="609585" rtl="0" eaLnBrk="1" latinLnBrk="0" hangingPunct="1">
                        <a:defRPr sz="2400" b="1" kern="1200">
                          <a:solidFill>
                            <a:schemeClr val="lt1"/>
                          </a:solidFill>
                          <a:latin typeface="Calibri"/>
                        </a:defRPr>
                      </a:lvl5pPr>
                      <a:lvl6pPr marL="3047924" algn="l" defTabSz="609585" rtl="0" eaLnBrk="1" latinLnBrk="0" hangingPunct="1">
                        <a:defRPr sz="2400" b="1" kern="1200">
                          <a:solidFill>
                            <a:schemeClr val="lt1"/>
                          </a:solidFill>
                          <a:latin typeface="Calibri"/>
                        </a:defRPr>
                      </a:lvl6pPr>
                      <a:lvl7pPr marL="3657509" algn="l" defTabSz="609585" rtl="0" eaLnBrk="1" latinLnBrk="0" hangingPunct="1">
                        <a:defRPr sz="2400" b="1" kern="1200">
                          <a:solidFill>
                            <a:schemeClr val="lt1"/>
                          </a:solidFill>
                          <a:latin typeface="Calibri"/>
                        </a:defRPr>
                      </a:lvl7pPr>
                      <a:lvl8pPr marL="4267093" algn="l" defTabSz="609585" rtl="0" eaLnBrk="1" latinLnBrk="0" hangingPunct="1">
                        <a:defRPr sz="2400" b="1" kern="1200">
                          <a:solidFill>
                            <a:schemeClr val="lt1"/>
                          </a:solidFill>
                          <a:latin typeface="Calibri"/>
                        </a:defRPr>
                      </a:lvl8pPr>
                      <a:lvl9pPr marL="4876678" algn="l" defTabSz="609585" rtl="0" eaLnBrk="1" latinLnBrk="0" hangingPunct="1">
                        <a:defRPr sz="2400" b="1" kern="1200">
                          <a:solidFill>
                            <a:schemeClr val="lt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noProof="0">
                          <a:solidFill>
                            <a:schemeClr val="tx1"/>
                          </a:solidFill>
                          <a:latin typeface="Arial" pitchFamily="34" charset="0"/>
                        </a:rPr>
                        <a:t>Data Engineer</a:t>
                      </a:r>
                    </a:p>
                  </a:txBody>
                  <a:tcPr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7FD7D6"/>
                    </a:solidFill>
                  </a:tcPr>
                </a:tc>
                <a:tc>
                  <a:txBody>
                    <a:bodyPr/>
                    <a:lstStyle>
                      <a:lvl1pPr marL="0" algn="l" defTabSz="609585" rtl="0" eaLnBrk="1" latinLnBrk="0" hangingPunct="1">
                        <a:defRPr sz="2400" b="1" kern="1200">
                          <a:solidFill>
                            <a:schemeClr val="lt1"/>
                          </a:solidFill>
                          <a:latin typeface="Calibri"/>
                        </a:defRPr>
                      </a:lvl1pPr>
                      <a:lvl2pPr marL="609585" algn="l" defTabSz="609585" rtl="0" eaLnBrk="1" latinLnBrk="0" hangingPunct="1">
                        <a:defRPr sz="2400" b="1" kern="1200">
                          <a:solidFill>
                            <a:schemeClr val="lt1"/>
                          </a:solidFill>
                          <a:latin typeface="Calibri"/>
                        </a:defRPr>
                      </a:lvl2pPr>
                      <a:lvl3pPr marL="1219170" algn="l" defTabSz="609585" rtl="0" eaLnBrk="1" latinLnBrk="0" hangingPunct="1">
                        <a:defRPr sz="2400" b="1" kern="1200">
                          <a:solidFill>
                            <a:schemeClr val="lt1"/>
                          </a:solidFill>
                          <a:latin typeface="Calibri"/>
                        </a:defRPr>
                      </a:lvl3pPr>
                      <a:lvl4pPr marL="1828754" algn="l" defTabSz="609585" rtl="0" eaLnBrk="1" latinLnBrk="0" hangingPunct="1">
                        <a:defRPr sz="2400" b="1" kern="1200">
                          <a:solidFill>
                            <a:schemeClr val="lt1"/>
                          </a:solidFill>
                          <a:latin typeface="Calibri"/>
                        </a:defRPr>
                      </a:lvl4pPr>
                      <a:lvl5pPr marL="2438339" algn="l" defTabSz="609585" rtl="0" eaLnBrk="1" latinLnBrk="0" hangingPunct="1">
                        <a:defRPr sz="2400" b="1" kern="1200">
                          <a:solidFill>
                            <a:schemeClr val="lt1"/>
                          </a:solidFill>
                          <a:latin typeface="Calibri"/>
                        </a:defRPr>
                      </a:lvl5pPr>
                      <a:lvl6pPr marL="3047924" algn="l" defTabSz="609585" rtl="0" eaLnBrk="1" latinLnBrk="0" hangingPunct="1">
                        <a:defRPr sz="2400" b="1" kern="1200">
                          <a:solidFill>
                            <a:schemeClr val="lt1"/>
                          </a:solidFill>
                          <a:latin typeface="Calibri"/>
                        </a:defRPr>
                      </a:lvl6pPr>
                      <a:lvl7pPr marL="3657509" algn="l" defTabSz="609585" rtl="0" eaLnBrk="1" latinLnBrk="0" hangingPunct="1">
                        <a:defRPr sz="2400" b="1" kern="1200">
                          <a:solidFill>
                            <a:schemeClr val="lt1"/>
                          </a:solidFill>
                          <a:latin typeface="Calibri"/>
                        </a:defRPr>
                      </a:lvl7pPr>
                      <a:lvl8pPr marL="4267093" algn="l" defTabSz="609585" rtl="0" eaLnBrk="1" latinLnBrk="0" hangingPunct="1">
                        <a:defRPr sz="2400" b="1" kern="1200">
                          <a:solidFill>
                            <a:schemeClr val="lt1"/>
                          </a:solidFill>
                          <a:latin typeface="Calibri"/>
                        </a:defRPr>
                      </a:lvl8pPr>
                      <a:lvl9pPr marL="4876678" algn="l" defTabSz="609585" rtl="0" eaLnBrk="1" latinLnBrk="0" hangingPunct="1">
                        <a:defRPr sz="2400" b="1" kern="1200">
                          <a:solidFill>
                            <a:schemeClr val="lt1"/>
                          </a:solidFill>
                          <a:latin typeface="Calibri"/>
                        </a:defRPr>
                      </a:lvl9pPr>
                    </a:lstStyle>
                    <a:p>
                      <a:pPr fontAlgn="base">
                        <a:lnSpc>
                          <a:spcPct val="90000"/>
                        </a:lnSpc>
                        <a:spcBef>
                          <a:spcPct val="0"/>
                        </a:spcBef>
                        <a:spcAft>
                          <a:spcPct val="0"/>
                        </a:spcAft>
                      </a:pPr>
                      <a:r>
                        <a:rPr lang="fr-FR" sz="1200" b="0">
                          <a:solidFill>
                            <a:schemeClr val="tx1"/>
                          </a:solidFill>
                          <a:latin typeface="Arial" pitchFamily="34" charset="0"/>
                        </a:rPr>
                        <a:t>Aida </a:t>
                      </a:r>
                      <a:r>
                        <a:rPr lang="fr-FR" sz="1200" b="0" err="1">
                          <a:solidFill>
                            <a:schemeClr val="tx1"/>
                          </a:solidFill>
                          <a:latin typeface="Arial" pitchFamily="34" charset="0"/>
                        </a:rPr>
                        <a:t>Romdhane</a:t>
                      </a:r>
                      <a:endParaRPr lang="fr-FR" sz="1200" b="0">
                        <a:solidFill>
                          <a:schemeClr val="tx1"/>
                        </a:solidFill>
                        <a:latin typeface="Arial" pitchFamily="34" charset="0"/>
                      </a:endParaRPr>
                    </a:p>
                  </a:txBody>
                  <a:tcPr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1836467"/>
                  </a:ext>
                </a:extLst>
              </a:tr>
            </a:tbl>
          </a:graphicData>
        </a:graphic>
      </p:graphicFrame>
      <p:graphicFrame>
        <p:nvGraphicFramePr>
          <p:cNvPr id="33" name="Tableau 32">
            <a:extLst>
              <a:ext uri="{FF2B5EF4-FFF2-40B4-BE49-F238E27FC236}">
                <a16:creationId xmlns:a16="http://schemas.microsoft.com/office/drawing/2014/main" id="{5CA868EC-F521-37DA-E931-3CB179768A79}"/>
              </a:ext>
            </a:extLst>
          </p:cNvPr>
          <p:cNvGraphicFramePr>
            <a:graphicFrameLocks noGrp="1"/>
          </p:cNvGraphicFramePr>
          <p:nvPr/>
        </p:nvGraphicFramePr>
        <p:xfrm>
          <a:off x="6505152" y="2587657"/>
          <a:ext cx="2549968" cy="437760"/>
        </p:xfrm>
        <a:graphic>
          <a:graphicData uri="http://schemas.openxmlformats.org/drawingml/2006/table">
            <a:tbl>
              <a:tblPr firstRow="1" bandRow="1"/>
              <a:tblGrid>
                <a:gridCol w="1024256">
                  <a:extLst>
                    <a:ext uri="{9D8B030D-6E8A-4147-A177-3AD203B41FA5}">
                      <a16:colId xmlns:a16="http://schemas.microsoft.com/office/drawing/2014/main" val="3996293728"/>
                    </a:ext>
                  </a:extLst>
                </a:gridCol>
                <a:gridCol w="1525712">
                  <a:extLst>
                    <a:ext uri="{9D8B030D-6E8A-4147-A177-3AD203B41FA5}">
                      <a16:colId xmlns:a16="http://schemas.microsoft.com/office/drawing/2014/main" val="2483845328"/>
                    </a:ext>
                  </a:extLst>
                </a:gridCol>
              </a:tblGrid>
              <a:tr h="437760">
                <a:tc>
                  <a:txBody>
                    <a:bodyPr/>
                    <a:lstStyle>
                      <a:lvl1pPr marL="0" algn="l" defTabSz="609585" rtl="0" eaLnBrk="1" latinLnBrk="0" hangingPunct="1">
                        <a:defRPr sz="2400" b="1" kern="1200">
                          <a:solidFill>
                            <a:schemeClr val="lt1"/>
                          </a:solidFill>
                          <a:latin typeface="Calibri"/>
                        </a:defRPr>
                      </a:lvl1pPr>
                      <a:lvl2pPr marL="609585" algn="l" defTabSz="609585" rtl="0" eaLnBrk="1" latinLnBrk="0" hangingPunct="1">
                        <a:defRPr sz="2400" b="1" kern="1200">
                          <a:solidFill>
                            <a:schemeClr val="lt1"/>
                          </a:solidFill>
                          <a:latin typeface="Calibri"/>
                        </a:defRPr>
                      </a:lvl2pPr>
                      <a:lvl3pPr marL="1219170" algn="l" defTabSz="609585" rtl="0" eaLnBrk="1" latinLnBrk="0" hangingPunct="1">
                        <a:defRPr sz="2400" b="1" kern="1200">
                          <a:solidFill>
                            <a:schemeClr val="lt1"/>
                          </a:solidFill>
                          <a:latin typeface="Calibri"/>
                        </a:defRPr>
                      </a:lvl3pPr>
                      <a:lvl4pPr marL="1828754" algn="l" defTabSz="609585" rtl="0" eaLnBrk="1" latinLnBrk="0" hangingPunct="1">
                        <a:defRPr sz="2400" b="1" kern="1200">
                          <a:solidFill>
                            <a:schemeClr val="lt1"/>
                          </a:solidFill>
                          <a:latin typeface="Calibri"/>
                        </a:defRPr>
                      </a:lvl4pPr>
                      <a:lvl5pPr marL="2438339" algn="l" defTabSz="609585" rtl="0" eaLnBrk="1" latinLnBrk="0" hangingPunct="1">
                        <a:defRPr sz="2400" b="1" kern="1200">
                          <a:solidFill>
                            <a:schemeClr val="lt1"/>
                          </a:solidFill>
                          <a:latin typeface="Calibri"/>
                        </a:defRPr>
                      </a:lvl5pPr>
                      <a:lvl6pPr marL="3047924" algn="l" defTabSz="609585" rtl="0" eaLnBrk="1" latinLnBrk="0" hangingPunct="1">
                        <a:defRPr sz="2400" b="1" kern="1200">
                          <a:solidFill>
                            <a:schemeClr val="lt1"/>
                          </a:solidFill>
                          <a:latin typeface="Calibri"/>
                        </a:defRPr>
                      </a:lvl6pPr>
                      <a:lvl7pPr marL="3657509" algn="l" defTabSz="609585" rtl="0" eaLnBrk="1" latinLnBrk="0" hangingPunct="1">
                        <a:defRPr sz="2400" b="1" kern="1200">
                          <a:solidFill>
                            <a:schemeClr val="lt1"/>
                          </a:solidFill>
                          <a:latin typeface="Calibri"/>
                        </a:defRPr>
                      </a:lvl7pPr>
                      <a:lvl8pPr marL="4267093" algn="l" defTabSz="609585" rtl="0" eaLnBrk="1" latinLnBrk="0" hangingPunct="1">
                        <a:defRPr sz="2400" b="1" kern="1200">
                          <a:solidFill>
                            <a:schemeClr val="lt1"/>
                          </a:solidFill>
                          <a:latin typeface="Calibri"/>
                        </a:defRPr>
                      </a:lvl8pPr>
                      <a:lvl9pPr marL="4876678" algn="l" defTabSz="609585" rtl="0" eaLnBrk="1" latinLnBrk="0" hangingPunct="1">
                        <a:defRPr sz="2400" b="1" kern="1200">
                          <a:solidFill>
                            <a:schemeClr val="lt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noProof="0">
                          <a:solidFill>
                            <a:schemeClr val="tx1"/>
                          </a:solidFill>
                          <a:latin typeface="Arial" pitchFamily="34" charset="0"/>
                        </a:rPr>
                        <a:t>Data factory lead</a:t>
                      </a:r>
                    </a:p>
                  </a:txBody>
                  <a:tcPr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lumMod val="20000"/>
                        <a:lumOff val="80000"/>
                      </a:schemeClr>
                    </a:solidFill>
                  </a:tcPr>
                </a:tc>
                <a:tc>
                  <a:txBody>
                    <a:bodyPr/>
                    <a:lstStyle>
                      <a:lvl1pPr marL="0" algn="l" defTabSz="609585" rtl="0" eaLnBrk="1" latinLnBrk="0" hangingPunct="1">
                        <a:defRPr sz="2400" b="1" kern="1200">
                          <a:solidFill>
                            <a:schemeClr val="lt1"/>
                          </a:solidFill>
                          <a:latin typeface="Calibri"/>
                        </a:defRPr>
                      </a:lvl1pPr>
                      <a:lvl2pPr marL="609585" algn="l" defTabSz="609585" rtl="0" eaLnBrk="1" latinLnBrk="0" hangingPunct="1">
                        <a:defRPr sz="2400" b="1" kern="1200">
                          <a:solidFill>
                            <a:schemeClr val="lt1"/>
                          </a:solidFill>
                          <a:latin typeface="Calibri"/>
                        </a:defRPr>
                      </a:lvl2pPr>
                      <a:lvl3pPr marL="1219170" algn="l" defTabSz="609585" rtl="0" eaLnBrk="1" latinLnBrk="0" hangingPunct="1">
                        <a:defRPr sz="2400" b="1" kern="1200">
                          <a:solidFill>
                            <a:schemeClr val="lt1"/>
                          </a:solidFill>
                          <a:latin typeface="Calibri"/>
                        </a:defRPr>
                      </a:lvl3pPr>
                      <a:lvl4pPr marL="1828754" algn="l" defTabSz="609585" rtl="0" eaLnBrk="1" latinLnBrk="0" hangingPunct="1">
                        <a:defRPr sz="2400" b="1" kern="1200">
                          <a:solidFill>
                            <a:schemeClr val="lt1"/>
                          </a:solidFill>
                          <a:latin typeface="Calibri"/>
                        </a:defRPr>
                      </a:lvl4pPr>
                      <a:lvl5pPr marL="2438339" algn="l" defTabSz="609585" rtl="0" eaLnBrk="1" latinLnBrk="0" hangingPunct="1">
                        <a:defRPr sz="2400" b="1" kern="1200">
                          <a:solidFill>
                            <a:schemeClr val="lt1"/>
                          </a:solidFill>
                          <a:latin typeface="Calibri"/>
                        </a:defRPr>
                      </a:lvl5pPr>
                      <a:lvl6pPr marL="3047924" algn="l" defTabSz="609585" rtl="0" eaLnBrk="1" latinLnBrk="0" hangingPunct="1">
                        <a:defRPr sz="2400" b="1" kern="1200">
                          <a:solidFill>
                            <a:schemeClr val="lt1"/>
                          </a:solidFill>
                          <a:latin typeface="Calibri"/>
                        </a:defRPr>
                      </a:lvl6pPr>
                      <a:lvl7pPr marL="3657509" algn="l" defTabSz="609585" rtl="0" eaLnBrk="1" latinLnBrk="0" hangingPunct="1">
                        <a:defRPr sz="2400" b="1" kern="1200">
                          <a:solidFill>
                            <a:schemeClr val="lt1"/>
                          </a:solidFill>
                          <a:latin typeface="Calibri"/>
                        </a:defRPr>
                      </a:lvl7pPr>
                      <a:lvl8pPr marL="4267093" algn="l" defTabSz="609585" rtl="0" eaLnBrk="1" latinLnBrk="0" hangingPunct="1">
                        <a:defRPr sz="2400" b="1" kern="1200">
                          <a:solidFill>
                            <a:schemeClr val="lt1"/>
                          </a:solidFill>
                          <a:latin typeface="Calibri"/>
                        </a:defRPr>
                      </a:lvl8pPr>
                      <a:lvl9pPr marL="4876678" algn="l" defTabSz="609585" rtl="0" eaLnBrk="1" latinLnBrk="0" hangingPunct="1">
                        <a:defRPr sz="2400" b="1" kern="1200">
                          <a:solidFill>
                            <a:schemeClr val="lt1"/>
                          </a:solidFill>
                          <a:latin typeface="Calibri"/>
                        </a:defRPr>
                      </a:lvl9pPr>
                    </a:lstStyle>
                    <a:p>
                      <a:pPr fontAlgn="base">
                        <a:lnSpc>
                          <a:spcPct val="90000"/>
                        </a:lnSpc>
                        <a:spcBef>
                          <a:spcPct val="0"/>
                        </a:spcBef>
                        <a:spcAft>
                          <a:spcPct val="0"/>
                        </a:spcAft>
                      </a:pPr>
                      <a:r>
                        <a:rPr lang="fr-FR" sz="1200" b="0">
                          <a:solidFill>
                            <a:schemeClr val="tx1"/>
                          </a:solidFill>
                          <a:latin typeface="Arial" pitchFamily="34" charset="0"/>
                        </a:rPr>
                        <a:t>Camille </a:t>
                      </a:r>
                      <a:r>
                        <a:rPr lang="fr-FR" sz="1200" b="0" err="1">
                          <a:solidFill>
                            <a:schemeClr val="tx1"/>
                          </a:solidFill>
                          <a:latin typeface="Arial" pitchFamily="34" charset="0"/>
                        </a:rPr>
                        <a:t>Vaneenoge</a:t>
                      </a:r>
                      <a:endParaRPr lang="fr-FR" sz="1200" b="0">
                        <a:solidFill>
                          <a:schemeClr val="tx1"/>
                        </a:solidFill>
                        <a:latin typeface="Arial" pitchFamily="34" charset="0"/>
                      </a:endParaRPr>
                    </a:p>
                  </a:txBody>
                  <a:tcPr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1836467"/>
                  </a:ext>
                </a:extLst>
              </a:tr>
            </a:tbl>
          </a:graphicData>
        </a:graphic>
      </p:graphicFrame>
      <p:sp>
        <p:nvSpPr>
          <p:cNvPr id="34" name="Title 2">
            <a:extLst>
              <a:ext uri="{FF2B5EF4-FFF2-40B4-BE49-F238E27FC236}">
                <a16:creationId xmlns:a16="http://schemas.microsoft.com/office/drawing/2014/main" id="{208F2906-400F-4580-1392-F956DBE29CD9}"/>
              </a:ext>
            </a:extLst>
          </p:cNvPr>
          <p:cNvSpPr txBox="1">
            <a:spLocks/>
          </p:cNvSpPr>
          <p:nvPr/>
        </p:nvSpPr>
        <p:spPr bwMode="auto">
          <a:xfrm>
            <a:off x="9262868" y="1732541"/>
            <a:ext cx="2640003" cy="317419"/>
          </a:xfrm>
          <a:prstGeom prst="rect">
            <a:avLst/>
          </a:prstGeom>
          <a:solidFill>
            <a:srgbClr val="6AB4FF"/>
          </a:solidFill>
          <a:ln>
            <a:noFill/>
          </a:ln>
          <a:effectLst/>
          <a:extLst>
            <a:ext uri="{FAA26D3D-D897-4be2-8F04-BA451C77F1D7}">
              <ma14:placeholderFlag xmlns="" xmlns:ma14="http://schemas.microsoft.com/office/mac/drawingml/2011/main" val="1"/>
            </a:ext>
          </a:extLst>
        </p:spPr>
        <p:txBody>
          <a:bodyPr vert="horz" wrap="square" lIns="0" tIns="45720" rIns="91440" bIns="45720" numCol="1" anchor="ctr" anchorCtr="0" compatLnSpc="1">
            <a:prstTxWarp prst="textNoShape">
              <a:avLst/>
            </a:prstTxWarp>
          </a:bodyPr>
          <a:lstStyle>
            <a:lvl1pPr algn="l" rtl="0" eaLnBrk="0" fontAlgn="base" hangingPunct="0">
              <a:lnSpc>
                <a:spcPct val="90000"/>
              </a:lnSpc>
              <a:spcBef>
                <a:spcPct val="0"/>
              </a:spcBef>
              <a:spcAft>
                <a:spcPct val="0"/>
              </a:spcAft>
              <a:defRPr sz="2200">
                <a:solidFill>
                  <a:schemeClr val="tx2"/>
                </a:solidFill>
                <a:latin typeface="+mj-lt"/>
                <a:ea typeface="+mj-ea"/>
                <a:cs typeface="+mj-cs"/>
              </a:defRPr>
            </a:lvl1pPr>
            <a:lvl2pPr algn="l" rtl="0" eaLnBrk="0" fontAlgn="base" hangingPunct="0">
              <a:lnSpc>
                <a:spcPct val="90000"/>
              </a:lnSpc>
              <a:spcBef>
                <a:spcPct val="0"/>
              </a:spcBef>
              <a:spcAft>
                <a:spcPct val="0"/>
              </a:spcAft>
              <a:defRPr sz="2200">
                <a:solidFill>
                  <a:schemeClr val="tx2"/>
                </a:solidFill>
                <a:latin typeface="Arial" pitchFamily="34" charset="0"/>
              </a:defRPr>
            </a:lvl2pPr>
            <a:lvl3pPr algn="l" rtl="0" eaLnBrk="0" fontAlgn="base" hangingPunct="0">
              <a:lnSpc>
                <a:spcPct val="90000"/>
              </a:lnSpc>
              <a:spcBef>
                <a:spcPct val="0"/>
              </a:spcBef>
              <a:spcAft>
                <a:spcPct val="0"/>
              </a:spcAft>
              <a:defRPr sz="2200">
                <a:solidFill>
                  <a:schemeClr val="tx2"/>
                </a:solidFill>
                <a:latin typeface="Arial" pitchFamily="34" charset="0"/>
              </a:defRPr>
            </a:lvl3pPr>
            <a:lvl4pPr algn="l" rtl="0" eaLnBrk="0" fontAlgn="base" hangingPunct="0">
              <a:lnSpc>
                <a:spcPct val="90000"/>
              </a:lnSpc>
              <a:spcBef>
                <a:spcPct val="0"/>
              </a:spcBef>
              <a:spcAft>
                <a:spcPct val="0"/>
              </a:spcAft>
              <a:defRPr sz="2200">
                <a:solidFill>
                  <a:schemeClr val="tx2"/>
                </a:solidFill>
                <a:latin typeface="Arial" pitchFamily="34" charset="0"/>
              </a:defRPr>
            </a:lvl4pPr>
            <a:lvl5pPr algn="l" rtl="0" eaLnBrk="0" fontAlgn="base" hangingPunct="0">
              <a:lnSpc>
                <a:spcPct val="90000"/>
              </a:lnSpc>
              <a:spcBef>
                <a:spcPct val="0"/>
              </a:spcBef>
              <a:spcAft>
                <a:spcPct val="0"/>
              </a:spcAft>
              <a:defRPr sz="2200">
                <a:solidFill>
                  <a:schemeClr val="tx2"/>
                </a:solidFill>
                <a:latin typeface="Arial" pitchFamily="34" charset="0"/>
              </a:defRPr>
            </a:lvl5pPr>
            <a:lvl6pPr marL="457200" algn="l" rtl="0" fontAlgn="base">
              <a:lnSpc>
                <a:spcPct val="90000"/>
              </a:lnSpc>
              <a:spcBef>
                <a:spcPct val="0"/>
              </a:spcBef>
              <a:spcAft>
                <a:spcPct val="0"/>
              </a:spcAft>
              <a:defRPr sz="2200">
                <a:solidFill>
                  <a:schemeClr val="tx1"/>
                </a:solidFill>
                <a:latin typeface="Arial" pitchFamily="34" charset="0"/>
              </a:defRPr>
            </a:lvl6pPr>
            <a:lvl7pPr marL="914400" algn="l" rtl="0" fontAlgn="base">
              <a:lnSpc>
                <a:spcPct val="90000"/>
              </a:lnSpc>
              <a:spcBef>
                <a:spcPct val="0"/>
              </a:spcBef>
              <a:spcAft>
                <a:spcPct val="0"/>
              </a:spcAft>
              <a:defRPr sz="2200">
                <a:solidFill>
                  <a:schemeClr val="tx1"/>
                </a:solidFill>
                <a:latin typeface="Arial" pitchFamily="34" charset="0"/>
              </a:defRPr>
            </a:lvl7pPr>
            <a:lvl8pPr marL="1371600" algn="l" rtl="0" fontAlgn="base">
              <a:lnSpc>
                <a:spcPct val="90000"/>
              </a:lnSpc>
              <a:spcBef>
                <a:spcPct val="0"/>
              </a:spcBef>
              <a:spcAft>
                <a:spcPct val="0"/>
              </a:spcAft>
              <a:defRPr sz="2200">
                <a:solidFill>
                  <a:schemeClr val="tx1"/>
                </a:solidFill>
                <a:latin typeface="Arial" pitchFamily="34" charset="0"/>
              </a:defRPr>
            </a:lvl8pPr>
            <a:lvl9pPr marL="1828800" algn="l" rtl="0" fontAlgn="base">
              <a:lnSpc>
                <a:spcPct val="90000"/>
              </a:lnSpc>
              <a:spcBef>
                <a:spcPct val="0"/>
              </a:spcBef>
              <a:spcAft>
                <a:spcPct val="0"/>
              </a:spcAft>
              <a:defRPr sz="2200">
                <a:solidFill>
                  <a:schemeClr val="tx1"/>
                </a:solidFill>
                <a:latin typeface="Arial" pitchFamily="34" charset="0"/>
              </a:defRPr>
            </a:lvl9pPr>
          </a:lstStyle>
          <a:p>
            <a:pPr algn="ctr"/>
            <a:r>
              <a:rPr lang="en-US" sz="1200" b="1" kern="0">
                <a:solidFill>
                  <a:srgbClr val="004489"/>
                </a:solidFill>
                <a:latin typeface="Arial" panose="020B0604020202020204" pitchFamily="34" charset="0"/>
                <a:cs typeface="Arial" panose="020B0604020202020204" pitchFamily="34" charset="0"/>
              </a:rPr>
              <a:t>Data office team</a:t>
            </a:r>
          </a:p>
        </p:txBody>
      </p:sp>
      <p:grpSp>
        <p:nvGrpSpPr>
          <p:cNvPr id="20" name="Groupe 19">
            <a:extLst>
              <a:ext uri="{FF2B5EF4-FFF2-40B4-BE49-F238E27FC236}">
                <a16:creationId xmlns:a16="http://schemas.microsoft.com/office/drawing/2014/main" id="{CE41B1AF-5E48-3B81-E139-703BDA458E20}"/>
              </a:ext>
            </a:extLst>
          </p:cNvPr>
          <p:cNvGrpSpPr/>
          <p:nvPr/>
        </p:nvGrpSpPr>
        <p:grpSpPr>
          <a:xfrm>
            <a:off x="1121453" y="6429738"/>
            <a:ext cx="1600080" cy="307583"/>
            <a:chOff x="841090" y="4822295"/>
            <a:chExt cx="1200060" cy="230687"/>
          </a:xfrm>
        </p:grpSpPr>
        <p:sp>
          <p:nvSpPr>
            <p:cNvPr id="4" name="Ellipse 3">
              <a:extLst>
                <a:ext uri="{FF2B5EF4-FFF2-40B4-BE49-F238E27FC236}">
                  <a16:creationId xmlns:a16="http://schemas.microsoft.com/office/drawing/2014/main" id="{2B03F184-D4D5-3F61-C0DB-1114CB5AA33B}"/>
                </a:ext>
              </a:extLst>
            </p:cNvPr>
            <p:cNvSpPr/>
            <p:nvPr/>
          </p:nvSpPr>
          <p:spPr>
            <a:xfrm>
              <a:off x="841090" y="4837828"/>
              <a:ext cx="215154" cy="215154"/>
            </a:xfrm>
            <a:prstGeom prst="ellipse">
              <a:avLst/>
            </a:prstGeom>
            <a:solidFill>
              <a:srgbClr val="86D5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prstClr val="white"/>
                </a:solidFill>
                <a:latin typeface="Graphik" panose="020B0503030202060203" pitchFamily="34" charset="0"/>
              </a:endParaRPr>
            </a:p>
          </p:txBody>
        </p:sp>
        <p:sp>
          <p:nvSpPr>
            <p:cNvPr id="9" name="ZoneTexte 8">
              <a:extLst>
                <a:ext uri="{FF2B5EF4-FFF2-40B4-BE49-F238E27FC236}">
                  <a16:creationId xmlns:a16="http://schemas.microsoft.com/office/drawing/2014/main" id="{7B4957D9-D264-27E1-B741-584BDEF0FCF4}"/>
                </a:ext>
              </a:extLst>
            </p:cNvPr>
            <p:cNvSpPr txBox="1"/>
            <p:nvPr/>
          </p:nvSpPr>
          <p:spPr>
            <a:xfrm>
              <a:off x="1058445" y="4822295"/>
              <a:ext cx="982705" cy="223091"/>
            </a:xfrm>
            <a:prstGeom prst="rect">
              <a:avLst/>
            </a:prstGeom>
            <a:noFill/>
          </p:spPr>
          <p:txBody>
            <a:bodyPr wrap="square" rtlCol="0">
              <a:spAutoFit/>
            </a:bodyPr>
            <a:lstStyle/>
            <a:p>
              <a:r>
                <a:rPr lang="en-US" sz="1333"/>
                <a:t>Data Consumer</a:t>
              </a:r>
            </a:p>
          </p:txBody>
        </p:sp>
      </p:grpSp>
      <p:grpSp>
        <p:nvGrpSpPr>
          <p:cNvPr id="18" name="Groupe 17">
            <a:extLst>
              <a:ext uri="{FF2B5EF4-FFF2-40B4-BE49-F238E27FC236}">
                <a16:creationId xmlns:a16="http://schemas.microsoft.com/office/drawing/2014/main" id="{583CCB0A-A1FA-4D5C-0B6A-782D34B91BC4}"/>
              </a:ext>
            </a:extLst>
          </p:cNvPr>
          <p:cNvGrpSpPr/>
          <p:nvPr/>
        </p:nvGrpSpPr>
        <p:grpSpPr>
          <a:xfrm>
            <a:off x="2796852" y="6429738"/>
            <a:ext cx="1441704" cy="307583"/>
            <a:chOff x="2867482" y="4822295"/>
            <a:chExt cx="1081278" cy="230687"/>
          </a:xfrm>
        </p:grpSpPr>
        <p:sp>
          <p:nvSpPr>
            <p:cNvPr id="5" name="Ellipse 4">
              <a:extLst>
                <a:ext uri="{FF2B5EF4-FFF2-40B4-BE49-F238E27FC236}">
                  <a16:creationId xmlns:a16="http://schemas.microsoft.com/office/drawing/2014/main" id="{72F991D3-8212-6643-9707-4097A0164A54}"/>
                </a:ext>
              </a:extLst>
            </p:cNvPr>
            <p:cNvSpPr/>
            <p:nvPr/>
          </p:nvSpPr>
          <p:spPr>
            <a:xfrm>
              <a:off x="2867482" y="4837828"/>
              <a:ext cx="215154" cy="215154"/>
            </a:xfrm>
            <a:prstGeom prst="ellipse">
              <a:avLst/>
            </a:prstGeom>
            <a:solidFill>
              <a:srgbClr val="7FD7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prstClr val="white"/>
                </a:solidFill>
                <a:latin typeface="Graphik" panose="020B0503030202060203" pitchFamily="34" charset="0"/>
              </a:endParaRPr>
            </a:p>
          </p:txBody>
        </p:sp>
        <p:sp>
          <p:nvSpPr>
            <p:cNvPr id="10" name="ZoneTexte 9">
              <a:extLst>
                <a:ext uri="{FF2B5EF4-FFF2-40B4-BE49-F238E27FC236}">
                  <a16:creationId xmlns:a16="http://schemas.microsoft.com/office/drawing/2014/main" id="{D2A5E52A-CE77-30CE-11B4-123D692B677F}"/>
                </a:ext>
              </a:extLst>
            </p:cNvPr>
            <p:cNvSpPr txBox="1"/>
            <p:nvPr/>
          </p:nvSpPr>
          <p:spPr>
            <a:xfrm>
              <a:off x="3036691" y="4822295"/>
              <a:ext cx="912069" cy="223091"/>
            </a:xfrm>
            <a:prstGeom prst="rect">
              <a:avLst/>
            </a:prstGeom>
            <a:noFill/>
          </p:spPr>
          <p:txBody>
            <a:bodyPr wrap="square" rtlCol="0">
              <a:spAutoFit/>
            </a:bodyPr>
            <a:lstStyle/>
            <a:p>
              <a:r>
                <a:rPr lang="en-US" sz="1333"/>
                <a:t>Data Producer</a:t>
              </a:r>
            </a:p>
          </p:txBody>
        </p:sp>
      </p:grpSp>
      <p:grpSp>
        <p:nvGrpSpPr>
          <p:cNvPr id="15" name="Groupe 14">
            <a:extLst>
              <a:ext uri="{FF2B5EF4-FFF2-40B4-BE49-F238E27FC236}">
                <a16:creationId xmlns:a16="http://schemas.microsoft.com/office/drawing/2014/main" id="{71426106-EEAA-ECFF-9D52-D6069A13B8C9}"/>
              </a:ext>
            </a:extLst>
          </p:cNvPr>
          <p:cNvGrpSpPr/>
          <p:nvPr/>
        </p:nvGrpSpPr>
        <p:grpSpPr>
          <a:xfrm>
            <a:off x="4313875" y="6429738"/>
            <a:ext cx="1502964" cy="307583"/>
            <a:chOff x="4775092" y="4822295"/>
            <a:chExt cx="1127223" cy="230687"/>
          </a:xfrm>
        </p:grpSpPr>
        <p:sp>
          <p:nvSpPr>
            <p:cNvPr id="3" name="Ellipse 2">
              <a:extLst>
                <a:ext uri="{FF2B5EF4-FFF2-40B4-BE49-F238E27FC236}">
                  <a16:creationId xmlns:a16="http://schemas.microsoft.com/office/drawing/2014/main" id="{4AE3BD43-332E-5E98-1C9B-027F3A505E96}"/>
                </a:ext>
              </a:extLst>
            </p:cNvPr>
            <p:cNvSpPr/>
            <p:nvPr/>
          </p:nvSpPr>
          <p:spPr>
            <a:xfrm>
              <a:off x="4775092" y="4837828"/>
              <a:ext cx="215154" cy="215154"/>
            </a:xfrm>
            <a:prstGeom prst="ellipse">
              <a:avLst/>
            </a:prstGeom>
            <a:solidFill>
              <a:srgbClr val="FF8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prstClr val="white"/>
                </a:solidFill>
                <a:latin typeface="Graphik" panose="020B0503030202060203" pitchFamily="34" charset="0"/>
              </a:endParaRPr>
            </a:p>
          </p:txBody>
        </p:sp>
        <p:sp>
          <p:nvSpPr>
            <p:cNvPr id="11" name="ZoneTexte 10">
              <a:extLst>
                <a:ext uri="{FF2B5EF4-FFF2-40B4-BE49-F238E27FC236}">
                  <a16:creationId xmlns:a16="http://schemas.microsoft.com/office/drawing/2014/main" id="{D779B5CA-81D7-AA54-61D5-DF6FA8B4E041}"/>
                </a:ext>
              </a:extLst>
            </p:cNvPr>
            <p:cNvSpPr txBox="1"/>
            <p:nvPr/>
          </p:nvSpPr>
          <p:spPr>
            <a:xfrm>
              <a:off x="4990246" y="4822295"/>
              <a:ext cx="912069" cy="223091"/>
            </a:xfrm>
            <a:prstGeom prst="rect">
              <a:avLst/>
            </a:prstGeom>
            <a:noFill/>
          </p:spPr>
          <p:txBody>
            <a:bodyPr wrap="square" rtlCol="0">
              <a:spAutoFit/>
            </a:bodyPr>
            <a:lstStyle/>
            <a:p>
              <a:r>
                <a:rPr lang="en-US" sz="1333"/>
                <a:t>Data Office</a:t>
              </a:r>
            </a:p>
          </p:txBody>
        </p:sp>
      </p:grpSp>
      <p:grpSp>
        <p:nvGrpSpPr>
          <p:cNvPr id="14" name="Groupe 13">
            <a:extLst>
              <a:ext uri="{FF2B5EF4-FFF2-40B4-BE49-F238E27FC236}">
                <a16:creationId xmlns:a16="http://schemas.microsoft.com/office/drawing/2014/main" id="{2B31A1A8-B7F3-F8E0-8A41-6E6CFB1A960D}"/>
              </a:ext>
            </a:extLst>
          </p:cNvPr>
          <p:cNvGrpSpPr/>
          <p:nvPr/>
        </p:nvGrpSpPr>
        <p:grpSpPr>
          <a:xfrm>
            <a:off x="5892157" y="6409026"/>
            <a:ext cx="1525465" cy="308995"/>
            <a:chOff x="6801483" y="4822295"/>
            <a:chExt cx="1144099" cy="231746"/>
          </a:xfrm>
        </p:grpSpPr>
        <p:sp>
          <p:nvSpPr>
            <p:cNvPr id="8" name="Ellipse 7">
              <a:extLst>
                <a:ext uri="{FF2B5EF4-FFF2-40B4-BE49-F238E27FC236}">
                  <a16:creationId xmlns:a16="http://schemas.microsoft.com/office/drawing/2014/main" id="{6390102F-AF02-9BB1-C689-47BDD98DD102}"/>
                </a:ext>
              </a:extLst>
            </p:cNvPr>
            <p:cNvSpPr/>
            <p:nvPr/>
          </p:nvSpPr>
          <p:spPr>
            <a:xfrm>
              <a:off x="6801483" y="4836769"/>
              <a:ext cx="217272" cy="217272"/>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prstClr val="white"/>
                </a:solidFill>
                <a:latin typeface="Graphik" panose="020B0503030202060203" pitchFamily="34" charset="0"/>
              </a:endParaRPr>
            </a:p>
          </p:txBody>
        </p:sp>
        <p:sp>
          <p:nvSpPr>
            <p:cNvPr id="12" name="ZoneTexte 11">
              <a:extLst>
                <a:ext uri="{FF2B5EF4-FFF2-40B4-BE49-F238E27FC236}">
                  <a16:creationId xmlns:a16="http://schemas.microsoft.com/office/drawing/2014/main" id="{6C06289D-D3B5-3F6D-6ABC-899FC0787D01}"/>
                </a:ext>
              </a:extLst>
            </p:cNvPr>
            <p:cNvSpPr txBox="1"/>
            <p:nvPr/>
          </p:nvSpPr>
          <p:spPr>
            <a:xfrm>
              <a:off x="7033513" y="4822295"/>
              <a:ext cx="912069" cy="223091"/>
            </a:xfrm>
            <a:prstGeom prst="rect">
              <a:avLst/>
            </a:prstGeom>
            <a:noFill/>
          </p:spPr>
          <p:txBody>
            <a:bodyPr wrap="square" rtlCol="0">
              <a:spAutoFit/>
            </a:bodyPr>
            <a:lstStyle/>
            <a:p>
              <a:r>
                <a:rPr lang="en-US" sz="1333"/>
                <a:t>Transversal</a:t>
              </a:r>
            </a:p>
          </p:txBody>
        </p:sp>
      </p:grpSp>
      <p:graphicFrame>
        <p:nvGraphicFramePr>
          <p:cNvPr id="21" name="Tableau 20">
            <a:extLst>
              <a:ext uri="{FF2B5EF4-FFF2-40B4-BE49-F238E27FC236}">
                <a16:creationId xmlns:a16="http://schemas.microsoft.com/office/drawing/2014/main" id="{DB0410B8-04E7-9707-CD52-203AC8966C4E}"/>
              </a:ext>
            </a:extLst>
          </p:cNvPr>
          <p:cNvGraphicFramePr>
            <a:graphicFrameLocks noGrp="1"/>
          </p:cNvGraphicFramePr>
          <p:nvPr/>
        </p:nvGraphicFramePr>
        <p:xfrm>
          <a:off x="3680120" y="2103277"/>
          <a:ext cx="2549968" cy="524628"/>
        </p:xfrm>
        <a:graphic>
          <a:graphicData uri="http://schemas.openxmlformats.org/drawingml/2006/table">
            <a:tbl>
              <a:tblPr firstRow="1" bandRow="1"/>
              <a:tblGrid>
                <a:gridCol w="1024256">
                  <a:extLst>
                    <a:ext uri="{9D8B030D-6E8A-4147-A177-3AD203B41FA5}">
                      <a16:colId xmlns:a16="http://schemas.microsoft.com/office/drawing/2014/main" val="3996293728"/>
                    </a:ext>
                  </a:extLst>
                </a:gridCol>
                <a:gridCol w="1525712">
                  <a:extLst>
                    <a:ext uri="{9D8B030D-6E8A-4147-A177-3AD203B41FA5}">
                      <a16:colId xmlns:a16="http://schemas.microsoft.com/office/drawing/2014/main" val="2483845328"/>
                    </a:ext>
                  </a:extLst>
                </a:gridCol>
              </a:tblGrid>
              <a:tr h="510912">
                <a:tc>
                  <a:txBody>
                    <a:bodyPr/>
                    <a:lstStyle>
                      <a:lvl1pPr marL="0" algn="l" defTabSz="609585" rtl="0" eaLnBrk="1" latinLnBrk="0" hangingPunct="1">
                        <a:defRPr sz="2400" b="1" kern="1200">
                          <a:solidFill>
                            <a:schemeClr val="lt1"/>
                          </a:solidFill>
                          <a:latin typeface="Calibri"/>
                        </a:defRPr>
                      </a:lvl1pPr>
                      <a:lvl2pPr marL="609585" algn="l" defTabSz="609585" rtl="0" eaLnBrk="1" latinLnBrk="0" hangingPunct="1">
                        <a:defRPr sz="2400" b="1" kern="1200">
                          <a:solidFill>
                            <a:schemeClr val="lt1"/>
                          </a:solidFill>
                          <a:latin typeface="Calibri"/>
                        </a:defRPr>
                      </a:lvl2pPr>
                      <a:lvl3pPr marL="1219170" algn="l" defTabSz="609585" rtl="0" eaLnBrk="1" latinLnBrk="0" hangingPunct="1">
                        <a:defRPr sz="2400" b="1" kern="1200">
                          <a:solidFill>
                            <a:schemeClr val="lt1"/>
                          </a:solidFill>
                          <a:latin typeface="Calibri"/>
                        </a:defRPr>
                      </a:lvl3pPr>
                      <a:lvl4pPr marL="1828754" algn="l" defTabSz="609585" rtl="0" eaLnBrk="1" latinLnBrk="0" hangingPunct="1">
                        <a:defRPr sz="2400" b="1" kern="1200">
                          <a:solidFill>
                            <a:schemeClr val="lt1"/>
                          </a:solidFill>
                          <a:latin typeface="Calibri"/>
                        </a:defRPr>
                      </a:lvl4pPr>
                      <a:lvl5pPr marL="2438339" algn="l" defTabSz="609585" rtl="0" eaLnBrk="1" latinLnBrk="0" hangingPunct="1">
                        <a:defRPr sz="2400" b="1" kern="1200">
                          <a:solidFill>
                            <a:schemeClr val="lt1"/>
                          </a:solidFill>
                          <a:latin typeface="Calibri"/>
                        </a:defRPr>
                      </a:lvl5pPr>
                      <a:lvl6pPr marL="3047924" algn="l" defTabSz="609585" rtl="0" eaLnBrk="1" latinLnBrk="0" hangingPunct="1">
                        <a:defRPr sz="2400" b="1" kern="1200">
                          <a:solidFill>
                            <a:schemeClr val="lt1"/>
                          </a:solidFill>
                          <a:latin typeface="Calibri"/>
                        </a:defRPr>
                      </a:lvl6pPr>
                      <a:lvl7pPr marL="3657509" algn="l" defTabSz="609585" rtl="0" eaLnBrk="1" latinLnBrk="0" hangingPunct="1">
                        <a:defRPr sz="2400" b="1" kern="1200">
                          <a:solidFill>
                            <a:schemeClr val="lt1"/>
                          </a:solidFill>
                          <a:latin typeface="Calibri"/>
                        </a:defRPr>
                      </a:lvl7pPr>
                      <a:lvl8pPr marL="4267093" algn="l" defTabSz="609585" rtl="0" eaLnBrk="1" latinLnBrk="0" hangingPunct="1">
                        <a:defRPr sz="2400" b="1" kern="1200">
                          <a:solidFill>
                            <a:schemeClr val="lt1"/>
                          </a:solidFill>
                          <a:latin typeface="Calibri"/>
                        </a:defRPr>
                      </a:lvl8pPr>
                      <a:lvl9pPr marL="4876678" algn="l" defTabSz="609585" rtl="0" eaLnBrk="1" latinLnBrk="0" hangingPunct="1">
                        <a:defRPr sz="2400" b="1" kern="1200">
                          <a:solidFill>
                            <a:schemeClr val="lt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noProof="0">
                          <a:solidFill>
                            <a:schemeClr val="tx1"/>
                          </a:solidFill>
                          <a:latin typeface="Arial" pitchFamily="34" charset="0"/>
                        </a:rPr>
                        <a:t>IT Sponsor</a:t>
                      </a:r>
                    </a:p>
                  </a:txBody>
                  <a:tcPr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lumMod val="20000"/>
                        <a:lumOff val="80000"/>
                      </a:schemeClr>
                    </a:solidFill>
                  </a:tcPr>
                </a:tc>
                <a:tc>
                  <a:txBody>
                    <a:bodyPr/>
                    <a:lstStyle>
                      <a:lvl1pPr marL="0" algn="l" defTabSz="609585" rtl="0" eaLnBrk="1" latinLnBrk="0" hangingPunct="1">
                        <a:defRPr sz="2400" b="1" kern="1200">
                          <a:solidFill>
                            <a:schemeClr val="lt1"/>
                          </a:solidFill>
                          <a:latin typeface="Calibri"/>
                        </a:defRPr>
                      </a:lvl1pPr>
                      <a:lvl2pPr marL="609585" algn="l" defTabSz="609585" rtl="0" eaLnBrk="1" latinLnBrk="0" hangingPunct="1">
                        <a:defRPr sz="2400" b="1" kern="1200">
                          <a:solidFill>
                            <a:schemeClr val="lt1"/>
                          </a:solidFill>
                          <a:latin typeface="Calibri"/>
                        </a:defRPr>
                      </a:lvl2pPr>
                      <a:lvl3pPr marL="1219170" algn="l" defTabSz="609585" rtl="0" eaLnBrk="1" latinLnBrk="0" hangingPunct="1">
                        <a:defRPr sz="2400" b="1" kern="1200">
                          <a:solidFill>
                            <a:schemeClr val="lt1"/>
                          </a:solidFill>
                          <a:latin typeface="Calibri"/>
                        </a:defRPr>
                      </a:lvl3pPr>
                      <a:lvl4pPr marL="1828754" algn="l" defTabSz="609585" rtl="0" eaLnBrk="1" latinLnBrk="0" hangingPunct="1">
                        <a:defRPr sz="2400" b="1" kern="1200">
                          <a:solidFill>
                            <a:schemeClr val="lt1"/>
                          </a:solidFill>
                          <a:latin typeface="Calibri"/>
                        </a:defRPr>
                      </a:lvl4pPr>
                      <a:lvl5pPr marL="2438339" algn="l" defTabSz="609585" rtl="0" eaLnBrk="1" latinLnBrk="0" hangingPunct="1">
                        <a:defRPr sz="2400" b="1" kern="1200">
                          <a:solidFill>
                            <a:schemeClr val="lt1"/>
                          </a:solidFill>
                          <a:latin typeface="Calibri"/>
                        </a:defRPr>
                      </a:lvl5pPr>
                      <a:lvl6pPr marL="3047924" algn="l" defTabSz="609585" rtl="0" eaLnBrk="1" latinLnBrk="0" hangingPunct="1">
                        <a:defRPr sz="2400" b="1" kern="1200">
                          <a:solidFill>
                            <a:schemeClr val="lt1"/>
                          </a:solidFill>
                          <a:latin typeface="Calibri"/>
                        </a:defRPr>
                      </a:lvl6pPr>
                      <a:lvl7pPr marL="3657509" algn="l" defTabSz="609585" rtl="0" eaLnBrk="1" latinLnBrk="0" hangingPunct="1">
                        <a:defRPr sz="2400" b="1" kern="1200">
                          <a:solidFill>
                            <a:schemeClr val="lt1"/>
                          </a:solidFill>
                          <a:latin typeface="Calibri"/>
                        </a:defRPr>
                      </a:lvl7pPr>
                      <a:lvl8pPr marL="4267093" algn="l" defTabSz="609585" rtl="0" eaLnBrk="1" latinLnBrk="0" hangingPunct="1">
                        <a:defRPr sz="2400" b="1" kern="1200">
                          <a:solidFill>
                            <a:schemeClr val="lt1"/>
                          </a:solidFill>
                          <a:latin typeface="Calibri"/>
                        </a:defRPr>
                      </a:lvl8pPr>
                      <a:lvl9pPr marL="4876678" algn="l" defTabSz="609585" rtl="0" eaLnBrk="1" latinLnBrk="0" hangingPunct="1">
                        <a:defRPr sz="2400" b="1" kern="1200">
                          <a:solidFill>
                            <a:schemeClr val="lt1"/>
                          </a:solidFill>
                          <a:latin typeface="Calibri"/>
                        </a:defRPr>
                      </a:lvl9pPr>
                    </a:lstStyle>
                    <a:p>
                      <a:pPr lvl="0">
                        <a:lnSpc>
                          <a:spcPct val="90000"/>
                        </a:lnSpc>
                        <a:spcBef>
                          <a:spcPct val="0"/>
                        </a:spcBef>
                        <a:spcAft>
                          <a:spcPct val="0"/>
                        </a:spcAft>
                        <a:buNone/>
                      </a:pPr>
                      <a:r>
                        <a:rPr lang="fr-FR" sz="1100" b="0">
                          <a:solidFill>
                            <a:schemeClr val="tx1"/>
                          </a:solidFill>
                          <a:latin typeface="Arial"/>
                        </a:rPr>
                        <a:t>Christophe </a:t>
                      </a:r>
                      <a:r>
                        <a:rPr lang="fr-FR" sz="1100" b="0" err="1">
                          <a:solidFill>
                            <a:schemeClr val="tx1"/>
                          </a:solidFill>
                          <a:latin typeface="Arial"/>
                        </a:rPr>
                        <a:t>Charoy</a:t>
                      </a:r>
                      <a:r>
                        <a:rPr lang="fr-FR" sz="1100" b="0">
                          <a:solidFill>
                            <a:schemeClr val="tx1"/>
                          </a:solidFill>
                          <a:latin typeface="Arial"/>
                        </a:rPr>
                        <a:t> + Jean-Baptiste Delaunay</a:t>
                      </a:r>
                      <a:endParaRPr lang="fr-FR" sz="2700" b="0"/>
                    </a:p>
                  </a:txBody>
                  <a:tcPr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1836467"/>
                  </a:ext>
                </a:extLst>
              </a:tr>
            </a:tbl>
          </a:graphicData>
        </a:graphic>
      </p:graphicFrame>
      <p:sp>
        <p:nvSpPr>
          <p:cNvPr id="24" name="ZoneTexte 23">
            <a:extLst>
              <a:ext uri="{FF2B5EF4-FFF2-40B4-BE49-F238E27FC236}">
                <a16:creationId xmlns:a16="http://schemas.microsoft.com/office/drawing/2014/main" id="{BC30C256-AAB2-48C3-B327-9E4E522E0F2A}"/>
              </a:ext>
            </a:extLst>
          </p:cNvPr>
          <p:cNvSpPr txBox="1"/>
          <p:nvPr/>
        </p:nvSpPr>
        <p:spPr>
          <a:xfrm>
            <a:off x="7262271" y="6409016"/>
            <a:ext cx="3148083" cy="297454"/>
          </a:xfrm>
          <a:prstGeom prst="rect">
            <a:avLst/>
          </a:prstGeom>
          <a:noFill/>
        </p:spPr>
        <p:txBody>
          <a:bodyPr wrap="square" rtlCol="0">
            <a:spAutoFit/>
          </a:bodyPr>
          <a:lstStyle/>
          <a:p>
            <a:r>
              <a:rPr lang="en-US" sz="1333"/>
              <a:t>* The Data steward is the project manager</a:t>
            </a:r>
          </a:p>
        </p:txBody>
      </p:sp>
      <p:graphicFrame>
        <p:nvGraphicFramePr>
          <p:cNvPr id="23" name="Tableau 80">
            <a:extLst>
              <a:ext uri="{FF2B5EF4-FFF2-40B4-BE49-F238E27FC236}">
                <a16:creationId xmlns:a16="http://schemas.microsoft.com/office/drawing/2014/main" id="{730DC798-9B7E-DF03-F6CC-D655A26596B5}"/>
              </a:ext>
            </a:extLst>
          </p:cNvPr>
          <p:cNvGraphicFramePr>
            <a:graphicFrameLocks noGrp="1"/>
          </p:cNvGraphicFramePr>
          <p:nvPr/>
        </p:nvGraphicFramePr>
        <p:xfrm>
          <a:off x="757675" y="2149897"/>
          <a:ext cx="2549968" cy="875520"/>
        </p:xfrm>
        <a:graphic>
          <a:graphicData uri="http://schemas.openxmlformats.org/drawingml/2006/table">
            <a:tbl>
              <a:tblPr firstRow="1" bandRow="1"/>
              <a:tblGrid>
                <a:gridCol w="946712">
                  <a:extLst>
                    <a:ext uri="{9D8B030D-6E8A-4147-A177-3AD203B41FA5}">
                      <a16:colId xmlns:a16="http://schemas.microsoft.com/office/drawing/2014/main" val="3996293728"/>
                    </a:ext>
                  </a:extLst>
                </a:gridCol>
                <a:gridCol w="1603256">
                  <a:extLst>
                    <a:ext uri="{9D8B030D-6E8A-4147-A177-3AD203B41FA5}">
                      <a16:colId xmlns:a16="http://schemas.microsoft.com/office/drawing/2014/main" val="2483845328"/>
                    </a:ext>
                  </a:extLst>
                </a:gridCol>
              </a:tblGrid>
              <a:tr h="437760">
                <a:tc>
                  <a:txBody>
                    <a:bodyPr/>
                    <a:lstStyle>
                      <a:lvl1pPr marL="0" algn="l" defTabSz="609585" rtl="0" eaLnBrk="1" latinLnBrk="0" hangingPunct="1">
                        <a:defRPr sz="2400" b="1" kern="1200">
                          <a:solidFill>
                            <a:schemeClr val="lt1"/>
                          </a:solidFill>
                          <a:latin typeface="Calibri"/>
                        </a:defRPr>
                      </a:lvl1pPr>
                      <a:lvl2pPr marL="609585" algn="l" defTabSz="609585" rtl="0" eaLnBrk="1" latinLnBrk="0" hangingPunct="1">
                        <a:defRPr sz="2400" b="1" kern="1200">
                          <a:solidFill>
                            <a:schemeClr val="lt1"/>
                          </a:solidFill>
                          <a:latin typeface="Calibri"/>
                        </a:defRPr>
                      </a:lvl2pPr>
                      <a:lvl3pPr marL="1219170" algn="l" defTabSz="609585" rtl="0" eaLnBrk="1" latinLnBrk="0" hangingPunct="1">
                        <a:defRPr sz="2400" b="1" kern="1200">
                          <a:solidFill>
                            <a:schemeClr val="lt1"/>
                          </a:solidFill>
                          <a:latin typeface="Calibri"/>
                        </a:defRPr>
                      </a:lvl3pPr>
                      <a:lvl4pPr marL="1828754" algn="l" defTabSz="609585" rtl="0" eaLnBrk="1" latinLnBrk="0" hangingPunct="1">
                        <a:defRPr sz="2400" b="1" kern="1200">
                          <a:solidFill>
                            <a:schemeClr val="lt1"/>
                          </a:solidFill>
                          <a:latin typeface="Calibri"/>
                        </a:defRPr>
                      </a:lvl4pPr>
                      <a:lvl5pPr marL="2438339" algn="l" defTabSz="609585" rtl="0" eaLnBrk="1" latinLnBrk="0" hangingPunct="1">
                        <a:defRPr sz="2400" b="1" kern="1200">
                          <a:solidFill>
                            <a:schemeClr val="lt1"/>
                          </a:solidFill>
                          <a:latin typeface="Calibri"/>
                        </a:defRPr>
                      </a:lvl5pPr>
                      <a:lvl6pPr marL="3047924" algn="l" defTabSz="609585" rtl="0" eaLnBrk="1" latinLnBrk="0" hangingPunct="1">
                        <a:defRPr sz="2400" b="1" kern="1200">
                          <a:solidFill>
                            <a:schemeClr val="lt1"/>
                          </a:solidFill>
                          <a:latin typeface="Calibri"/>
                        </a:defRPr>
                      </a:lvl6pPr>
                      <a:lvl7pPr marL="3657509" algn="l" defTabSz="609585" rtl="0" eaLnBrk="1" latinLnBrk="0" hangingPunct="1">
                        <a:defRPr sz="2400" b="1" kern="1200">
                          <a:solidFill>
                            <a:schemeClr val="lt1"/>
                          </a:solidFill>
                          <a:latin typeface="Calibri"/>
                        </a:defRPr>
                      </a:lvl7pPr>
                      <a:lvl8pPr marL="4267093" algn="l" defTabSz="609585" rtl="0" eaLnBrk="1" latinLnBrk="0" hangingPunct="1">
                        <a:defRPr sz="2400" b="1" kern="1200">
                          <a:solidFill>
                            <a:schemeClr val="lt1"/>
                          </a:solidFill>
                          <a:latin typeface="Calibri"/>
                        </a:defRPr>
                      </a:lvl8pPr>
                      <a:lvl9pPr marL="4876678" algn="l" defTabSz="609585" rtl="0" eaLnBrk="1" latinLnBrk="0" hangingPunct="1">
                        <a:defRPr sz="2400" b="1" kern="1200">
                          <a:solidFill>
                            <a:schemeClr val="lt1"/>
                          </a:solidFill>
                          <a:latin typeface="Calibri"/>
                        </a:defRPr>
                      </a:lvl9pPr>
                    </a:lstStyle>
                    <a:p>
                      <a:pPr marL="0" marR="0" lvl="0" indent="0" algn="l" rtl="0" eaLnBrk="1" fontAlgn="auto" latinLnBrk="0" hangingPunct="1">
                        <a:lnSpc>
                          <a:spcPct val="100000"/>
                        </a:lnSpc>
                        <a:spcBef>
                          <a:spcPts val="0"/>
                        </a:spcBef>
                        <a:spcAft>
                          <a:spcPts val="0"/>
                        </a:spcAft>
                        <a:buClrTx/>
                        <a:buSzTx/>
                        <a:buFontTx/>
                        <a:buNone/>
                      </a:pPr>
                      <a:r>
                        <a:rPr lang="fr-FR" sz="1200" b="0">
                          <a:solidFill>
                            <a:schemeClr val="tx1"/>
                          </a:solidFill>
                          <a:latin typeface="Arial"/>
                        </a:rPr>
                        <a:t>Business Sponsor</a:t>
                      </a:r>
                      <a:endParaRPr lang="fr-FR" sz="1200" b="0">
                        <a:solidFill>
                          <a:schemeClr val="tx1"/>
                        </a:solidFill>
                        <a:latin typeface="Arial" pitchFamily="34" charset="0"/>
                      </a:endParaRPr>
                    </a:p>
                  </a:txBody>
                  <a:tcPr marT="36000" marB="36000" anchor="ctr">
                    <a:lnL w="12700" cmpd="sng">
                      <a:noFill/>
                    </a:lnL>
                    <a:lnR w="12700" cmpd="sng">
                      <a:noFill/>
                    </a:lnR>
                    <a:lnT w="12700" cmpd="sng">
                      <a:noFill/>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lvl1pPr marL="0" algn="l" defTabSz="609585" rtl="0" eaLnBrk="1" latinLnBrk="0" hangingPunct="1">
                        <a:defRPr sz="2400" b="1" kern="1200">
                          <a:solidFill>
                            <a:schemeClr val="lt1"/>
                          </a:solidFill>
                          <a:latin typeface="Calibri"/>
                        </a:defRPr>
                      </a:lvl1pPr>
                      <a:lvl2pPr marL="609585" algn="l" defTabSz="609585" rtl="0" eaLnBrk="1" latinLnBrk="0" hangingPunct="1">
                        <a:defRPr sz="2400" b="1" kern="1200">
                          <a:solidFill>
                            <a:schemeClr val="lt1"/>
                          </a:solidFill>
                          <a:latin typeface="Calibri"/>
                        </a:defRPr>
                      </a:lvl2pPr>
                      <a:lvl3pPr marL="1219170" algn="l" defTabSz="609585" rtl="0" eaLnBrk="1" latinLnBrk="0" hangingPunct="1">
                        <a:defRPr sz="2400" b="1" kern="1200">
                          <a:solidFill>
                            <a:schemeClr val="lt1"/>
                          </a:solidFill>
                          <a:latin typeface="Calibri"/>
                        </a:defRPr>
                      </a:lvl3pPr>
                      <a:lvl4pPr marL="1828754" algn="l" defTabSz="609585" rtl="0" eaLnBrk="1" latinLnBrk="0" hangingPunct="1">
                        <a:defRPr sz="2400" b="1" kern="1200">
                          <a:solidFill>
                            <a:schemeClr val="lt1"/>
                          </a:solidFill>
                          <a:latin typeface="Calibri"/>
                        </a:defRPr>
                      </a:lvl4pPr>
                      <a:lvl5pPr marL="2438339" algn="l" defTabSz="609585" rtl="0" eaLnBrk="1" latinLnBrk="0" hangingPunct="1">
                        <a:defRPr sz="2400" b="1" kern="1200">
                          <a:solidFill>
                            <a:schemeClr val="lt1"/>
                          </a:solidFill>
                          <a:latin typeface="Calibri"/>
                        </a:defRPr>
                      </a:lvl5pPr>
                      <a:lvl6pPr marL="3047924" algn="l" defTabSz="609585" rtl="0" eaLnBrk="1" latinLnBrk="0" hangingPunct="1">
                        <a:defRPr sz="2400" b="1" kern="1200">
                          <a:solidFill>
                            <a:schemeClr val="lt1"/>
                          </a:solidFill>
                          <a:latin typeface="Calibri"/>
                        </a:defRPr>
                      </a:lvl6pPr>
                      <a:lvl7pPr marL="3657509" algn="l" defTabSz="609585" rtl="0" eaLnBrk="1" latinLnBrk="0" hangingPunct="1">
                        <a:defRPr sz="2400" b="1" kern="1200">
                          <a:solidFill>
                            <a:schemeClr val="lt1"/>
                          </a:solidFill>
                          <a:latin typeface="Calibri"/>
                        </a:defRPr>
                      </a:lvl7pPr>
                      <a:lvl8pPr marL="4267093" algn="l" defTabSz="609585" rtl="0" eaLnBrk="1" latinLnBrk="0" hangingPunct="1">
                        <a:defRPr sz="2400" b="1" kern="1200">
                          <a:solidFill>
                            <a:schemeClr val="lt1"/>
                          </a:solidFill>
                          <a:latin typeface="Calibri"/>
                        </a:defRPr>
                      </a:lvl8pPr>
                      <a:lvl9pPr marL="4876678" algn="l" defTabSz="609585" rtl="0" eaLnBrk="1" latinLnBrk="0" hangingPunct="1">
                        <a:defRPr sz="2400" b="1" kern="1200">
                          <a:solidFill>
                            <a:schemeClr val="lt1"/>
                          </a:solidFill>
                          <a:latin typeface="Calibri"/>
                        </a:defRPr>
                      </a:lvl9pPr>
                    </a:lstStyle>
                    <a:p>
                      <a:pPr fontAlgn="base">
                        <a:lnSpc>
                          <a:spcPct val="90000"/>
                        </a:lnSpc>
                        <a:spcBef>
                          <a:spcPct val="0"/>
                        </a:spcBef>
                        <a:spcAft>
                          <a:spcPct val="0"/>
                        </a:spcAft>
                      </a:pPr>
                      <a:r>
                        <a:rPr lang="fr-FR" sz="1200" b="0">
                          <a:solidFill>
                            <a:schemeClr val="tx1"/>
                          </a:solidFill>
                          <a:latin typeface="Arial" pitchFamily="34" charset="0"/>
                        </a:rPr>
                        <a:t>Franck Dupont + Christophe Persoz</a:t>
                      </a:r>
                    </a:p>
                  </a:txBody>
                  <a:tcPr marT="36000" marB="36000" anchor="ctr">
                    <a:lnL w="12700" cmpd="sng">
                      <a:noFill/>
                    </a:lnL>
                    <a:lnR w="12700" cmpd="sng">
                      <a:noFill/>
                    </a:lnR>
                    <a:lnT w="12700" cmpd="sng">
                      <a:noFill/>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1836467"/>
                  </a:ext>
                </a:extLst>
              </a:tr>
              <a:tr h="437760">
                <a:tc>
                  <a:txBody>
                    <a:bodyPr/>
                    <a:lstStyle>
                      <a:lvl1pPr marL="0" algn="l" defTabSz="609585" rtl="0" eaLnBrk="1" latinLnBrk="0" hangingPunct="1">
                        <a:defRPr sz="2400" b="1" kern="1200">
                          <a:solidFill>
                            <a:schemeClr val="lt1"/>
                          </a:solidFill>
                          <a:latin typeface="Calibri"/>
                        </a:defRPr>
                      </a:lvl1pPr>
                      <a:lvl2pPr marL="609585" algn="l" defTabSz="609585" rtl="0" eaLnBrk="1" latinLnBrk="0" hangingPunct="1">
                        <a:defRPr sz="2400" b="1" kern="1200">
                          <a:solidFill>
                            <a:schemeClr val="lt1"/>
                          </a:solidFill>
                          <a:latin typeface="Calibri"/>
                        </a:defRPr>
                      </a:lvl2pPr>
                      <a:lvl3pPr marL="1219170" algn="l" defTabSz="609585" rtl="0" eaLnBrk="1" latinLnBrk="0" hangingPunct="1">
                        <a:defRPr sz="2400" b="1" kern="1200">
                          <a:solidFill>
                            <a:schemeClr val="lt1"/>
                          </a:solidFill>
                          <a:latin typeface="Calibri"/>
                        </a:defRPr>
                      </a:lvl3pPr>
                      <a:lvl4pPr marL="1828754" algn="l" defTabSz="609585" rtl="0" eaLnBrk="1" latinLnBrk="0" hangingPunct="1">
                        <a:defRPr sz="2400" b="1" kern="1200">
                          <a:solidFill>
                            <a:schemeClr val="lt1"/>
                          </a:solidFill>
                          <a:latin typeface="Calibri"/>
                        </a:defRPr>
                      </a:lvl4pPr>
                      <a:lvl5pPr marL="2438339" algn="l" defTabSz="609585" rtl="0" eaLnBrk="1" latinLnBrk="0" hangingPunct="1">
                        <a:defRPr sz="2400" b="1" kern="1200">
                          <a:solidFill>
                            <a:schemeClr val="lt1"/>
                          </a:solidFill>
                          <a:latin typeface="Calibri"/>
                        </a:defRPr>
                      </a:lvl5pPr>
                      <a:lvl6pPr marL="3047924" algn="l" defTabSz="609585" rtl="0" eaLnBrk="1" latinLnBrk="0" hangingPunct="1">
                        <a:defRPr sz="2400" b="1" kern="1200">
                          <a:solidFill>
                            <a:schemeClr val="lt1"/>
                          </a:solidFill>
                          <a:latin typeface="Calibri"/>
                        </a:defRPr>
                      </a:lvl6pPr>
                      <a:lvl7pPr marL="3657509" algn="l" defTabSz="609585" rtl="0" eaLnBrk="1" latinLnBrk="0" hangingPunct="1">
                        <a:defRPr sz="2400" b="1" kern="1200">
                          <a:solidFill>
                            <a:schemeClr val="lt1"/>
                          </a:solidFill>
                          <a:latin typeface="Calibri"/>
                        </a:defRPr>
                      </a:lvl7pPr>
                      <a:lvl8pPr marL="4267093" algn="l" defTabSz="609585" rtl="0" eaLnBrk="1" latinLnBrk="0" hangingPunct="1">
                        <a:defRPr sz="2400" b="1" kern="1200">
                          <a:solidFill>
                            <a:schemeClr val="lt1"/>
                          </a:solidFill>
                          <a:latin typeface="Calibri"/>
                        </a:defRPr>
                      </a:lvl8pPr>
                      <a:lvl9pPr marL="4876678" algn="l" defTabSz="609585" rtl="0" eaLnBrk="1" latinLnBrk="0" hangingPunct="1">
                        <a:defRPr sz="2400" b="1" kern="1200">
                          <a:solidFill>
                            <a:schemeClr val="lt1"/>
                          </a:solidFill>
                          <a:latin typeface="Calibri"/>
                        </a:defRPr>
                      </a:lvl9pPr>
                    </a:lstStyle>
                    <a:p>
                      <a:pPr marL="0" marR="0" lvl="0" indent="0" algn="l" rtl="0" eaLnBrk="1" fontAlgn="auto" latinLnBrk="0" hangingPunct="1">
                        <a:lnSpc>
                          <a:spcPct val="100000"/>
                        </a:lnSpc>
                        <a:spcBef>
                          <a:spcPts val="0"/>
                        </a:spcBef>
                        <a:spcAft>
                          <a:spcPts val="0"/>
                        </a:spcAft>
                        <a:buClrTx/>
                        <a:buSzTx/>
                        <a:buFontTx/>
                        <a:buNone/>
                      </a:pPr>
                      <a:r>
                        <a:rPr lang="fr-FR" sz="1200" b="0">
                          <a:solidFill>
                            <a:schemeClr val="tx1"/>
                          </a:solidFill>
                          <a:latin typeface="Arial"/>
                        </a:rPr>
                        <a:t>Business Lead</a:t>
                      </a:r>
                      <a:endParaRPr lang="fr-FR" sz="1200" b="0">
                        <a:solidFill>
                          <a:schemeClr val="tx1"/>
                        </a:solidFill>
                        <a:latin typeface="Arial" pitchFamily="34" charset="0"/>
                      </a:endParaRPr>
                    </a:p>
                  </a:txBody>
                  <a:tcPr marT="36000" marB="36000" anchor="ctr">
                    <a:lnL w="12700" cmpd="sng">
                      <a:noFill/>
                    </a:lnL>
                    <a:lnR w="12700" cmpd="sng">
                      <a:noFill/>
                    </a:lnR>
                    <a:lnT w="12700" cap="flat" cmpd="sng" algn="ctr">
                      <a:solidFill>
                        <a:sysClr val="window" lastClr="FFFFFF">
                          <a:lumMod val="65000"/>
                        </a:sysClr>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lumMod val="20000"/>
                        <a:lumOff val="80000"/>
                      </a:schemeClr>
                    </a:solidFill>
                  </a:tcPr>
                </a:tc>
                <a:tc>
                  <a:txBody>
                    <a:bodyPr/>
                    <a:lstStyle>
                      <a:lvl1pPr marL="0" algn="l" defTabSz="609585" rtl="0" eaLnBrk="1" latinLnBrk="0" hangingPunct="1">
                        <a:defRPr sz="2400" b="1" kern="1200">
                          <a:solidFill>
                            <a:schemeClr val="lt1"/>
                          </a:solidFill>
                          <a:latin typeface="Calibri"/>
                        </a:defRPr>
                      </a:lvl1pPr>
                      <a:lvl2pPr marL="609585" algn="l" defTabSz="609585" rtl="0" eaLnBrk="1" latinLnBrk="0" hangingPunct="1">
                        <a:defRPr sz="2400" b="1" kern="1200">
                          <a:solidFill>
                            <a:schemeClr val="lt1"/>
                          </a:solidFill>
                          <a:latin typeface="Calibri"/>
                        </a:defRPr>
                      </a:lvl2pPr>
                      <a:lvl3pPr marL="1219170" algn="l" defTabSz="609585" rtl="0" eaLnBrk="1" latinLnBrk="0" hangingPunct="1">
                        <a:defRPr sz="2400" b="1" kern="1200">
                          <a:solidFill>
                            <a:schemeClr val="lt1"/>
                          </a:solidFill>
                          <a:latin typeface="Calibri"/>
                        </a:defRPr>
                      </a:lvl3pPr>
                      <a:lvl4pPr marL="1828754" algn="l" defTabSz="609585" rtl="0" eaLnBrk="1" latinLnBrk="0" hangingPunct="1">
                        <a:defRPr sz="2400" b="1" kern="1200">
                          <a:solidFill>
                            <a:schemeClr val="lt1"/>
                          </a:solidFill>
                          <a:latin typeface="Calibri"/>
                        </a:defRPr>
                      </a:lvl4pPr>
                      <a:lvl5pPr marL="2438339" algn="l" defTabSz="609585" rtl="0" eaLnBrk="1" latinLnBrk="0" hangingPunct="1">
                        <a:defRPr sz="2400" b="1" kern="1200">
                          <a:solidFill>
                            <a:schemeClr val="lt1"/>
                          </a:solidFill>
                          <a:latin typeface="Calibri"/>
                        </a:defRPr>
                      </a:lvl5pPr>
                      <a:lvl6pPr marL="3047924" algn="l" defTabSz="609585" rtl="0" eaLnBrk="1" latinLnBrk="0" hangingPunct="1">
                        <a:defRPr sz="2400" b="1" kern="1200">
                          <a:solidFill>
                            <a:schemeClr val="lt1"/>
                          </a:solidFill>
                          <a:latin typeface="Calibri"/>
                        </a:defRPr>
                      </a:lvl6pPr>
                      <a:lvl7pPr marL="3657509" algn="l" defTabSz="609585" rtl="0" eaLnBrk="1" latinLnBrk="0" hangingPunct="1">
                        <a:defRPr sz="2400" b="1" kern="1200">
                          <a:solidFill>
                            <a:schemeClr val="lt1"/>
                          </a:solidFill>
                          <a:latin typeface="Calibri"/>
                        </a:defRPr>
                      </a:lvl7pPr>
                      <a:lvl8pPr marL="4267093" algn="l" defTabSz="609585" rtl="0" eaLnBrk="1" latinLnBrk="0" hangingPunct="1">
                        <a:defRPr sz="2400" b="1" kern="1200">
                          <a:solidFill>
                            <a:schemeClr val="lt1"/>
                          </a:solidFill>
                          <a:latin typeface="Calibri"/>
                        </a:defRPr>
                      </a:lvl8pPr>
                      <a:lvl9pPr marL="4876678" algn="l" defTabSz="609585" rtl="0" eaLnBrk="1" latinLnBrk="0" hangingPunct="1">
                        <a:defRPr sz="2400" b="1" kern="1200">
                          <a:solidFill>
                            <a:schemeClr val="lt1"/>
                          </a:solidFill>
                          <a:latin typeface="Calibri"/>
                        </a:defRPr>
                      </a:lvl9pPr>
                    </a:lstStyle>
                    <a:p>
                      <a:pPr fontAlgn="base">
                        <a:lnSpc>
                          <a:spcPct val="90000"/>
                        </a:lnSpc>
                        <a:spcBef>
                          <a:spcPct val="0"/>
                        </a:spcBef>
                        <a:spcAft>
                          <a:spcPct val="0"/>
                        </a:spcAft>
                      </a:pPr>
                      <a:r>
                        <a:rPr lang="fr-FR" sz="1200" b="0" err="1">
                          <a:solidFill>
                            <a:schemeClr val="tx1"/>
                          </a:solidFill>
                          <a:latin typeface="Arial" pitchFamily="34" charset="0"/>
                        </a:rPr>
                        <a:t>Graziela</a:t>
                      </a:r>
                      <a:r>
                        <a:rPr lang="fr-FR" sz="1200" b="0">
                          <a:solidFill>
                            <a:schemeClr val="tx1"/>
                          </a:solidFill>
                          <a:latin typeface="Arial" pitchFamily="34" charset="0"/>
                        </a:rPr>
                        <a:t> </a:t>
                      </a:r>
                      <a:r>
                        <a:rPr lang="fr-FR" sz="1200" b="0" err="1">
                          <a:solidFill>
                            <a:schemeClr val="tx1"/>
                          </a:solidFill>
                          <a:latin typeface="Arial" pitchFamily="34" charset="0"/>
                        </a:rPr>
                        <a:t>Alati</a:t>
                      </a:r>
                      <a:endParaRPr lang="fr-FR" sz="1200" b="0">
                        <a:solidFill>
                          <a:schemeClr val="tx1"/>
                        </a:solidFill>
                        <a:latin typeface="Arial" pitchFamily="34" charset="0"/>
                      </a:endParaRPr>
                    </a:p>
                  </a:txBody>
                  <a:tcPr marT="36000" marB="36000" anchor="ctr">
                    <a:lnL w="12700" cmpd="sng">
                      <a:noFill/>
                    </a:lnL>
                    <a:lnR w="12700" cmpd="sng">
                      <a:noFill/>
                    </a:lnR>
                    <a:lnT w="12700" cap="flat" cmpd="sng" algn="ctr">
                      <a:solidFill>
                        <a:sysClr val="window" lastClr="FFFFFF">
                          <a:lumMod val="65000"/>
                        </a:sysClr>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10879046"/>
                  </a:ext>
                </a:extLst>
              </a:tr>
            </a:tbl>
          </a:graphicData>
        </a:graphic>
      </p:graphicFrame>
    </p:spTree>
    <p:extLst>
      <p:ext uri="{BB962C8B-B14F-4D97-AF65-F5344CB8AC3E}">
        <p14:creationId xmlns:p14="http://schemas.microsoft.com/office/powerpoint/2010/main" val="3414067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576E01A-75AF-AECE-FE11-51D9066F11B6}"/>
              </a:ext>
            </a:extLst>
          </p:cNvPr>
          <p:cNvSpPr>
            <a:spLocks noGrp="1"/>
          </p:cNvSpPr>
          <p:nvPr>
            <p:ph type="title"/>
          </p:nvPr>
        </p:nvSpPr>
        <p:spPr/>
        <p:txBody>
          <a:bodyPr/>
          <a:lstStyle/>
          <a:p>
            <a:r>
              <a:rPr lang="en-US"/>
              <a:t>Example : HS Board use case</a:t>
            </a:r>
          </a:p>
        </p:txBody>
      </p:sp>
      <p:sp>
        <p:nvSpPr>
          <p:cNvPr id="6" name="Title 2">
            <a:extLst>
              <a:ext uri="{FF2B5EF4-FFF2-40B4-BE49-F238E27FC236}">
                <a16:creationId xmlns:a16="http://schemas.microsoft.com/office/drawing/2014/main" id="{3A6FC3C5-0588-AC42-A3A1-76C5B7E0EC1D}"/>
              </a:ext>
            </a:extLst>
          </p:cNvPr>
          <p:cNvSpPr txBox="1">
            <a:spLocks/>
          </p:cNvSpPr>
          <p:nvPr/>
        </p:nvSpPr>
        <p:spPr bwMode="auto">
          <a:xfrm>
            <a:off x="603973" y="1274623"/>
            <a:ext cx="2793980" cy="348163"/>
          </a:xfrm>
          <a:prstGeom prst="rect">
            <a:avLst/>
          </a:prstGeom>
          <a:solidFill>
            <a:srgbClr val="6AB4FF"/>
          </a:solidFill>
          <a:ln>
            <a:noFill/>
          </a:ln>
          <a:effectLst/>
          <a:extLst>
            <a:ext uri="{FAA26D3D-D897-4be2-8F04-BA451C77F1D7}">
              <ma14:placeholderFlag xmlns="" xmlns:ma14="http://schemas.microsoft.com/office/mac/drawingml/2011/main" val="1"/>
            </a:ext>
          </a:extLst>
        </p:spPr>
        <p:txBody>
          <a:bodyPr vert="horz" wrap="square" lIns="0" tIns="45720" rIns="91440" bIns="45720" numCol="1" anchor="ctr" anchorCtr="0" compatLnSpc="1">
            <a:prstTxWarp prst="textNoShape">
              <a:avLst/>
            </a:prstTxWarp>
          </a:bodyPr>
          <a:lstStyle>
            <a:defPPr>
              <a:defRPr lang="fr-FR"/>
            </a:defPPr>
            <a:lvl1pPr algn="ctr" eaLnBrk="0" fontAlgn="base" hangingPunct="0">
              <a:lnSpc>
                <a:spcPct val="90000"/>
              </a:lnSpc>
              <a:spcBef>
                <a:spcPct val="0"/>
              </a:spcBef>
              <a:spcAft>
                <a:spcPct val="0"/>
              </a:spcAft>
              <a:defRPr sz="2000" b="1" kern="0">
                <a:solidFill>
                  <a:schemeClr val="tx2"/>
                </a:solidFill>
                <a:latin typeface="Arial" panose="020B0604020202020204" pitchFamily="34" charset="0"/>
                <a:ea typeface="+mj-ea"/>
                <a:cs typeface="Arial" panose="020B0604020202020204" pitchFamily="34" charset="0"/>
              </a:defRPr>
            </a:lvl1pPr>
            <a:lvl2pPr eaLnBrk="0" fontAlgn="base" hangingPunct="0">
              <a:lnSpc>
                <a:spcPct val="90000"/>
              </a:lnSpc>
              <a:spcBef>
                <a:spcPct val="0"/>
              </a:spcBef>
              <a:spcAft>
                <a:spcPct val="0"/>
              </a:spcAft>
              <a:defRPr sz="2200">
                <a:solidFill>
                  <a:schemeClr val="tx2"/>
                </a:solidFill>
                <a:latin typeface="Arial" pitchFamily="34" charset="0"/>
              </a:defRPr>
            </a:lvl2pPr>
            <a:lvl3pPr eaLnBrk="0" fontAlgn="base" hangingPunct="0">
              <a:lnSpc>
                <a:spcPct val="90000"/>
              </a:lnSpc>
              <a:spcBef>
                <a:spcPct val="0"/>
              </a:spcBef>
              <a:spcAft>
                <a:spcPct val="0"/>
              </a:spcAft>
              <a:defRPr sz="2200">
                <a:solidFill>
                  <a:schemeClr val="tx2"/>
                </a:solidFill>
                <a:latin typeface="Arial" pitchFamily="34" charset="0"/>
              </a:defRPr>
            </a:lvl3pPr>
            <a:lvl4pPr eaLnBrk="0" fontAlgn="base" hangingPunct="0">
              <a:lnSpc>
                <a:spcPct val="90000"/>
              </a:lnSpc>
              <a:spcBef>
                <a:spcPct val="0"/>
              </a:spcBef>
              <a:spcAft>
                <a:spcPct val="0"/>
              </a:spcAft>
              <a:defRPr sz="2200">
                <a:solidFill>
                  <a:schemeClr val="tx2"/>
                </a:solidFill>
                <a:latin typeface="Arial" pitchFamily="34" charset="0"/>
              </a:defRPr>
            </a:lvl4pPr>
            <a:lvl5pPr eaLnBrk="0" fontAlgn="base" hangingPunct="0">
              <a:lnSpc>
                <a:spcPct val="90000"/>
              </a:lnSpc>
              <a:spcBef>
                <a:spcPct val="0"/>
              </a:spcBef>
              <a:spcAft>
                <a:spcPct val="0"/>
              </a:spcAft>
              <a:defRPr sz="2200">
                <a:solidFill>
                  <a:schemeClr val="tx2"/>
                </a:solidFill>
                <a:latin typeface="Arial" pitchFamily="34" charset="0"/>
              </a:defRPr>
            </a:lvl5pPr>
            <a:lvl6pPr marL="457200" fontAlgn="base">
              <a:lnSpc>
                <a:spcPct val="90000"/>
              </a:lnSpc>
              <a:spcBef>
                <a:spcPct val="0"/>
              </a:spcBef>
              <a:spcAft>
                <a:spcPct val="0"/>
              </a:spcAft>
              <a:defRPr sz="2200">
                <a:latin typeface="Arial" pitchFamily="34" charset="0"/>
              </a:defRPr>
            </a:lvl6pPr>
            <a:lvl7pPr marL="914400" fontAlgn="base">
              <a:lnSpc>
                <a:spcPct val="90000"/>
              </a:lnSpc>
              <a:spcBef>
                <a:spcPct val="0"/>
              </a:spcBef>
              <a:spcAft>
                <a:spcPct val="0"/>
              </a:spcAft>
              <a:defRPr sz="2200">
                <a:latin typeface="Arial" pitchFamily="34" charset="0"/>
              </a:defRPr>
            </a:lvl7pPr>
            <a:lvl8pPr marL="1371600" fontAlgn="base">
              <a:lnSpc>
                <a:spcPct val="90000"/>
              </a:lnSpc>
              <a:spcBef>
                <a:spcPct val="0"/>
              </a:spcBef>
              <a:spcAft>
                <a:spcPct val="0"/>
              </a:spcAft>
              <a:defRPr sz="2200">
                <a:latin typeface="Arial" pitchFamily="34" charset="0"/>
              </a:defRPr>
            </a:lvl8pPr>
            <a:lvl9pPr marL="1828800" fontAlgn="base">
              <a:lnSpc>
                <a:spcPct val="90000"/>
              </a:lnSpc>
              <a:spcBef>
                <a:spcPct val="0"/>
              </a:spcBef>
              <a:spcAft>
                <a:spcPct val="0"/>
              </a:spcAft>
              <a:defRPr sz="2200">
                <a:latin typeface="Arial" pitchFamily="34" charset="0"/>
              </a:defRPr>
            </a:lvl9pPr>
          </a:lstStyle>
          <a:p>
            <a:pPr defTabSz="914377">
              <a:defRPr/>
            </a:pPr>
            <a:r>
              <a:rPr lang="en-US" sz="1200">
                <a:solidFill>
                  <a:srgbClr val="004489"/>
                </a:solidFill>
              </a:rPr>
              <a:t>Business</a:t>
            </a:r>
          </a:p>
        </p:txBody>
      </p:sp>
      <p:sp>
        <p:nvSpPr>
          <p:cNvPr id="7" name="Title 2">
            <a:extLst>
              <a:ext uri="{FF2B5EF4-FFF2-40B4-BE49-F238E27FC236}">
                <a16:creationId xmlns:a16="http://schemas.microsoft.com/office/drawing/2014/main" id="{24AE7A80-8867-F84F-375D-04A4B3D89DFA}"/>
              </a:ext>
            </a:extLst>
          </p:cNvPr>
          <p:cNvSpPr txBox="1">
            <a:spLocks/>
          </p:cNvSpPr>
          <p:nvPr/>
        </p:nvSpPr>
        <p:spPr bwMode="auto">
          <a:xfrm>
            <a:off x="3544791" y="1274623"/>
            <a:ext cx="8489165" cy="348163"/>
          </a:xfrm>
          <a:prstGeom prst="rect">
            <a:avLst/>
          </a:prstGeom>
          <a:solidFill>
            <a:srgbClr val="6AB4FF"/>
          </a:solidFill>
          <a:ln>
            <a:noFill/>
          </a:ln>
          <a:effectLst/>
          <a:extLst>
            <a:ext uri="{FAA26D3D-D897-4be2-8F04-BA451C77F1D7}">
              <ma14:placeholderFlag xmlns="" xmlns:ma14="http://schemas.microsoft.com/office/mac/drawingml/2011/main" val="1"/>
            </a:ext>
          </a:extLst>
        </p:spPr>
        <p:txBody>
          <a:bodyPr vert="horz" wrap="square" lIns="0" tIns="45720" rIns="91440" bIns="45720" numCol="1" anchor="ctr" anchorCtr="0" compatLnSpc="1">
            <a:prstTxWarp prst="textNoShape">
              <a:avLst/>
            </a:prstTxWarp>
          </a:bodyPr>
          <a:lstStyle>
            <a:lvl1pPr algn="l" rtl="0" eaLnBrk="0" fontAlgn="base" hangingPunct="0">
              <a:lnSpc>
                <a:spcPct val="90000"/>
              </a:lnSpc>
              <a:spcBef>
                <a:spcPct val="0"/>
              </a:spcBef>
              <a:spcAft>
                <a:spcPct val="0"/>
              </a:spcAft>
              <a:defRPr sz="2200">
                <a:solidFill>
                  <a:schemeClr val="tx2"/>
                </a:solidFill>
                <a:latin typeface="+mj-lt"/>
                <a:ea typeface="+mj-ea"/>
                <a:cs typeface="+mj-cs"/>
              </a:defRPr>
            </a:lvl1pPr>
            <a:lvl2pPr algn="l" rtl="0" eaLnBrk="0" fontAlgn="base" hangingPunct="0">
              <a:lnSpc>
                <a:spcPct val="90000"/>
              </a:lnSpc>
              <a:spcBef>
                <a:spcPct val="0"/>
              </a:spcBef>
              <a:spcAft>
                <a:spcPct val="0"/>
              </a:spcAft>
              <a:defRPr sz="2200">
                <a:solidFill>
                  <a:schemeClr val="tx2"/>
                </a:solidFill>
                <a:latin typeface="Arial" pitchFamily="34" charset="0"/>
              </a:defRPr>
            </a:lvl2pPr>
            <a:lvl3pPr algn="l" rtl="0" eaLnBrk="0" fontAlgn="base" hangingPunct="0">
              <a:lnSpc>
                <a:spcPct val="90000"/>
              </a:lnSpc>
              <a:spcBef>
                <a:spcPct val="0"/>
              </a:spcBef>
              <a:spcAft>
                <a:spcPct val="0"/>
              </a:spcAft>
              <a:defRPr sz="2200">
                <a:solidFill>
                  <a:schemeClr val="tx2"/>
                </a:solidFill>
                <a:latin typeface="Arial" pitchFamily="34" charset="0"/>
              </a:defRPr>
            </a:lvl3pPr>
            <a:lvl4pPr algn="l" rtl="0" eaLnBrk="0" fontAlgn="base" hangingPunct="0">
              <a:lnSpc>
                <a:spcPct val="90000"/>
              </a:lnSpc>
              <a:spcBef>
                <a:spcPct val="0"/>
              </a:spcBef>
              <a:spcAft>
                <a:spcPct val="0"/>
              </a:spcAft>
              <a:defRPr sz="2200">
                <a:solidFill>
                  <a:schemeClr val="tx2"/>
                </a:solidFill>
                <a:latin typeface="Arial" pitchFamily="34" charset="0"/>
              </a:defRPr>
            </a:lvl4pPr>
            <a:lvl5pPr algn="l" rtl="0" eaLnBrk="0" fontAlgn="base" hangingPunct="0">
              <a:lnSpc>
                <a:spcPct val="90000"/>
              </a:lnSpc>
              <a:spcBef>
                <a:spcPct val="0"/>
              </a:spcBef>
              <a:spcAft>
                <a:spcPct val="0"/>
              </a:spcAft>
              <a:defRPr sz="2200">
                <a:solidFill>
                  <a:schemeClr val="tx2"/>
                </a:solidFill>
                <a:latin typeface="Arial" pitchFamily="34" charset="0"/>
              </a:defRPr>
            </a:lvl5pPr>
            <a:lvl6pPr marL="457200" algn="l" rtl="0" fontAlgn="base">
              <a:lnSpc>
                <a:spcPct val="90000"/>
              </a:lnSpc>
              <a:spcBef>
                <a:spcPct val="0"/>
              </a:spcBef>
              <a:spcAft>
                <a:spcPct val="0"/>
              </a:spcAft>
              <a:defRPr sz="2200">
                <a:solidFill>
                  <a:schemeClr val="tx1"/>
                </a:solidFill>
                <a:latin typeface="Arial" pitchFamily="34" charset="0"/>
              </a:defRPr>
            </a:lvl6pPr>
            <a:lvl7pPr marL="914400" algn="l" rtl="0" fontAlgn="base">
              <a:lnSpc>
                <a:spcPct val="90000"/>
              </a:lnSpc>
              <a:spcBef>
                <a:spcPct val="0"/>
              </a:spcBef>
              <a:spcAft>
                <a:spcPct val="0"/>
              </a:spcAft>
              <a:defRPr sz="2200">
                <a:solidFill>
                  <a:schemeClr val="tx1"/>
                </a:solidFill>
                <a:latin typeface="Arial" pitchFamily="34" charset="0"/>
              </a:defRPr>
            </a:lvl7pPr>
            <a:lvl8pPr marL="1371600" algn="l" rtl="0" fontAlgn="base">
              <a:lnSpc>
                <a:spcPct val="90000"/>
              </a:lnSpc>
              <a:spcBef>
                <a:spcPct val="0"/>
              </a:spcBef>
              <a:spcAft>
                <a:spcPct val="0"/>
              </a:spcAft>
              <a:defRPr sz="2200">
                <a:solidFill>
                  <a:schemeClr val="tx1"/>
                </a:solidFill>
                <a:latin typeface="Arial" pitchFamily="34" charset="0"/>
              </a:defRPr>
            </a:lvl8pPr>
            <a:lvl9pPr marL="1828800" algn="l" rtl="0" fontAlgn="base">
              <a:lnSpc>
                <a:spcPct val="90000"/>
              </a:lnSpc>
              <a:spcBef>
                <a:spcPct val="0"/>
              </a:spcBef>
              <a:spcAft>
                <a:spcPct val="0"/>
              </a:spcAft>
              <a:defRPr sz="2200">
                <a:solidFill>
                  <a:schemeClr val="tx1"/>
                </a:solidFill>
                <a:latin typeface="Arial" pitchFamily="34" charset="0"/>
              </a:defRPr>
            </a:lvl9pPr>
          </a:lstStyle>
          <a:p>
            <a:pPr algn="ctr"/>
            <a:r>
              <a:rPr lang="en-US" sz="1200" b="1" kern="0">
                <a:solidFill>
                  <a:srgbClr val="004489"/>
                </a:solidFill>
                <a:latin typeface="Arial" panose="020B0604020202020204" pitchFamily="34" charset="0"/>
                <a:cs typeface="Arial" panose="020B0604020202020204" pitchFamily="34" charset="0"/>
              </a:rPr>
              <a:t>IT</a:t>
            </a:r>
          </a:p>
        </p:txBody>
      </p:sp>
      <p:sp>
        <p:nvSpPr>
          <p:cNvPr id="13" name="Rectangle 12">
            <a:extLst>
              <a:ext uri="{FF2B5EF4-FFF2-40B4-BE49-F238E27FC236}">
                <a16:creationId xmlns:a16="http://schemas.microsoft.com/office/drawing/2014/main" id="{FDB0B4DF-EE00-9B2D-9A2C-DFC99CB45BD9}"/>
              </a:ext>
            </a:extLst>
          </p:cNvPr>
          <p:cNvSpPr/>
          <p:nvPr/>
        </p:nvSpPr>
        <p:spPr bwMode="auto">
          <a:xfrm>
            <a:off x="603972" y="3149107"/>
            <a:ext cx="8485016" cy="1397551"/>
          </a:xfrm>
          <a:prstGeom prst="rect">
            <a:avLst/>
          </a:prstGeom>
          <a:noFill/>
          <a:ln>
            <a:solidFill>
              <a:srgbClr val="004489"/>
            </a:solidFill>
          </a:ln>
          <a:effectLst/>
        </p:spPr>
        <p:txBody>
          <a:bodyPr vert="horz" wrap="square" lIns="91440" tIns="45720" rIns="91440" bIns="45720" numCol="1" rtlCol="0" anchor="t" anchorCtr="0" compatLnSpc="1">
            <a:prstTxWarp prst="textNoShape">
              <a:avLst/>
            </a:prstTxWarp>
          </a:bodyPr>
          <a:lstStyle/>
          <a:p>
            <a:pPr algn="ctr" fontAlgn="base">
              <a:lnSpc>
                <a:spcPct val="90000"/>
              </a:lnSpc>
              <a:spcBef>
                <a:spcPct val="0"/>
              </a:spcBef>
              <a:spcAft>
                <a:spcPct val="0"/>
              </a:spcAft>
              <a:defRPr/>
            </a:pPr>
            <a:r>
              <a:rPr lang="en-US" sz="1200" b="1" kern="0">
                <a:solidFill>
                  <a:srgbClr val="004489"/>
                </a:solidFill>
                <a:latin typeface="Arial" pitchFamily="34" charset="0"/>
              </a:rPr>
              <a:t>Core team</a:t>
            </a:r>
          </a:p>
        </p:txBody>
      </p:sp>
      <p:graphicFrame>
        <p:nvGraphicFramePr>
          <p:cNvPr id="16" name="Tableau 15">
            <a:extLst>
              <a:ext uri="{FF2B5EF4-FFF2-40B4-BE49-F238E27FC236}">
                <a16:creationId xmlns:a16="http://schemas.microsoft.com/office/drawing/2014/main" id="{89DA1D1F-AA0D-F651-88A6-91AB380DF5C8}"/>
              </a:ext>
            </a:extLst>
          </p:cNvPr>
          <p:cNvGraphicFramePr>
            <a:graphicFrameLocks noGrp="1"/>
          </p:cNvGraphicFramePr>
          <p:nvPr/>
        </p:nvGraphicFramePr>
        <p:xfrm>
          <a:off x="767893" y="3474791"/>
          <a:ext cx="3271998" cy="437760"/>
        </p:xfrm>
        <a:graphic>
          <a:graphicData uri="http://schemas.openxmlformats.org/drawingml/2006/table">
            <a:tbl>
              <a:tblPr firstRow="1" bandRow="1"/>
              <a:tblGrid>
                <a:gridCol w="1214777">
                  <a:extLst>
                    <a:ext uri="{9D8B030D-6E8A-4147-A177-3AD203B41FA5}">
                      <a16:colId xmlns:a16="http://schemas.microsoft.com/office/drawing/2014/main" val="3996293728"/>
                    </a:ext>
                  </a:extLst>
                </a:gridCol>
                <a:gridCol w="2057221">
                  <a:extLst>
                    <a:ext uri="{9D8B030D-6E8A-4147-A177-3AD203B41FA5}">
                      <a16:colId xmlns:a16="http://schemas.microsoft.com/office/drawing/2014/main" val="2483845328"/>
                    </a:ext>
                  </a:extLst>
                </a:gridCol>
              </a:tblGrid>
              <a:tr h="437760">
                <a:tc>
                  <a:txBody>
                    <a:bodyPr/>
                    <a:lstStyle>
                      <a:lvl1pPr marL="0" algn="l" defTabSz="609585" rtl="0" eaLnBrk="1" latinLnBrk="0" hangingPunct="1">
                        <a:defRPr sz="2400" b="1" kern="1200">
                          <a:solidFill>
                            <a:schemeClr val="lt1"/>
                          </a:solidFill>
                          <a:latin typeface="Calibri"/>
                        </a:defRPr>
                      </a:lvl1pPr>
                      <a:lvl2pPr marL="609585" algn="l" defTabSz="609585" rtl="0" eaLnBrk="1" latinLnBrk="0" hangingPunct="1">
                        <a:defRPr sz="2400" b="1" kern="1200">
                          <a:solidFill>
                            <a:schemeClr val="lt1"/>
                          </a:solidFill>
                          <a:latin typeface="Calibri"/>
                        </a:defRPr>
                      </a:lvl2pPr>
                      <a:lvl3pPr marL="1219170" algn="l" defTabSz="609585" rtl="0" eaLnBrk="1" latinLnBrk="0" hangingPunct="1">
                        <a:defRPr sz="2400" b="1" kern="1200">
                          <a:solidFill>
                            <a:schemeClr val="lt1"/>
                          </a:solidFill>
                          <a:latin typeface="Calibri"/>
                        </a:defRPr>
                      </a:lvl3pPr>
                      <a:lvl4pPr marL="1828754" algn="l" defTabSz="609585" rtl="0" eaLnBrk="1" latinLnBrk="0" hangingPunct="1">
                        <a:defRPr sz="2400" b="1" kern="1200">
                          <a:solidFill>
                            <a:schemeClr val="lt1"/>
                          </a:solidFill>
                          <a:latin typeface="Calibri"/>
                        </a:defRPr>
                      </a:lvl4pPr>
                      <a:lvl5pPr marL="2438339" algn="l" defTabSz="609585" rtl="0" eaLnBrk="1" latinLnBrk="0" hangingPunct="1">
                        <a:defRPr sz="2400" b="1" kern="1200">
                          <a:solidFill>
                            <a:schemeClr val="lt1"/>
                          </a:solidFill>
                          <a:latin typeface="Calibri"/>
                        </a:defRPr>
                      </a:lvl5pPr>
                      <a:lvl6pPr marL="3047924" algn="l" defTabSz="609585" rtl="0" eaLnBrk="1" latinLnBrk="0" hangingPunct="1">
                        <a:defRPr sz="2400" b="1" kern="1200">
                          <a:solidFill>
                            <a:schemeClr val="lt1"/>
                          </a:solidFill>
                          <a:latin typeface="Calibri"/>
                        </a:defRPr>
                      </a:lvl6pPr>
                      <a:lvl7pPr marL="3657509" algn="l" defTabSz="609585" rtl="0" eaLnBrk="1" latinLnBrk="0" hangingPunct="1">
                        <a:defRPr sz="2400" b="1" kern="1200">
                          <a:solidFill>
                            <a:schemeClr val="lt1"/>
                          </a:solidFill>
                          <a:latin typeface="Calibri"/>
                        </a:defRPr>
                      </a:lvl7pPr>
                      <a:lvl8pPr marL="4267093" algn="l" defTabSz="609585" rtl="0" eaLnBrk="1" latinLnBrk="0" hangingPunct="1">
                        <a:defRPr sz="2400" b="1" kern="1200">
                          <a:solidFill>
                            <a:schemeClr val="lt1"/>
                          </a:solidFill>
                          <a:latin typeface="Calibri"/>
                        </a:defRPr>
                      </a:lvl8pPr>
                      <a:lvl9pPr marL="4876678" algn="l" defTabSz="609585" rtl="0" eaLnBrk="1" latinLnBrk="0" hangingPunct="1">
                        <a:defRPr sz="2400" b="1" kern="1200">
                          <a:solidFill>
                            <a:schemeClr val="lt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noProof="0">
                          <a:solidFill>
                            <a:schemeClr val="tx1"/>
                          </a:solidFill>
                          <a:latin typeface="Arial" pitchFamily="34" charset="0"/>
                        </a:rPr>
                        <a:t>Data </a:t>
                      </a:r>
                      <a:r>
                        <a:rPr lang="en-US" sz="1200" b="0" kern="1200" noProof="0">
                          <a:solidFill>
                            <a:schemeClr val="tx1"/>
                          </a:solidFill>
                          <a:latin typeface="Arial"/>
                          <a:ea typeface="+mn-ea"/>
                          <a:cs typeface="+mn-cs"/>
                        </a:rPr>
                        <a:t>owner</a:t>
                      </a:r>
                    </a:p>
                  </a:txBody>
                  <a:tcPr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7FD7D6"/>
                    </a:solidFill>
                  </a:tcPr>
                </a:tc>
                <a:tc>
                  <a:txBody>
                    <a:bodyPr/>
                    <a:lstStyle>
                      <a:lvl1pPr marL="0" algn="l" defTabSz="609585" rtl="0" eaLnBrk="1" latinLnBrk="0" hangingPunct="1">
                        <a:defRPr sz="2400" b="1" kern="1200">
                          <a:solidFill>
                            <a:schemeClr val="lt1"/>
                          </a:solidFill>
                          <a:latin typeface="Calibri"/>
                        </a:defRPr>
                      </a:lvl1pPr>
                      <a:lvl2pPr marL="609585" algn="l" defTabSz="609585" rtl="0" eaLnBrk="1" latinLnBrk="0" hangingPunct="1">
                        <a:defRPr sz="2400" b="1" kern="1200">
                          <a:solidFill>
                            <a:schemeClr val="lt1"/>
                          </a:solidFill>
                          <a:latin typeface="Calibri"/>
                        </a:defRPr>
                      </a:lvl2pPr>
                      <a:lvl3pPr marL="1219170" algn="l" defTabSz="609585" rtl="0" eaLnBrk="1" latinLnBrk="0" hangingPunct="1">
                        <a:defRPr sz="2400" b="1" kern="1200">
                          <a:solidFill>
                            <a:schemeClr val="lt1"/>
                          </a:solidFill>
                          <a:latin typeface="Calibri"/>
                        </a:defRPr>
                      </a:lvl3pPr>
                      <a:lvl4pPr marL="1828754" algn="l" defTabSz="609585" rtl="0" eaLnBrk="1" latinLnBrk="0" hangingPunct="1">
                        <a:defRPr sz="2400" b="1" kern="1200">
                          <a:solidFill>
                            <a:schemeClr val="lt1"/>
                          </a:solidFill>
                          <a:latin typeface="Calibri"/>
                        </a:defRPr>
                      </a:lvl4pPr>
                      <a:lvl5pPr marL="2438339" algn="l" defTabSz="609585" rtl="0" eaLnBrk="1" latinLnBrk="0" hangingPunct="1">
                        <a:defRPr sz="2400" b="1" kern="1200">
                          <a:solidFill>
                            <a:schemeClr val="lt1"/>
                          </a:solidFill>
                          <a:latin typeface="Calibri"/>
                        </a:defRPr>
                      </a:lvl5pPr>
                      <a:lvl6pPr marL="3047924" algn="l" defTabSz="609585" rtl="0" eaLnBrk="1" latinLnBrk="0" hangingPunct="1">
                        <a:defRPr sz="2400" b="1" kern="1200">
                          <a:solidFill>
                            <a:schemeClr val="lt1"/>
                          </a:solidFill>
                          <a:latin typeface="Calibri"/>
                        </a:defRPr>
                      </a:lvl6pPr>
                      <a:lvl7pPr marL="3657509" algn="l" defTabSz="609585" rtl="0" eaLnBrk="1" latinLnBrk="0" hangingPunct="1">
                        <a:defRPr sz="2400" b="1" kern="1200">
                          <a:solidFill>
                            <a:schemeClr val="lt1"/>
                          </a:solidFill>
                          <a:latin typeface="Calibri"/>
                        </a:defRPr>
                      </a:lvl7pPr>
                      <a:lvl8pPr marL="4267093" algn="l" defTabSz="609585" rtl="0" eaLnBrk="1" latinLnBrk="0" hangingPunct="1">
                        <a:defRPr sz="2400" b="1" kern="1200">
                          <a:solidFill>
                            <a:schemeClr val="lt1"/>
                          </a:solidFill>
                          <a:latin typeface="Calibri"/>
                        </a:defRPr>
                      </a:lvl8pPr>
                      <a:lvl9pPr marL="4876678" algn="l" defTabSz="609585" rtl="0" eaLnBrk="1" latinLnBrk="0" hangingPunct="1">
                        <a:defRPr sz="2400" b="1" kern="1200">
                          <a:solidFill>
                            <a:schemeClr val="lt1"/>
                          </a:solidFill>
                          <a:latin typeface="Calibri"/>
                        </a:defRPr>
                      </a:lvl9pPr>
                    </a:lstStyle>
                    <a:p>
                      <a:pPr fontAlgn="base">
                        <a:lnSpc>
                          <a:spcPct val="90000"/>
                        </a:lnSpc>
                        <a:spcBef>
                          <a:spcPct val="0"/>
                        </a:spcBef>
                        <a:spcAft>
                          <a:spcPct val="0"/>
                        </a:spcAft>
                      </a:pPr>
                      <a:r>
                        <a:rPr lang="fr-FR" sz="1200" b="0">
                          <a:solidFill>
                            <a:schemeClr val="tx1"/>
                          </a:solidFill>
                          <a:latin typeface="Arial" pitchFamily="34" charset="0"/>
                        </a:rPr>
                        <a:t>Regis </a:t>
                      </a:r>
                      <a:r>
                        <a:rPr lang="fr-FR" sz="1200" b="0" err="1">
                          <a:solidFill>
                            <a:schemeClr val="tx1"/>
                          </a:solidFill>
                          <a:latin typeface="Arial" pitchFamily="34" charset="0"/>
                        </a:rPr>
                        <a:t>Amberni</a:t>
                      </a:r>
                      <a:endParaRPr lang="fr-FR" sz="1200" b="0">
                        <a:solidFill>
                          <a:schemeClr val="tx1"/>
                        </a:solidFill>
                        <a:latin typeface="Arial" pitchFamily="34" charset="0"/>
                      </a:endParaRPr>
                    </a:p>
                    <a:p>
                      <a:pPr fontAlgn="base">
                        <a:lnSpc>
                          <a:spcPct val="90000"/>
                        </a:lnSpc>
                        <a:spcBef>
                          <a:spcPct val="0"/>
                        </a:spcBef>
                        <a:spcAft>
                          <a:spcPct val="0"/>
                        </a:spcAft>
                      </a:pPr>
                      <a:r>
                        <a:rPr lang="fr-FR" sz="1200" b="0" err="1">
                          <a:solidFill>
                            <a:schemeClr val="tx1"/>
                          </a:solidFill>
                          <a:latin typeface="Arial" pitchFamily="34" charset="0"/>
                        </a:rPr>
                        <a:t>Tacfarinas</a:t>
                      </a:r>
                      <a:r>
                        <a:rPr lang="fr-FR" sz="1200" b="0">
                          <a:solidFill>
                            <a:schemeClr val="tx1"/>
                          </a:solidFill>
                          <a:latin typeface="Arial" pitchFamily="34" charset="0"/>
                        </a:rPr>
                        <a:t> Ait </a:t>
                      </a:r>
                      <a:r>
                        <a:rPr lang="fr-FR" sz="1200" b="0" err="1">
                          <a:solidFill>
                            <a:schemeClr val="tx1"/>
                          </a:solidFill>
                          <a:latin typeface="Arial" pitchFamily="34" charset="0"/>
                        </a:rPr>
                        <a:t>Hamoudi</a:t>
                      </a:r>
                      <a:endParaRPr lang="fr-FR" sz="1200" b="0">
                        <a:solidFill>
                          <a:schemeClr val="tx1"/>
                        </a:solidFill>
                        <a:latin typeface="Arial" pitchFamily="34" charset="0"/>
                      </a:endParaRPr>
                    </a:p>
                  </a:txBody>
                  <a:tcPr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1836467"/>
                  </a:ext>
                </a:extLst>
              </a:tr>
            </a:tbl>
          </a:graphicData>
        </a:graphic>
      </p:graphicFrame>
      <p:graphicFrame>
        <p:nvGraphicFramePr>
          <p:cNvPr id="17" name="Tableau 80">
            <a:extLst>
              <a:ext uri="{FF2B5EF4-FFF2-40B4-BE49-F238E27FC236}">
                <a16:creationId xmlns:a16="http://schemas.microsoft.com/office/drawing/2014/main" id="{A48FDED0-0DB5-C131-995B-6D2E119D5F0B}"/>
              </a:ext>
            </a:extLst>
          </p:cNvPr>
          <p:cNvGraphicFramePr>
            <a:graphicFrameLocks noGrp="1"/>
          </p:cNvGraphicFramePr>
          <p:nvPr/>
        </p:nvGraphicFramePr>
        <p:xfrm>
          <a:off x="757675" y="2149897"/>
          <a:ext cx="2549968" cy="875520"/>
        </p:xfrm>
        <a:graphic>
          <a:graphicData uri="http://schemas.openxmlformats.org/drawingml/2006/table">
            <a:tbl>
              <a:tblPr firstRow="1" bandRow="1"/>
              <a:tblGrid>
                <a:gridCol w="946712">
                  <a:extLst>
                    <a:ext uri="{9D8B030D-6E8A-4147-A177-3AD203B41FA5}">
                      <a16:colId xmlns:a16="http://schemas.microsoft.com/office/drawing/2014/main" val="3996293728"/>
                    </a:ext>
                  </a:extLst>
                </a:gridCol>
                <a:gridCol w="1603256">
                  <a:extLst>
                    <a:ext uri="{9D8B030D-6E8A-4147-A177-3AD203B41FA5}">
                      <a16:colId xmlns:a16="http://schemas.microsoft.com/office/drawing/2014/main" val="2483845328"/>
                    </a:ext>
                  </a:extLst>
                </a:gridCol>
              </a:tblGrid>
              <a:tr h="437760">
                <a:tc>
                  <a:txBody>
                    <a:bodyPr/>
                    <a:lstStyle>
                      <a:lvl1pPr marL="0" algn="l" defTabSz="609585" rtl="0" eaLnBrk="1" latinLnBrk="0" hangingPunct="1">
                        <a:defRPr sz="2400" b="1" kern="1200">
                          <a:solidFill>
                            <a:schemeClr val="lt1"/>
                          </a:solidFill>
                          <a:latin typeface="Calibri"/>
                        </a:defRPr>
                      </a:lvl1pPr>
                      <a:lvl2pPr marL="609585" algn="l" defTabSz="609585" rtl="0" eaLnBrk="1" latinLnBrk="0" hangingPunct="1">
                        <a:defRPr sz="2400" b="1" kern="1200">
                          <a:solidFill>
                            <a:schemeClr val="lt1"/>
                          </a:solidFill>
                          <a:latin typeface="Calibri"/>
                        </a:defRPr>
                      </a:lvl2pPr>
                      <a:lvl3pPr marL="1219170" algn="l" defTabSz="609585" rtl="0" eaLnBrk="1" latinLnBrk="0" hangingPunct="1">
                        <a:defRPr sz="2400" b="1" kern="1200">
                          <a:solidFill>
                            <a:schemeClr val="lt1"/>
                          </a:solidFill>
                          <a:latin typeface="Calibri"/>
                        </a:defRPr>
                      </a:lvl3pPr>
                      <a:lvl4pPr marL="1828754" algn="l" defTabSz="609585" rtl="0" eaLnBrk="1" latinLnBrk="0" hangingPunct="1">
                        <a:defRPr sz="2400" b="1" kern="1200">
                          <a:solidFill>
                            <a:schemeClr val="lt1"/>
                          </a:solidFill>
                          <a:latin typeface="Calibri"/>
                        </a:defRPr>
                      </a:lvl4pPr>
                      <a:lvl5pPr marL="2438339" algn="l" defTabSz="609585" rtl="0" eaLnBrk="1" latinLnBrk="0" hangingPunct="1">
                        <a:defRPr sz="2400" b="1" kern="1200">
                          <a:solidFill>
                            <a:schemeClr val="lt1"/>
                          </a:solidFill>
                          <a:latin typeface="Calibri"/>
                        </a:defRPr>
                      </a:lvl5pPr>
                      <a:lvl6pPr marL="3047924" algn="l" defTabSz="609585" rtl="0" eaLnBrk="1" latinLnBrk="0" hangingPunct="1">
                        <a:defRPr sz="2400" b="1" kern="1200">
                          <a:solidFill>
                            <a:schemeClr val="lt1"/>
                          </a:solidFill>
                          <a:latin typeface="Calibri"/>
                        </a:defRPr>
                      </a:lvl6pPr>
                      <a:lvl7pPr marL="3657509" algn="l" defTabSz="609585" rtl="0" eaLnBrk="1" latinLnBrk="0" hangingPunct="1">
                        <a:defRPr sz="2400" b="1" kern="1200">
                          <a:solidFill>
                            <a:schemeClr val="lt1"/>
                          </a:solidFill>
                          <a:latin typeface="Calibri"/>
                        </a:defRPr>
                      </a:lvl7pPr>
                      <a:lvl8pPr marL="4267093" algn="l" defTabSz="609585" rtl="0" eaLnBrk="1" latinLnBrk="0" hangingPunct="1">
                        <a:defRPr sz="2400" b="1" kern="1200">
                          <a:solidFill>
                            <a:schemeClr val="lt1"/>
                          </a:solidFill>
                          <a:latin typeface="Calibri"/>
                        </a:defRPr>
                      </a:lvl8pPr>
                      <a:lvl9pPr marL="4876678" algn="l" defTabSz="609585" rtl="0" eaLnBrk="1" latinLnBrk="0" hangingPunct="1">
                        <a:defRPr sz="2400" b="1" kern="1200">
                          <a:solidFill>
                            <a:schemeClr val="lt1"/>
                          </a:solidFill>
                          <a:latin typeface="Calibri"/>
                        </a:defRPr>
                      </a:lvl9pPr>
                    </a:lstStyle>
                    <a:p>
                      <a:pPr marL="0" marR="0" lvl="0" indent="0" algn="l" rtl="0" eaLnBrk="1" fontAlgn="auto" latinLnBrk="0" hangingPunct="1">
                        <a:lnSpc>
                          <a:spcPct val="100000"/>
                        </a:lnSpc>
                        <a:spcBef>
                          <a:spcPts val="0"/>
                        </a:spcBef>
                        <a:spcAft>
                          <a:spcPts val="0"/>
                        </a:spcAft>
                        <a:buClrTx/>
                        <a:buSzTx/>
                        <a:buFontTx/>
                        <a:buNone/>
                      </a:pPr>
                      <a:r>
                        <a:rPr lang="fr-FR" sz="1200" b="0">
                          <a:solidFill>
                            <a:schemeClr val="tx1"/>
                          </a:solidFill>
                          <a:latin typeface="Arial"/>
                        </a:rPr>
                        <a:t>Business Sponsor</a:t>
                      </a:r>
                      <a:endParaRPr lang="fr-FR" sz="1200" b="0">
                        <a:solidFill>
                          <a:schemeClr val="tx1"/>
                        </a:solidFill>
                        <a:latin typeface="Arial" pitchFamily="34" charset="0"/>
                      </a:endParaRPr>
                    </a:p>
                  </a:txBody>
                  <a:tcPr marT="36000" marB="36000" anchor="ctr">
                    <a:lnL w="12700" cmpd="sng">
                      <a:noFill/>
                    </a:lnL>
                    <a:lnR w="12700" cmpd="sng">
                      <a:noFill/>
                    </a:lnR>
                    <a:lnT w="12700" cmpd="sng">
                      <a:noFill/>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lvl1pPr marL="0" algn="l" defTabSz="609585" rtl="0" eaLnBrk="1" latinLnBrk="0" hangingPunct="1">
                        <a:defRPr sz="2400" b="1" kern="1200">
                          <a:solidFill>
                            <a:schemeClr val="lt1"/>
                          </a:solidFill>
                          <a:latin typeface="Calibri"/>
                        </a:defRPr>
                      </a:lvl1pPr>
                      <a:lvl2pPr marL="609585" algn="l" defTabSz="609585" rtl="0" eaLnBrk="1" latinLnBrk="0" hangingPunct="1">
                        <a:defRPr sz="2400" b="1" kern="1200">
                          <a:solidFill>
                            <a:schemeClr val="lt1"/>
                          </a:solidFill>
                          <a:latin typeface="Calibri"/>
                        </a:defRPr>
                      </a:lvl2pPr>
                      <a:lvl3pPr marL="1219170" algn="l" defTabSz="609585" rtl="0" eaLnBrk="1" latinLnBrk="0" hangingPunct="1">
                        <a:defRPr sz="2400" b="1" kern="1200">
                          <a:solidFill>
                            <a:schemeClr val="lt1"/>
                          </a:solidFill>
                          <a:latin typeface="Calibri"/>
                        </a:defRPr>
                      </a:lvl3pPr>
                      <a:lvl4pPr marL="1828754" algn="l" defTabSz="609585" rtl="0" eaLnBrk="1" latinLnBrk="0" hangingPunct="1">
                        <a:defRPr sz="2400" b="1" kern="1200">
                          <a:solidFill>
                            <a:schemeClr val="lt1"/>
                          </a:solidFill>
                          <a:latin typeface="Calibri"/>
                        </a:defRPr>
                      </a:lvl4pPr>
                      <a:lvl5pPr marL="2438339" algn="l" defTabSz="609585" rtl="0" eaLnBrk="1" latinLnBrk="0" hangingPunct="1">
                        <a:defRPr sz="2400" b="1" kern="1200">
                          <a:solidFill>
                            <a:schemeClr val="lt1"/>
                          </a:solidFill>
                          <a:latin typeface="Calibri"/>
                        </a:defRPr>
                      </a:lvl5pPr>
                      <a:lvl6pPr marL="3047924" algn="l" defTabSz="609585" rtl="0" eaLnBrk="1" latinLnBrk="0" hangingPunct="1">
                        <a:defRPr sz="2400" b="1" kern="1200">
                          <a:solidFill>
                            <a:schemeClr val="lt1"/>
                          </a:solidFill>
                          <a:latin typeface="Calibri"/>
                        </a:defRPr>
                      </a:lvl6pPr>
                      <a:lvl7pPr marL="3657509" algn="l" defTabSz="609585" rtl="0" eaLnBrk="1" latinLnBrk="0" hangingPunct="1">
                        <a:defRPr sz="2400" b="1" kern="1200">
                          <a:solidFill>
                            <a:schemeClr val="lt1"/>
                          </a:solidFill>
                          <a:latin typeface="Calibri"/>
                        </a:defRPr>
                      </a:lvl7pPr>
                      <a:lvl8pPr marL="4267093" algn="l" defTabSz="609585" rtl="0" eaLnBrk="1" latinLnBrk="0" hangingPunct="1">
                        <a:defRPr sz="2400" b="1" kern="1200">
                          <a:solidFill>
                            <a:schemeClr val="lt1"/>
                          </a:solidFill>
                          <a:latin typeface="Calibri"/>
                        </a:defRPr>
                      </a:lvl8pPr>
                      <a:lvl9pPr marL="4876678" algn="l" defTabSz="609585" rtl="0" eaLnBrk="1" latinLnBrk="0" hangingPunct="1">
                        <a:defRPr sz="2400" b="1" kern="1200">
                          <a:solidFill>
                            <a:schemeClr val="lt1"/>
                          </a:solidFill>
                          <a:latin typeface="Calibri"/>
                        </a:defRPr>
                      </a:lvl9pPr>
                    </a:lstStyle>
                    <a:p>
                      <a:pPr fontAlgn="base">
                        <a:lnSpc>
                          <a:spcPct val="90000"/>
                        </a:lnSpc>
                        <a:spcBef>
                          <a:spcPct val="0"/>
                        </a:spcBef>
                        <a:spcAft>
                          <a:spcPct val="0"/>
                        </a:spcAft>
                      </a:pPr>
                      <a:r>
                        <a:rPr lang="fr-FR" sz="1200" b="0">
                          <a:solidFill>
                            <a:schemeClr val="tx1"/>
                          </a:solidFill>
                          <a:latin typeface="Arial" pitchFamily="34" charset="0"/>
                        </a:rPr>
                        <a:t>Regis </a:t>
                      </a:r>
                      <a:r>
                        <a:rPr lang="fr-FR" sz="1200" b="0" err="1">
                          <a:solidFill>
                            <a:schemeClr val="tx1"/>
                          </a:solidFill>
                          <a:latin typeface="Arial" pitchFamily="34" charset="0"/>
                        </a:rPr>
                        <a:t>Amberni</a:t>
                      </a:r>
                      <a:endParaRPr lang="fr-FR" sz="1200" b="0">
                        <a:solidFill>
                          <a:schemeClr val="tx1"/>
                        </a:solidFill>
                        <a:latin typeface="Arial" pitchFamily="34" charset="0"/>
                      </a:endParaRPr>
                    </a:p>
                  </a:txBody>
                  <a:tcPr marT="36000" marB="36000" anchor="ctr">
                    <a:lnL w="12700" cmpd="sng">
                      <a:noFill/>
                    </a:lnL>
                    <a:lnR w="12700" cmpd="sng">
                      <a:noFill/>
                    </a:lnR>
                    <a:lnT w="12700" cmpd="sng">
                      <a:noFill/>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1836467"/>
                  </a:ext>
                </a:extLst>
              </a:tr>
              <a:tr h="437760">
                <a:tc>
                  <a:txBody>
                    <a:bodyPr/>
                    <a:lstStyle>
                      <a:lvl1pPr marL="0" algn="l" defTabSz="609585" rtl="0" eaLnBrk="1" latinLnBrk="0" hangingPunct="1">
                        <a:defRPr sz="2400" b="1" kern="1200">
                          <a:solidFill>
                            <a:schemeClr val="lt1"/>
                          </a:solidFill>
                          <a:latin typeface="Calibri"/>
                        </a:defRPr>
                      </a:lvl1pPr>
                      <a:lvl2pPr marL="609585" algn="l" defTabSz="609585" rtl="0" eaLnBrk="1" latinLnBrk="0" hangingPunct="1">
                        <a:defRPr sz="2400" b="1" kern="1200">
                          <a:solidFill>
                            <a:schemeClr val="lt1"/>
                          </a:solidFill>
                          <a:latin typeface="Calibri"/>
                        </a:defRPr>
                      </a:lvl2pPr>
                      <a:lvl3pPr marL="1219170" algn="l" defTabSz="609585" rtl="0" eaLnBrk="1" latinLnBrk="0" hangingPunct="1">
                        <a:defRPr sz="2400" b="1" kern="1200">
                          <a:solidFill>
                            <a:schemeClr val="lt1"/>
                          </a:solidFill>
                          <a:latin typeface="Calibri"/>
                        </a:defRPr>
                      </a:lvl3pPr>
                      <a:lvl4pPr marL="1828754" algn="l" defTabSz="609585" rtl="0" eaLnBrk="1" latinLnBrk="0" hangingPunct="1">
                        <a:defRPr sz="2400" b="1" kern="1200">
                          <a:solidFill>
                            <a:schemeClr val="lt1"/>
                          </a:solidFill>
                          <a:latin typeface="Calibri"/>
                        </a:defRPr>
                      </a:lvl4pPr>
                      <a:lvl5pPr marL="2438339" algn="l" defTabSz="609585" rtl="0" eaLnBrk="1" latinLnBrk="0" hangingPunct="1">
                        <a:defRPr sz="2400" b="1" kern="1200">
                          <a:solidFill>
                            <a:schemeClr val="lt1"/>
                          </a:solidFill>
                          <a:latin typeface="Calibri"/>
                        </a:defRPr>
                      </a:lvl5pPr>
                      <a:lvl6pPr marL="3047924" algn="l" defTabSz="609585" rtl="0" eaLnBrk="1" latinLnBrk="0" hangingPunct="1">
                        <a:defRPr sz="2400" b="1" kern="1200">
                          <a:solidFill>
                            <a:schemeClr val="lt1"/>
                          </a:solidFill>
                          <a:latin typeface="Calibri"/>
                        </a:defRPr>
                      </a:lvl6pPr>
                      <a:lvl7pPr marL="3657509" algn="l" defTabSz="609585" rtl="0" eaLnBrk="1" latinLnBrk="0" hangingPunct="1">
                        <a:defRPr sz="2400" b="1" kern="1200">
                          <a:solidFill>
                            <a:schemeClr val="lt1"/>
                          </a:solidFill>
                          <a:latin typeface="Calibri"/>
                        </a:defRPr>
                      </a:lvl7pPr>
                      <a:lvl8pPr marL="4267093" algn="l" defTabSz="609585" rtl="0" eaLnBrk="1" latinLnBrk="0" hangingPunct="1">
                        <a:defRPr sz="2400" b="1" kern="1200">
                          <a:solidFill>
                            <a:schemeClr val="lt1"/>
                          </a:solidFill>
                          <a:latin typeface="Calibri"/>
                        </a:defRPr>
                      </a:lvl8pPr>
                      <a:lvl9pPr marL="4876678" algn="l" defTabSz="609585" rtl="0" eaLnBrk="1" latinLnBrk="0" hangingPunct="1">
                        <a:defRPr sz="2400" b="1" kern="1200">
                          <a:solidFill>
                            <a:schemeClr val="lt1"/>
                          </a:solidFill>
                          <a:latin typeface="Calibri"/>
                        </a:defRPr>
                      </a:lvl9pPr>
                    </a:lstStyle>
                    <a:p>
                      <a:pPr marL="0" marR="0" lvl="0" indent="0" algn="l" rtl="0" eaLnBrk="1" fontAlgn="auto" latinLnBrk="0" hangingPunct="1">
                        <a:lnSpc>
                          <a:spcPct val="100000"/>
                        </a:lnSpc>
                        <a:spcBef>
                          <a:spcPts val="0"/>
                        </a:spcBef>
                        <a:spcAft>
                          <a:spcPts val="0"/>
                        </a:spcAft>
                        <a:buClrTx/>
                        <a:buSzTx/>
                        <a:buFontTx/>
                        <a:buNone/>
                      </a:pPr>
                      <a:r>
                        <a:rPr lang="fr-FR" sz="1200" b="0">
                          <a:solidFill>
                            <a:schemeClr val="tx1"/>
                          </a:solidFill>
                          <a:latin typeface="Arial"/>
                        </a:rPr>
                        <a:t>Business Lead</a:t>
                      </a:r>
                      <a:endParaRPr lang="fr-FR" sz="1200" b="0">
                        <a:solidFill>
                          <a:schemeClr val="tx1"/>
                        </a:solidFill>
                        <a:latin typeface="Arial" pitchFamily="34" charset="0"/>
                      </a:endParaRPr>
                    </a:p>
                  </a:txBody>
                  <a:tcPr marT="36000" marB="36000" anchor="ctr">
                    <a:lnL w="12700" cmpd="sng">
                      <a:noFill/>
                    </a:lnL>
                    <a:lnR w="12700" cmpd="sng">
                      <a:noFill/>
                    </a:lnR>
                    <a:lnT w="12700" cap="flat" cmpd="sng" algn="ctr">
                      <a:solidFill>
                        <a:sysClr val="window" lastClr="FFFFFF">
                          <a:lumMod val="65000"/>
                        </a:sysClr>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lumMod val="20000"/>
                        <a:lumOff val="80000"/>
                      </a:schemeClr>
                    </a:solidFill>
                  </a:tcPr>
                </a:tc>
                <a:tc>
                  <a:txBody>
                    <a:bodyPr/>
                    <a:lstStyle>
                      <a:lvl1pPr marL="0" algn="l" defTabSz="609585" rtl="0" eaLnBrk="1" latinLnBrk="0" hangingPunct="1">
                        <a:defRPr sz="2400" b="1" kern="1200">
                          <a:solidFill>
                            <a:schemeClr val="lt1"/>
                          </a:solidFill>
                          <a:latin typeface="Calibri"/>
                        </a:defRPr>
                      </a:lvl1pPr>
                      <a:lvl2pPr marL="609585" algn="l" defTabSz="609585" rtl="0" eaLnBrk="1" latinLnBrk="0" hangingPunct="1">
                        <a:defRPr sz="2400" b="1" kern="1200">
                          <a:solidFill>
                            <a:schemeClr val="lt1"/>
                          </a:solidFill>
                          <a:latin typeface="Calibri"/>
                        </a:defRPr>
                      </a:lvl2pPr>
                      <a:lvl3pPr marL="1219170" algn="l" defTabSz="609585" rtl="0" eaLnBrk="1" latinLnBrk="0" hangingPunct="1">
                        <a:defRPr sz="2400" b="1" kern="1200">
                          <a:solidFill>
                            <a:schemeClr val="lt1"/>
                          </a:solidFill>
                          <a:latin typeface="Calibri"/>
                        </a:defRPr>
                      </a:lvl3pPr>
                      <a:lvl4pPr marL="1828754" algn="l" defTabSz="609585" rtl="0" eaLnBrk="1" latinLnBrk="0" hangingPunct="1">
                        <a:defRPr sz="2400" b="1" kern="1200">
                          <a:solidFill>
                            <a:schemeClr val="lt1"/>
                          </a:solidFill>
                          <a:latin typeface="Calibri"/>
                        </a:defRPr>
                      </a:lvl4pPr>
                      <a:lvl5pPr marL="2438339" algn="l" defTabSz="609585" rtl="0" eaLnBrk="1" latinLnBrk="0" hangingPunct="1">
                        <a:defRPr sz="2400" b="1" kern="1200">
                          <a:solidFill>
                            <a:schemeClr val="lt1"/>
                          </a:solidFill>
                          <a:latin typeface="Calibri"/>
                        </a:defRPr>
                      </a:lvl5pPr>
                      <a:lvl6pPr marL="3047924" algn="l" defTabSz="609585" rtl="0" eaLnBrk="1" latinLnBrk="0" hangingPunct="1">
                        <a:defRPr sz="2400" b="1" kern="1200">
                          <a:solidFill>
                            <a:schemeClr val="lt1"/>
                          </a:solidFill>
                          <a:latin typeface="Calibri"/>
                        </a:defRPr>
                      </a:lvl6pPr>
                      <a:lvl7pPr marL="3657509" algn="l" defTabSz="609585" rtl="0" eaLnBrk="1" latinLnBrk="0" hangingPunct="1">
                        <a:defRPr sz="2400" b="1" kern="1200">
                          <a:solidFill>
                            <a:schemeClr val="lt1"/>
                          </a:solidFill>
                          <a:latin typeface="Calibri"/>
                        </a:defRPr>
                      </a:lvl7pPr>
                      <a:lvl8pPr marL="4267093" algn="l" defTabSz="609585" rtl="0" eaLnBrk="1" latinLnBrk="0" hangingPunct="1">
                        <a:defRPr sz="2400" b="1" kern="1200">
                          <a:solidFill>
                            <a:schemeClr val="lt1"/>
                          </a:solidFill>
                          <a:latin typeface="Calibri"/>
                        </a:defRPr>
                      </a:lvl8pPr>
                      <a:lvl9pPr marL="4876678" algn="l" defTabSz="609585" rtl="0" eaLnBrk="1" latinLnBrk="0" hangingPunct="1">
                        <a:defRPr sz="2400" b="1" kern="1200">
                          <a:solidFill>
                            <a:schemeClr val="lt1"/>
                          </a:solidFill>
                          <a:latin typeface="Calibri"/>
                        </a:defRPr>
                      </a:lvl9pPr>
                    </a:lstStyle>
                    <a:p>
                      <a:pPr fontAlgn="base">
                        <a:lnSpc>
                          <a:spcPct val="90000"/>
                        </a:lnSpc>
                        <a:spcBef>
                          <a:spcPct val="0"/>
                        </a:spcBef>
                        <a:spcAft>
                          <a:spcPct val="0"/>
                        </a:spcAft>
                      </a:pPr>
                      <a:r>
                        <a:rPr lang="fr-FR" sz="1200" b="0">
                          <a:solidFill>
                            <a:schemeClr val="tx1"/>
                          </a:solidFill>
                          <a:latin typeface="Arial" pitchFamily="34" charset="0"/>
                        </a:rPr>
                        <a:t>Regis </a:t>
                      </a:r>
                      <a:r>
                        <a:rPr lang="fr-FR" sz="1200" b="0" err="1">
                          <a:solidFill>
                            <a:schemeClr val="tx1"/>
                          </a:solidFill>
                          <a:latin typeface="Arial" pitchFamily="34" charset="0"/>
                        </a:rPr>
                        <a:t>Amberni</a:t>
                      </a:r>
                      <a:endParaRPr lang="fr-FR" sz="1200" b="0">
                        <a:solidFill>
                          <a:schemeClr val="tx1"/>
                        </a:solidFill>
                        <a:latin typeface="Arial" pitchFamily="34" charset="0"/>
                      </a:endParaRPr>
                    </a:p>
                  </a:txBody>
                  <a:tcPr marT="36000" marB="36000" anchor="ctr">
                    <a:lnL w="12700" cmpd="sng">
                      <a:noFill/>
                    </a:lnL>
                    <a:lnR w="12700" cmpd="sng">
                      <a:noFill/>
                    </a:lnR>
                    <a:lnT w="12700" cap="flat" cmpd="sng" algn="ctr">
                      <a:solidFill>
                        <a:sysClr val="window" lastClr="FFFFFF">
                          <a:lumMod val="65000"/>
                        </a:sysClr>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10879046"/>
                  </a:ext>
                </a:extLst>
              </a:tr>
            </a:tbl>
          </a:graphicData>
        </a:graphic>
      </p:graphicFrame>
      <p:graphicFrame>
        <p:nvGraphicFramePr>
          <p:cNvPr id="19" name="Tableau 18">
            <a:extLst>
              <a:ext uri="{FF2B5EF4-FFF2-40B4-BE49-F238E27FC236}">
                <a16:creationId xmlns:a16="http://schemas.microsoft.com/office/drawing/2014/main" id="{44E43776-5E3C-8A06-EC53-637AB5DC5EEB}"/>
              </a:ext>
            </a:extLst>
          </p:cNvPr>
          <p:cNvGraphicFramePr>
            <a:graphicFrameLocks noGrp="1"/>
          </p:cNvGraphicFramePr>
          <p:nvPr/>
        </p:nvGraphicFramePr>
        <p:xfrm>
          <a:off x="3680120" y="2559023"/>
          <a:ext cx="2549968" cy="437760"/>
        </p:xfrm>
        <a:graphic>
          <a:graphicData uri="http://schemas.openxmlformats.org/drawingml/2006/table">
            <a:tbl>
              <a:tblPr firstRow="1" bandRow="1"/>
              <a:tblGrid>
                <a:gridCol w="1014709">
                  <a:extLst>
                    <a:ext uri="{9D8B030D-6E8A-4147-A177-3AD203B41FA5}">
                      <a16:colId xmlns:a16="http://schemas.microsoft.com/office/drawing/2014/main" val="3996293728"/>
                    </a:ext>
                  </a:extLst>
                </a:gridCol>
                <a:gridCol w="1535259">
                  <a:extLst>
                    <a:ext uri="{9D8B030D-6E8A-4147-A177-3AD203B41FA5}">
                      <a16:colId xmlns:a16="http://schemas.microsoft.com/office/drawing/2014/main" val="2483845328"/>
                    </a:ext>
                  </a:extLst>
                </a:gridCol>
              </a:tblGrid>
              <a:tr h="437760">
                <a:tc>
                  <a:txBody>
                    <a:bodyPr/>
                    <a:lstStyle>
                      <a:lvl1pPr marL="0" algn="l" defTabSz="609585" rtl="0" eaLnBrk="1" latinLnBrk="0" hangingPunct="1">
                        <a:defRPr sz="2400" b="1" kern="1200">
                          <a:solidFill>
                            <a:schemeClr val="lt1"/>
                          </a:solidFill>
                          <a:latin typeface="Calibri"/>
                        </a:defRPr>
                      </a:lvl1pPr>
                      <a:lvl2pPr marL="609585" algn="l" defTabSz="609585" rtl="0" eaLnBrk="1" latinLnBrk="0" hangingPunct="1">
                        <a:defRPr sz="2400" b="1" kern="1200">
                          <a:solidFill>
                            <a:schemeClr val="lt1"/>
                          </a:solidFill>
                          <a:latin typeface="Calibri"/>
                        </a:defRPr>
                      </a:lvl2pPr>
                      <a:lvl3pPr marL="1219170" algn="l" defTabSz="609585" rtl="0" eaLnBrk="1" latinLnBrk="0" hangingPunct="1">
                        <a:defRPr sz="2400" b="1" kern="1200">
                          <a:solidFill>
                            <a:schemeClr val="lt1"/>
                          </a:solidFill>
                          <a:latin typeface="Calibri"/>
                        </a:defRPr>
                      </a:lvl3pPr>
                      <a:lvl4pPr marL="1828754" algn="l" defTabSz="609585" rtl="0" eaLnBrk="1" latinLnBrk="0" hangingPunct="1">
                        <a:defRPr sz="2400" b="1" kern="1200">
                          <a:solidFill>
                            <a:schemeClr val="lt1"/>
                          </a:solidFill>
                          <a:latin typeface="Calibri"/>
                        </a:defRPr>
                      </a:lvl4pPr>
                      <a:lvl5pPr marL="2438339" algn="l" defTabSz="609585" rtl="0" eaLnBrk="1" latinLnBrk="0" hangingPunct="1">
                        <a:defRPr sz="2400" b="1" kern="1200">
                          <a:solidFill>
                            <a:schemeClr val="lt1"/>
                          </a:solidFill>
                          <a:latin typeface="Calibri"/>
                        </a:defRPr>
                      </a:lvl5pPr>
                      <a:lvl6pPr marL="3047924" algn="l" defTabSz="609585" rtl="0" eaLnBrk="1" latinLnBrk="0" hangingPunct="1">
                        <a:defRPr sz="2400" b="1" kern="1200">
                          <a:solidFill>
                            <a:schemeClr val="lt1"/>
                          </a:solidFill>
                          <a:latin typeface="Calibri"/>
                        </a:defRPr>
                      </a:lvl6pPr>
                      <a:lvl7pPr marL="3657509" algn="l" defTabSz="609585" rtl="0" eaLnBrk="1" latinLnBrk="0" hangingPunct="1">
                        <a:defRPr sz="2400" b="1" kern="1200">
                          <a:solidFill>
                            <a:schemeClr val="lt1"/>
                          </a:solidFill>
                          <a:latin typeface="Calibri"/>
                        </a:defRPr>
                      </a:lvl7pPr>
                      <a:lvl8pPr marL="4267093" algn="l" defTabSz="609585" rtl="0" eaLnBrk="1" latinLnBrk="0" hangingPunct="1">
                        <a:defRPr sz="2400" b="1" kern="1200">
                          <a:solidFill>
                            <a:schemeClr val="lt1"/>
                          </a:solidFill>
                          <a:latin typeface="Calibri"/>
                        </a:defRPr>
                      </a:lvl8pPr>
                      <a:lvl9pPr marL="4876678" algn="l" defTabSz="609585" rtl="0" eaLnBrk="1" latinLnBrk="0" hangingPunct="1">
                        <a:defRPr sz="2400" b="1" kern="1200">
                          <a:solidFill>
                            <a:schemeClr val="lt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noProof="0">
                          <a:solidFill>
                            <a:schemeClr val="tx1"/>
                          </a:solidFill>
                          <a:latin typeface="Arial" pitchFamily="34" charset="0"/>
                        </a:rPr>
                        <a:t>IT domain Lead</a:t>
                      </a:r>
                    </a:p>
                  </a:txBody>
                  <a:tcPr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lvl1pPr marL="0" algn="l" defTabSz="609585" rtl="0" eaLnBrk="1" latinLnBrk="0" hangingPunct="1">
                        <a:defRPr sz="2400" b="1" kern="1200">
                          <a:solidFill>
                            <a:schemeClr val="lt1"/>
                          </a:solidFill>
                          <a:latin typeface="Calibri"/>
                        </a:defRPr>
                      </a:lvl1pPr>
                      <a:lvl2pPr marL="609585" algn="l" defTabSz="609585" rtl="0" eaLnBrk="1" latinLnBrk="0" hangingPunct="1">
                        <a:defRPr sz="2400" b="1" kern="1200">
                          <a:solidFill>
                            <a:schemeClr val="lt1"/>
                          </a:solidFill>
                          <a:latin typeface="Calibri"/>
                        </a:defRPr>
                      </a:lvl2pPr>
                      <a:lvl3pPr marL="1219170" algn="l" defTabSz="609585" rtl="0" eaLnBrk="1" latinLnBrk="0" hangingPunct="1">
                        <a:defRPr sz="2400" b="1" kern="1200">
                          <a:solidFill>
                            <a:schemeClr val="lt1"/>
                          </a:solidFill>
                          <a:latin typeface="Calibri"/>
                        </a:defRPr>
                      </a:lvl3pPr>
                      <a:lvl4pPr marL="1828754" algn="l" defTabSz="609585" rtl="0" eaLnBrk="1" latinLnBrk="0" hangingPunct="1">
                        <a:defRPr sz="2400" b="1" kern="1200">
                          <a:solidFill>
                            <a:schemeClr val="lt1"/>
                          </a:solidFill>
                          <a:latin typeface="Calibri"/>
                        </a:defRPr>
                      </a:lvl4pPr>
                      <a:lvl5pPr marL="2438339" algn="l" defTabSz="609585" rtl="0" eaLnBrk="1" latinLnBrk="0" hangingPunct="1">
                        <a:defRPr sz="2400" b="1" kern="1200">
                          <a:solidFill>
                            <a:schemeClr val="lt1"/>
                          </a:solidFill>
                          <a:latin typeface="Calibri"/>
                        </a:defRPr>
                      </a:lvl5pPr>
                      <a:lvl6pPr marL="3047924" algn="l" defTabSz="609585" rtl="0" eaLnBrk="1" latinLnBrk="0" hangingPunct="1">
                        <a:defRPr sz="2400" b="1" kern="1200">
                          <a:solidFill>
                            <a:schemeClr val="lt1"/>
                          </a:solidFill>
                          <a:latin typeface="Calibri"/>
                        </a:defRPr>
                      </a:lvl6pPr>
                      <a:lvl7pPr marL="3657509" algn="l" defTabSz="609585" rtl="0" eaLnBrk="1" latinLnBrk="0" hangingPunct="1">
                        <a:defRPr sz="2400" b="1" kern="1200">
                          <a:solidFill>
                            <a:schemeClr val="lt1"/>
                          </a:solidFill>
                          <a:latin typeface="Calibri"/>
                        </a:defRPr>
                      </a:lvl7pPr>
                      <a:lvl8pPr marL="4267093" algn="l" defTabSz="609585" rtl="0" eaLnBrk="1" latinLnBrk="0" hangingPunct="1">
                        <a:defRPr sz="2400" b="1" kern="1200">
                          <a:solidFill>
                            <a:schemeClr val="lt1"/>
                          </a:solidFill>
                          <a:latin typeface="Calibri"/>
                        </a:defRPr>
                      </a:lvl8pPr>
                      <a:lvl9pPr marL="4876678" algn="l" defTabSz="609585" rtl="0" eaLnBrk="1" latinLnBrk="0" hangingPunct="1">
                        <a:defRPr sz="2400" b="1" kern="1200">
                          <a:solidFill>
                            <a:schemeClr val="lt1"/>
                          </a:solidFill>
                          <a:latin typeface="Calibri"/>
                        </a:defRPr>
                      </a:lvl9pPr>
                    </a:lstStyle>
                    <a:p>
                      <a:pPr fontAlgn="base">
                        <a:lnSpc>
                          <a:spcPct val="90000"/>
                        </a:lnSpc>
                        <a:spcBef>
                          <a:spcPct val="0"/>
                        </a:spcBef>
                        <a:spcAft>
                          <a:spcPct val="0"/>
                        </a:spcAft>
                      </a:pPr>
                      <a:r>
                        <a:rPr lang="fr-FR" sz="1200" b="0">
                          <a:solidFill>
                            <a:schemeClr val="tx1"/>
                          </a:solidFill>
                          <a:latin typeface="Arial" pitchFamily="34" charset="0"/>
                        </a:rPr>
                        <a:t>Elyse Bastien</a:t>
                      </a:r>
                    </a:p>
                    <a:p>
                      <a:pPr fontAlgn="base">
                        <a:lnSpc>
                          <a:spcPct val="90000"/>
                        </a:lnSpc>
                        <a:spcBef>
                          <a:spcPct val="0"/>
                        </a:spcBef>
                        <a:spcAft>
                          <a:spcPct val="0"/>
                        </a:spcAft>
                      </a:pPr>
                      <a:r>
                        <a:rPr lang="fr-FR" sz="1200" b="0">
                          <a:solidFill>
                            <a:schemeClr val="tx1"/>
                          </a:solidFill>
                          <a:latin typeface="Arial" pitchFamily="34" charset="0"/>
                        </a:rPr>
                        <a:t>Camille </a:t>
                      </a:r>
                      <a:r>
                        <a:rPr lang="fr-FR" sz="1200" b="0" err="1">
                          <a:solidFill>
                            <a:schemeClr val="tx1"/>
                          </a:solidFill>
                          <a:latin typeface="Arial" pitchFamily="34" charset="0"/>
                        </a:rPr>
                        <a:t>Tran</a:t>
                      </a:r>
                      <a:r>
                        <a:rPr lang="fr-FR" sz="1200" b="0">
                          <a:solidFill>
                            <a:schemeClr val="tx1"/>
                          </a:solidFill>
                          <a:latin typeface="Arial" pitchFamily="34" charset="0"/>
                        </a:rPr>
                        <a:t> </a:t>
                      </a:r>
                    </a:p>
                  </a:txBody>
                  <a:tcPr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1836467"/>
                  </a:ext>
                </a:extLst>
              </a:tr>
            </a:tbl>
          </a:graphicData>
        </a:graphic>
      </p:graphicFrame>
      <p:graphicFrame>
        <p:nvGraphicFramePr>
          <p:cNvPr id="22" name="Tableau 21">
            <a:extLst>
              <a:ext uri="{FF2B5EF4-FFF2-40B4-BE49-F238E27FC236}">
                <a16:creationId xmlns:a16="http://schemas.microsoft.com/office/drawing/2014/main" id="{0CA093F9-6008-6079-BF70-F460C088ECF7}"/>
              </a:ext>
            </a:extLst>
          </p:cNvPr>
          <p:cNvGraphicFramePr>
            <a:graphicFrameLocks noGrp="1"/>
          </p:cNvGraphicFramePr>
          <p:nvPr/>
        </p:nvGraphicFramePr>
        <p:xfrm>
          <a:off x="767893" y="4634460"/>
          <a:ext cx="2549968" cy="437760"/>
        </p:xfrm>
        <a:graphic>
          <a:graphicData uri="http://schemas.openxmlformats.org/drawingml/2006/table">
            <a:tbl>
              <a:tblPr firstRow="1" bandRow="1"/>
              <a:tblGrid>
                <a:gridCol w="946712">
                  <a:extLst>
                    <a:ext uri="{9D8B030D-6E8A-4147-A177-3AD203B41FA5}">
                      <a16:colId xmlns:a16="http://schemas.microsoft.com/office/drawing/2014/main" val="3996293728"/>
                    </a:ext>
                  </a:extLst>
                </a:gridCol>
                <a:gridCol w="1603256">
                  <a:extLst>
                    <a:ext uri="{9D8B030D-6E8A-4147-A177-3AD203B41FA5}">
                      <a16:colId xmlns:a16="http://schemas.microsoft.com/office/drawing/2014/main" val="2483845328"/>
                    </a:ext>
                  </a:extLst>
                </a:gridCol>
              </a:tblGrid>
              <a:tr h="437760">
                <a:tc>
                  <a:txBody>
                    <a:bodyPr/>
                    <a:lstStyle>
                      <a:lvl1pPr marL="0" algn="l" defTabSz="609585" rtl="0" eaLnBrk="1" latinLnBrk="0" hangingPunct="1">
                        <a:defRPr sz="2400" b="1" kern="1200">
                          <a:solidFill>
                            <a:schemeClr val="lt1"/>
                          </a:solidFill>
                          <a:latin typeface="Calibri"/>
                        </a:defRPr>
                      </a:lvl1pPr>
                      <a:lvl2pPr marL="609585" algn="l" defTabSz="609585" rtl="0" eaLnBrk="1" latinLnBrk="0" hangingPunct="1">
                        <a:defRPr sz="2400" b="1" kern="1200">
                          <a:solidFill>
                            <a:schemeClr val="lt1"/>
                          </a:solidFill>
                          <a:latin typeface="Calibri"/>
                        </a:defRPr>
                      </a:lvl2pPr>
                      <a:lvl3pPr marL="1219170" algn="l" defTabSz="609585" rtl="0" eaLnBrk="1" latinLnBrk="0" hangingPunct="1">
                        <a:defRPr sz="2400" b="1" kern="1200">
                          <a:solidFill>
                            <a:schemeClr val="lt1"/>
                          </a:solidFill>
                          <a:latin typeface="Calibri"/>
                        </a:defRPr>
                      </a:lvl3pPr>
                      <a:lvl4pPr marL="1828754" algn="l" defTabSz="609585" rtl="0" eaLnBrk="1" latinLnBrk="0" hangingPunct="1">
                        <a:defRPr sz="2400" b="1" kern="1200">
                          <a:solidFill>
                            <a:schemeClr val="lt1"/>
                          </a:solidFill>
                          <a:latin typeface="Calibri"/>
                        </a:defRPr>
                      </a:lvl4pPr>
                      <a:lvl5pPr marL="2438339" algn="l" defTabSz="609585" rtl="0" eaLnBrk="1" latinLnBrk="0" hangingPunct="1">
                        <a:defRPr sz="2400" b="1" kern="1200">
                          <a:solidFill>
                            <a:schemeClr val="lt1"/>
                          </a:solidFill>
                          <a:latin typeface="Calibri"/>
                        </a:defRPr>
                      </a:lvl5pPr>
                      <a:lvl6pPr marL="3047924" algn="l" defTabSz="609585" rtl="0" eaLnBrk="1" latinLnBrk="0" hangingPunct="1">
                        <a:defRPr sz="2400" b="1" kern="1200">
                          <a:solidFill>
                            <a:schemeClr val="lt1"/>
                          </a:solidFill>
                          <a:latin typeface="Calibri"/>
                        </a:defRPr>
                      </a:lvl6pPr>
                      <a:lvl7pPr marL="3657509" algn="l" defTabSz="609585" rtl="0" eaLnBrk="1" latinLnBrk="0" hangingPunct="1">
                        <a:defRPr sz="2400" b="1" kern="1200">
                          <a:solidFill>
                            <a:schemeClr val="lt1"/>
                          </a:solidFill>
                          <a:latin typeface="Calibri"/>
                        </a:defRPr>
                      </a:lvl7pPr>
                      <a:lvl8pPr marL="4267093" algn="l" defTabSz="609585" rtl="0" eaLnBrk="1" latinLnBrk="0" hangingPunct="1">
                        <a:defRPr sz="2400" b="1" kern="1200">
                          <a:solidFill>
                            <a:schemeClr val="lt1"/>
                          </a:solidFill>
                          <a:latin typeface="Calibri"/>
                        </a:defRPr>
                      </a:lvl8pPr>
                      <a:lvl9pPr marL="4876678" algn="l" defTabSz="609585" rtl="0" eaLnBrk="1" latinLnBrk="0" hangingPunct="1">
                        <a:defRPr sz="2400" b="1" kern="1200">
                          <a:solidFill>
                            <a:schemeClr val="lt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noProof="0">
                          <a:solidFill>
                            <a:schemeClr val="tx1"/>
                          </a:solidFill>
                          <a:latin typeface="Arial" pitchFamily="34" charset="0"/>
                        </a:rPr>
                        <a:t>Data consumer</a:t>
                      </a:r>
                    </a:p>
                  </a:txBody>
                  <a:tcPr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86D5A6"/>
                    </a:solidFill>
                  </a:tcPr>
                </a:tc>
                <a:tc>
                  <a:txBody>
                    <a:bodyPr/>
                    <a:lstStyle>
                      <a:lvl1pPr marL="0" algn="l" defTabSz="609585" rtl="0" eaLnBrk="1" latinLnBrk="0" hangingPunct="1">
                        <a:defRPr sz="2400" b="1" kern="1200">
                          <a:solidFill>
                            <a:schemeClr val="lt1"/>
                          </a:solidFill>
                          <a:latin typeface="Calibri"/>
                        </a:defRPr>
                      </a:lvl1pPr>
                      <a:lvl2pPr marL="609585" algn="l" defTabSz="609585" rtl="0" eaLnBrk="1" latinLnBrk="0" hangingPunct="1">
                        <a:defRPr sz="2400" b="1" kern="1200">
                          <a:solidFill>
                            <a:schemeClr val="lt1"/>
                          </a:solidFill>
                          <a:latin typeface="Calibri"/>
                        </a:defRPr>
                      </a:lvl2pPr>
                      <a:lvl3pPr marL="1219170" algn="l" defTabSz="609585" rtl="0" eaLnBrk="1" latinLnBrk="0" hangingPunct="1">
                        <a:defRPr sz="2400" b="1" kern="1200">
                          <a:solidFill>
                            <a:schemeClr val="lt1"/>
                          </a:solidFill>
                          <a:latin typeface="Calibri"/>
                        </a:defRPr>
                      </a:lvl3pPr>
                      <a:lvl4pPr marL="1828754" algn="l" defTabSz="609585" rtl="0" eaLnBrk="1" latinLnBrk="0" hangingPunct="1">
                        <a:defRPr sz="2400" b="1" kern="1200">
                          <a:solidFill>
                            <a:schemeClr val="lt1"/>
                          </a:solidFill>
                          <a:latin typeface="Calibri"/>
                        </a:defRPr>
                      </a:lvl4pPr>
                      <a:lvl5pPr marL="2438339" algn="l" defTabSz="609585" rtl="0" eaLnBrk="1" latinLnBrk="0" hangingPunct="1">
                        <a:defRPr sz="2400" b="1" kern="1200">
                          <a:solidFill>
                            <a:schemeClr val="lt1"/>
                          </a:solidFill>
                          <a:latin typeface="Calibri"/>
                        </a:defRPr>
                      </a:lvl5pPr>
                      <a:lvl6pPr marL="3047924" algn="l" defTabSz="609585" rtl="0" eaLnBrk="1" latinLnBrk="0" hangingPunct="1">
                        <a:defRPr sz="2400" b="1" kern="1200">
                          <a:solidFill>
                            <a:schemeClr val="lt1"/>
                          </a:solidFill>
                          <a:latin typeface="Calibri"/>
                        </a:defRPr>
                      </a:lvl6pPr>
                      <a:lvl7pPr marL="3657509" algn="l" defTabSz="609585" rtl="0" eaLnBrk="1" latinLnBrk="0" hangingPunct="1">
                        <a:defRPr sz="2400" b="1" kern="1200">
                          <a:solidFill>
                            <a:schemeClr val="lt1"/>
                          </a:solidFill>
                          <a:latin typeface="Calibri"/>
                        </a:defRPr>
                      </a:lvl7pPr>
                      <a:lvl8pPr marL="4267093" algn="l" defTabSz="609585" rtl="0" eaLnBrk="1" latinLnBrk="0" hangingPunct="1">
                        <a:defRPr sz="2400" b="1" kern="1200">
                          <a:solidFill>
                            <a:schemeClr val="lt1"/>
                          </a:solidFill>
                          <a:latin typeface="Calibri"/>
                        </a:defRPr>
                      </a:lvl8pPr>
                      <a:lvl9pPr marL="4876678" algn="l" defTabSz="609585" rtl="0" eaLnBrk="1" latinLnBrk="0" hangingPunct="1">
                        <a:defRPr sz="2400" b="1" kern="1200">
                          <a:solidFill>
                            <a:schemeClr val="lt1"/>
                          </a:solidFill>
                          <a:latin typeface="Calibri"/>
                        </a:defRPr>
                      </a:lvl9pPr>
                    </a:lstStyle>
                    <a:p>
                      <a:pPr fontAlgn="base">
                        <a:lnSpc>
                          <a:spcPct val="90000"/>
                        </a:lnSpc>
                        <a:spcBef>
                          <a:spcPct val="0"/>
                        </a:spcBef>
                        <a:spcAft>
                          <a:spcPct val="0"/>
                        </a:spcAft>
                      </a:pPr>
                      <a:r>
                        <a:rPr lang="fr-FR" sz="1200" b="0">
                          <a:solidFill>
                            <a:schemeClr val="tx1"/>
                          </a:solidFill>
                          <a:latin typeface="Arial" pitchFamily="34" charset="0"/>
                        </a:rPr>
                        <a:t>HS </a:t>
                      </a:r>
                      <a:r>
                        <a:rPr lang="fr-FR" sz="1200" b="0" err="1">
                          <a:solidFill>
                            <a:schemeClr val="tx1"/>
                          </a:solidFill>
                          <a:latin typeface="Arial" pitchFamily="34" charset="0"/>
                        </a:rPr>
                        <a:t>Board</a:t>
                      </a:r>
                      <a:endParaRPr lang="fr-FR" sz="1200" b="0">
                        <a:solidFill>
                          <a:schemeClr val="tx1"/>
                        </a:solidFill>
                        <a:latin typeface="Arial" pitchFamily="34" charset="0"/>
                      </a:endParaRPr>
                    </a:p>
                  </a:txBody>
                  <a:tcPr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1836467"/>
                  </a:ext>
                </a:extLst>
              </a:tr>
            </a:tbl>
          </a:graphicData>
        </a:graphic>
      </p:graphicFrame>
      <p:sp>
        <p:nvSpPr>
          <p:cNvPr id="26" name="Title 2">
            <a:extLst>
              <a:ext uri="{FF2B5EF4-FFF2-40B4-BE49-F238E27FC236}">
                <a16:creationId xmlns:a16="http://schemas.microsoft.com/office/drawing/2014/main" id="{7C9A15DD-3E1A-179F-4A4D-22E09BB4D69C}"/>
              </a:ext>
            </a:extLst>
          </p:cNvPr>
          <p:cNvSpPr txBox="1">
            <a:spLocks/>
          </p:cNvSpPr>
          <p:nvPr/>
        </p:nvSpPr>
        <p:spPr bwMode="auto">
          <a:xfrm>
            <a:off x="3635105" y="1725172"/>
            <a:ext cx="2640001" cy="311021"/>
          </a:xfrm>
          <a:prstGeom prst="rect">
            <a:avLst/>
          </a:prstGeom>
          <a:solidFill>
            <a:srgbClr val="6AB4FF"/>
          </a:solidFill>
          <a:ln>
            <a:noFill/>
          </a:ln>
          <a:effectLst/>
          <a:extLst>
            <a:ext uri="{FAA26D3D-D897-4be2-8F04-BA451C77F1D7}">
              <ma14:placeholderFlag xmlns="" xmlns:ma14="http://schemas.microsoft.com/office/mac/drawingml/2011/main" val="1"/>
            </a:ext>
          </a:extLst>
        </p:spPr>
        <p:txBody>
          <a:bodyPr vert="horz" wrap="square" lIns="0" tIns="45720" rIns="91440" bIns="45720" numCol="1" anchor="ctr" anchorCtr="0" compatLnSpc="1">
            <a:prstTxWarp prst="textNoShape">
              <a:avLst/>
            </a:prstTxWarp>
          </a:bodyPr>
          <a:lstStyle>
            <a:lvl1pPr algn="l" rtl="0" eaLnBrk="0" fontAlgn="base" hangingPunct="0">
              <a:lnSpc>
                <a:spcPct val="90000"/>
              </a:lnSpc>
              <a:spcBef>
                <a:spcPct val="0"/>
              </a:spcBef>
              <a:spcAft>
                <a:spcPct val="0"/>
              </a:spcAft>
              <a:defRPr sz="2200">
                <a:solidFill>
                  <a:schemeClr val="tx2"/>
                </a:solidFill>
                <a:latin typeface="+mj-lt"/>
                <a:ea typeface="+mj-ea"/>
                <a:cs typeface="+mj-cs"/>
              </a:defRPr>
            </a:lvl1pPr>
            <a:lvl2pPr algn="l" rtl="0" eaLnBrk="0" fontAlgn="base" hangingPunct="0">
              <a:lnSpc>
                <a:spcPct val="90000"/>
              </a:lnSpc>
              <a:spcBef>
                <a:spcPct val="0"/>
              </a:spcBef>
              <a:spcAft>
                <a:spcPct val="0"/>
              </a:spcAft>
              <a:defRPr sz="2200">
                <a:solidFill>
                  <a:schemeClr val="tx2"/>
                </a:solidFill>
                <a:latin typeface="Arial" pitchFamily="34" charset="0"/>
              </a:defRPr>
            </a:lvl2pPr>
            <a:lvl3pPr algn="l" rtl="0" eaLnBrk="0" fontAlgn="base" hangingPunct="0">
              <a:lnSpc>
                <a:spcPct val="90000"/>
              </a:lnSpc>
              <a:spcBef>
                <a:spcPct val="0"/>
              </a:spcBef>
              <a:spcAft>
                <a:spcPct val="0"/>
              </a:spcAft>
              <a:defRPr sz="2200">
                <a:solidFill>
                  <a:schemeClr val="tx2"/>
                </a:solidFill>
                <a:latin typeface="Arial" pitchFamily="34" charset="0"/>
              </a:defRPr>
            </a:lvl3pPr>
            <a:lvl4pPr algn="l" rtl="0" eaLnBrk="0" fontAlgn="base" hangingPunct="0">
              <a:lnSpc>
                <a:spcPct val="90000"/>
              </a:lnSpc>
              <a:spcBef>
                <a:spcPct val="0"/>
              </a:spcBef>
              <a:spcAft>
                <a:spcPct val="0"/>
              </a:spcAft>
              <a:defRPr sz="2200">
                <a:solidFill>
                  <a:schemeClr val="tx2"/>
                </a:solidFill>
                <a:latin typeface="Arial" pitchFamily="34" charset="0"/>
              </a:defRPr>
            </a:lvl4pPr>
            <a:lvl5pPr algn="l" rtl="0" eaLnBrk="0" fontAlgn="base" hangingPunct="0">
              <a:lnSpc>
                <a:spcPct val="90000"/>
              </a:lnSpc>
              <a:spcBef>
                <a:spcPct val="0"/>
              </a:spcBef>
              <a:spcAft>
                <a:spcPct val="0"/>
              </a:spcAft>
              <a:defRPr sz="2200">
                <a:solidFill>
                  <a:schemeClr val="tx2"/>
                </a:solidFill>
                <a:latin typeface="Arial" pitchFamily="34" charset="0"/>
              </a:defRPr>
            </a:lvl5pPr>
            <a:lvl6pPr marL="457200" algn="l" rtl="0" fontAlgn="base">
              <a:lnSpc>
                <a:spcPct val="90000"/>
              </a:lnSpc>
              <a:spcBef>
                <a:spcPct val="0"/>
              </a:spcBef>
              <a:spcAft>
                <a:spcPct val="0"/>
              </a:spcAft>
              <a:defRPr sz="2200">
                <a:solidFill>
                  <a:schemeClr val="tx1"/>
                </a:solidFill>
                <a:latin typeface="Arial" pitchFamily="34" charset="0"/>
              </a:defRPr>
            </a:lvl6pPr>
            <a:lvl7pPr marL="914400" algn="l" rtl="0" fontAlgn="base">
              <a:lnSpc>
                <a:spcPct val="90000"/>
              </a:lnSpc>
              <a:spcBef>
                <a:spcPct val="0"/>
              </a:spcBef>
              <a:spcAft>
                <a:spcPct val="0"/>
              </a:spcAft>
              <a:defRPr sz="2200">
                <a:solidFill>
                  <a:schemeClr val="tx1"/>
                </a:solidFill>
                <a:latin typeface="Arial" pitchFamily="34" charset="0"/>
              </a:defRPr>
            </a:lvl7pPr>
            <a:lvl8pPr marL="1371600" algn="l" rtl="0" fontAlgn="base">
              <a:lnSpc>
                <a:spcPct val="90000"/>
              </a:lnSpc>
              <a:spcBef>
                <a:spcPct val="0"/>
              </a:spcBef>
              <a:spcAft>
                <a:spcPct val="0"/>
              </a:spcAft>
              <a:defRPr sz="2200">
                <a:solidFill>
                  <a:schemeClr val="tx1"/>
                </a:solidFill>
                <a:latin typeface="Arial" pitchFamily="34" charset="0"/>
              </a:defRPr>
            </a:lvl8pPr>
            <a:lvl9pPr marL="1828800" algn="l" rtl="0" fontAlgn="base">
              <a:lnSpc>
                <a:spcPct val="90000"/>
              </a:lnSpc>
              <a:spcBef>
                <a:spcPct val="0"/>
              </a:spcBef>
              <a:spcAft>
                <a:spcPct val="0"/>
              </a:spcAft>
              <a:defRPr sz="2200">
                <a:solidFill>
                  <a:schemeClr val="tx1"/>
                </a:solidFill>
                <a:latin typeface="Arial" pitchFamily="34" charset="0"/>
              </a:defRPr>
            </a:lvl9pPr>
          </a:lstStyle>
          <a:p>
            <a:pPr algn="ctr"/>
            <a:r>
              <a:rPr lang="en-US" sz="1200" b="1" kern="0">
                <a:solidFill>
                  <a:srgbClr val="004489"/>
                </a:solidFill>
                <a:latin typeface="Arial" panose="020B0604020202020204" pitchFamily="34" charset="0"/>
                <a:cs typeface="Arial" panose="020B0604020202020204" pitchFamily="34" charset="0"/>
              </a:rPr>
              <a:t>IT domain team</a:t>
            </a:r>
          </a:p>
        </p:txBody>
      </p:sp>
      <p:sp>
        <p:nvSpPr>
          <p:cNvPr id="27" name="Title 2">
            <a:extLst>
              <a:ext uri="{FF2B5EF4-FFF2-40B4-BE49-F238E27FC236}">
                <a16:creationId xmlns:a16="http://schemas.microsoft.com/office/drawing/2014/main" id="{FCB20A3E-EC07-464C-A43F-C3629F1B5007}"/>
              </a:ext>
            </a:extLst>
          </p:cNvPr>
          <p:cNvSpPr txBox="1">
            <a:spLocks/>
          </p:cNvSpPr>
          <p:nvPr/>
        </p:nvSpPr>
        <p:spPr bwMode="auto">
          <a:xfrm>
            <a:off x="6448985" y="1725173"/>
            <a:ext cx="2640003" cy="317419"/>
          </a:xfrm>
          <a:prstGeom prst="rect">
            <a:avLst/>
          </a:prstGeom>
          <a:solidFill>
            <a:srgbClr val="6AB4FF"/>
          </a:solidFill>
          <a:ln>
            <a:noFill/>
          </a:ln>
          <a:effectLst/>
          <a:extLst>
            <a:ext uri="{FAA26D3D-D897-4be2-8F04-BA451C77F1D7}">
              <ma14:placeholderFlag xmlns="" xmlns:ma14="http://schemas.microsoft.com/office/mac/drawingml/2011/main" val="1"/>
            </a:ext>
          </a:extLst>
        </p:spPr>
        <p:txBody>
          <a:bodyPr vert="horz" wrap="square" lIns="0" tIns="45720" rIns="91440" bIns="45720" numCol="1" anchor="ctr" anchorCtr="0" compatLnSpc="1">
            <a:prstTxWarp prst="textNoShape">
              <a:avLst/>
            </a:prstTxWarp>
          </a:bodyPr>
          <a:lstStyle>
            <a:lvl1pPr algn="l" rtl="0" eaLnBrk="0" fontAlgn="base" hangingPunct="0">
              <a:lnSpc>
                <a:spcPct val="90000"/>
              </a:lnSpc>
              <a:spcBef>
                <a:spcPct val="0"/>
              </a:spcBef>
              <a:spcAft>
                <a:spcPct val="0"/>
              </a:spcAft>
              <a:defRPr sz="2200">
                <a:solidFill>
                  <a:schemeClr val="tx2"/>
                </a:solidFill>
                <a:latin typeface="+mj-lt"/>
                <a:ea typeface="+mj-ea"/>
                <a:cs typeface="+mj-cs"/>
              </a:defRPr>
            </a:lvl1pPr>
            <a:lvl2pPr algn="l" rtl="0" eaLnBrk="0" fontAlgn="base" hangingPunct="0">
              <a:lnSpc>
                <a:spcPct val="90000"/>
              </a:lnSpc>
              <a:spcBef>
                <a:spcPct val="0"/>
              </a:spcBef>
              <a:spcAft>
                <a:spcPct val="0"/>
              </a:spcAft>
              <a:defRPr sz="2200">
                <a:solidFill>
                  <a:schemeClr val="tx2"/>
                </a:solidFill>
                <a:latin typeface="Arial" pitchFamily="34" charset="0"/>
              </a:defRPr>
            </a:lvl2pPr>
            <a:lvl3pPr algn="l" rtl="0" eaLnBrk="0" fontAlgn="base" hangingPunct="0">
              <a:lnSpc>
                <a:spcPct val="90000"/>
              </a:lnSpc>
              <a:spcBef>
                <a:spcPct val="0"/>
              </a:spcBef>
              <a:spcAft>
                <a:spcPct val="0"/>
              </a:spcAft>
              <a:defRPr sz="2200">
                <a:solidFill>
                  <a:schemeClr val="tx2"/>
                </a:solidFill>
                <a:latin typeface="Arial" pitchFamily="34" charset="0"/>
              </a:defRPr>
            </a:lvl3pPr>
            <a:lvl4pPr algn="l" rtl="0" eaLnBrk="0" fontAlgn="base" hangingPunct="0">
              <a:lnSpc>
                <a:spcPct val="90000"/>
              </a:lnSpc>
              <a:spcBef>
                <a:spcPct val="0"/>
              </a:spcBef>
              <a:spcAft>
                <a:spcPct val="0"/>
              </a:spcAft>
              <a:defRPr sz="2200">
                <a:solidFill>
                  <a:schemeClr val="tx2"/>
                </a:solidFill>
                <a:latin typeface="Arial" pitchFamily="34" charset="0"/>
              </a:defRPr>
            </a:lvl4pPr>
            <a:lvl5pPr algn="l" rtl="0" eaLnBrk="0" fontAlgn="base" hangingPunct="0">
              <a:lnSpc>
                <a:spcPct val="90000"/>
              </a:lnSpc>
              <a:spcBef>
                <a:spcPct val="0"/>
              </a:spcBef>
              <a:spcAft>
                <a:spcPct val="0"/>
              </a:spcAft>
              <a:defRPr sz="2200">
                <a:solidFill>
                  <a:schemeClr val="tx2"/>
                </a:solidFill>
                <a:latin typeface="Arial" pitchFamily="34" charset="0"/>
              </a:defRPr>
            </a:lvl5pPr>
            <a:lvl6pPr marL="457200" algn="l" rtl="0" fontAlgn="base">
              <a:lnSpc>
                <a:spcPct val="90000"/>
              </a:lnSpc>
              <a:spcBef>
                <a:spcPct val="0"/>
              </a:spcBef>
              <a:spcAft>
                <a:spcPct val="0"/>
              </a:spcAft>
              <a:defRPr sz="2200">
                <a:solidFill>
                  <a:schemeClr val="tx1"/>
                </a:solidFill>
                <a:latin typeface="Arial" pitchFamily="34" charset="0"/>
              </a:defRPr>
            </a:lvl6pPr>
            <a:lvl7pPr marL="914400" algn="l" rtl="0" fontAlgn="base">
              <a:lnSpc>
                <a:spcPct val="90000"/>
              </a:lnSpc>
              <a:spcBef>
                <a:spcPct val="0"/>
              </a:spcBef>
              <a:spcAft>
                <a:spcPct val="0"/>
              </a:spcAft>
              <a:defRPr sz="2200">
                <a:solidFill>
                  <a:schemeClr val="tx1"/>
                </a:solidFill>
                <a:latin typeface="Arial" pitchFamily="34" charset="0"/>
              </a:defRPr>
            </a:lvl7pPr>
            <a:lvl8pPr marL="1371600" algn="l" rtl="0" fontAlgn="base">
              <a:lnSpc>
                <a:spcPct val="90000"/>
              </a:lnSpc>
              <a:spcBef>
                <a:spcPct val="0"/>
              </a:spcBef>
              <a:spcAft>
                <a:spcPct val="0"/>
              </a:spcAft>
              <a:defRPr sz="2200">
                <a:solidFill>
                  <a:schemeClr val="tx1"/>
                </a:solidFill>
                <a:latin typeface="Arial" pitchFamily="34" charset="0"/>
              </a:defRPr>
            </a:lvl8pPr>
            <a:lvl9pPr marL="1828800" algn="l" rtl="0" fontAlgn="base">
              <a:lnSpc>
                <a:spcPct val="90000"/>
              </a:lnSpc>
              <a:spcBef>
                <a:spcPct val="0"/>
              </a:spcBef>
              <a:spcAft>
                <a:spcPct val="0"/>
              </a:spcAft>
              <a:defRPr sz="2200">
                <a:solidFill>
                  <a:schemeClr val="tx1"/>
                </a:solidFill>
                <a:latin typeface="Arial" pitchFamily="34" charset="0"/>
              </a:defRPr>
            </a:lvl9pPr>
          </a:lstStyle>
          <a:p>
            <a:pPr algn="ctr"/>
            <a:r>
              <a:rPr lang="en-US" sz="1200" b="1" kern="0">
                <a:solidFill>
                  <a:srgbClr val="004489"/>
                </a:solidFill>
                <a:latin typeface="Arial" panose="020B0604020202020204" pitchFamily="34" charset="0"/>
                <a:cs typeface="Arial" panose="020B0604020202020204" pitchFamily="34" charset="0"/>
              </a:rPr>
              <a:t>Data factory team</a:t>
            </a:r>
          </a:p>
        </p:txBody>
      </p:sp>
      <p:graphicFrame>
        <p:nvGraphicFramePr>
          <p:cNvPr id="28" name="Tableau 80">
            <a:extLst>
              <a:ext uri="{FF2B5EF4-FFF2-40B4-BE49-F238E27FC236}">
                <a16:creationId xmlns:a16="http://schemas.microsoft.com/office/drawing/2014/main" id="{ADC540BA-D7C8-2BC6-48B3-9E523FFB5D6A}"/>
              </a:ext>
            </a:extLst>
          </p:cNvPr>
          <p:cNvGraphicFramePr>
            <a:graphicFrameLocks noGrp="1"/>
          </p:cNvGraphicFramePr>
          <p:nvPr/>
        </p:nvGraphicFramePr>
        <p:xfrm>
          <a:off x="6505152" y="4612429"/>
          <a:ext cx="2549968" cy="437760"/>
        </p:xfrm>
        <a:graphic>
          <a:graphicData uri="http://schemas.openxmlformats.org/drawingml/2006/table">
            <a:tbl>
              <a:tblPr firstRow="1" bandRow="1"/>
              <a:tblGrid>
                <a:gridCol w="990389">
                  <a:extLst>
                    <a:ext uri="{9D8B030D-6E8A-4147-A177-3AD203B41FA5}">
                      <a16:colId xmlns:a16="http://schemas.microsoft.com/office/drawing/2014/main" val="3996293728"/>
                    </a:ext>
                  </a:extLst>
                </a:gridCol>
                <a:gridCol w="1559579">
                  <a:extLst>
                    <a:ext uri="{9D8B030D-6E8A-4147-A177-3AD203B41FA5}">
                      <a16:colId xmlns:a16="http://schemas.microsoft.com/office/drawing/2014/main" val="2483845328"/>
                    </a:ext>
                  </a:extLst>
                </a:gridCol>
              </a:tblGrid>
              <a:tr h="437760">
                <a:tc>
                  <a:txBody>
                    <a:bodyPr/>
                    <a:lstStyle>
                      <a:lvl1pPr marL="0" algn="l" defTabSz="609585" rtl="0" eaLnBrk="1" latinLnBrk="0" hangingPunct="1">
                        <a:defRPr sz="2400" b="1" kern="1200">
                          <a:solidFill>
                            <a:schemeClr val="lt1"/>
                          </a:solidFill>
                          <a:latin typeface="Calibri"/>
                        </a:defRPr>
                      </a:lvl1pPr>
                      <a:lvl2pPr marL="609585" algn="l" defTabSz="609585" rtl="0" eaLnBrk="1" latinLnBrk="0" hangingPunct="1">
                        <a:defRPr sz="2400" b="1" kern="1200">
                          <a:solidFill>
                            <a:schemeClr val="lt1"/>
                          </a:solidFill>
                          <a:latin typeface="Calibri"/>
                        </a:defRPr>
                      </a:lvl2pPr>
                      <a:lvl3pPr marL="1219170" algn="l" defTabSz="609585" rtl="0" eaLnBrk="1" latinLnBrk="0" hangingPunct="1">
                        <a:defRPr sz="2400" b="1" kern="1200">
                          <a:solidFill>
                            <a:schemeClr val="lt1"/>
                          </a:solidFill>
                          <a:latin typeface="Calibri"/>
                        </a:defRPr>
                      </a:lvl3pPr>
                      <a:lvl4pPr marL="1828754" algn="l" defTabSz="609585" rtl="0" eaLnBrk="1" latinLnBrk="0" hangingPunct="1">
                        <a:defRPr sz="2400" b="1" kern="1200">
                          <a:solidFill>
                            <a:schemeClr val="lt1"/>
                          </a:solidFill>
                          <a:latin typeface="Calibri"/>
                        </a:defRPr>
                      </a:lvl4pPr>
                      <a:lvl5pPr marL="2438339" algn="l" defTabSz="609585" rtl="0" eaLnBrk="1" latinLnBrk="0" hangingPunct="1">
                        <a:defRPr sz="2400" b="1" kern="1200">
                          <a:solidFill>
                            <a:schemeClr val="lt1"/>
                          </a:solidFill>
                          <a:latin typeface="Calibri"/>
                        </a:defRPr>
                      </a:lvl5pPr>
                      <a:lvl6pPr marL="3047924" algn="l" defTabSz="609585" rtl="0" eaLnBrk="1" latinLnBrk="0" hangingPunct="1">
                        <a:defRPr sz="2400" b="1" kern="1200">
                          <a:solidFill>
                            <a:schemeClr val="lt1"/>
                          </a:solidFill>
                          <a:latin typeface="Calibri"/>
                        </a:defRPr>
                      </a:lvl6pPr>
                      <a:lvl7pPr marL="3657509" algn="l" defTabSz="609585" rtl="0" eaLnBrk="1" latinLnBrk="0" hangingPunct="1">
                        <a:defRPr sz="2400" b="1" kern="1200">
                          <a:solidFill>
                            <a:schemeClr val="lt1"/>
                          </a:solidFill>
                          <a:latin typeface="Calibri"/>
                        </a:defRPr>
                      </a:lvl7pPr>
                      <a:lvl8pPr marL="4267093" algn="l" defTabSz="609585" rtl="0" eaLnBrk="1" latinLnBrk="0" hangingPunct="1">
                        <a:defRPr sz="2400" b="1" kern="1200">
                          <a:solidFill>
                            <a:schemeClr val="lt1"/>
                          </a:solidFill>
                          <a:latin typeface="Calibri"/>
                        </a:defRPr>
                      </a:lvl8pPr>
                      <a:lvl9pPr marL="4876678" algn="l" defTabSz="609585" rtl="0" eaLnBrk="1" latinLnBrk="0" hangingPunct="1">
                        <a:defRPr sz="2400" b="1" kern="1200">
                          <a:solidFill>
                            <a:schemeClr val="lt1"/>
                          </a:solidFill>
                          <a:latin typeface="Calibri"/>
                        </a:defRPr>
                      </a:lvl9pPr>
                    </a:lstStyle>
                    <a:p>
                      <a:pPr marL="0" marR="0" lvl="0" indent="0" algn="l" rtl="0" eaLnBrk="1" fontAlgn="auto" latinLnBrk="0" hangingPunct="1">
                        <a:lnSpc>
                          <a:spcPct val="100000"/>
                        </a:lnSpc>
                        <a:spcBef>
                          <a:spcPts val="0"/>
                        </a:spcBef>
                        <a:spcAft>
                          <a:spcPts val="0"/>
                        </a:spcAft>
                        <a:buClrTx/>
                        <a:buSzTx/>
                        <a:buFontTx/>
                        <a:buNone/>
                      </a:pPr>
                      <a:r>
                        <a:rPr lang="fr-FR" sz="1200" b="0">
                          <a:solidFill>
                            <a:schemeClr val="tx1"/>
                          </a:solidFill>
                          <a:latin typeface="Arial"/>
                        </a:rPr>
                        <a:t>Tech lead</a:t>
                      </a:r>
                    </a:p>
                  </a:txBody>
                  <a:tcPr marT="36000" marB="36000" anchor="ctr">
                    <a:lnL w="12700" cmpd="sng">
                      <a:noFill/>
                    </a:lnL>
                    <a:lnR w="12700" cmpd="sng">
                      <a:noFill/>
                    </a:lnR>
                    <a:lnT w="12700" cap="flat" cmpd="sng" algn="ctr">
                      <a:solidFill>
                        <a:sysClr val="window" lastClr="FFFFFF">
                          <a:lumMod val="65000"/>
                        </a:sysClr>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7FD7D6"/>
                    </a:solidFill>
                  </a:tcPr>
                </a:tc>
                <a:tc>
                  <a:txBody>
                    <a:bodyPr/>
                    <a:lstStyle>
                      <a:lvl1pPr marL="0" algn="l" defTabSz="609585" rtl="0" eaLnBrk="1" latinLnBrk="0" hangingPunct="1">
                        <a:defRPr sz="2400" b="1" kern="1200">
                          <a:solidFill>
                            <a:schemeClr val="lt1"/>
                          </a:solidFill>
                          <a:latin typeface="Calibri"/>
                        </a:defRPr>
                      </a:lvl1pPr>
                      <a:lvl2pPr marL="609585" algn="l" defTabSz="609585" rtl="0" eaLnBrk="1" latinLnBrk="0" hangingPunct="1">
                        <a:defRPr sz="2400" b="1" kern="1200">
                          <a:solidFill>
                            <a:schemeClr val="lt1"/>
                          </a:solidFill>
                          <a:latin typeface="Calibri"/>
                        </a:defRPr>
                      </a:lvl2pPr>
                      <a:lvl3pPr marL="1219170" algn="l" defTabSz="609585" rtl="0" eaLnBrk="1" latinLnBrk="0" hangingPunct="1">
                        <a:defRPr sz="2400" b="1" kern="1200">
                          <a:solidFill>
                            <a:schemeClr val="lt1"/>
                          </a:solidFill>
                          <a:latin typeface="Calibri"/>
                        </a:defRPr>
                      </a:lvl3pPr>
                      <a:lvl4pPr marL="1828754" algn="l" defTabSz="609585" rtl="0" eaLnBrk="1" latinLnBrk="0" hangingPunct="1">
                        <a:defRPr sz="2400" b="1" kern="1200">
                          <a:solidFill>
                            <a:schemeClr val="lt1"/>
                          </a:solidFill>
                          <a:latin typeface="Calibri"/>
                        </a:defRPr>
                      </a:lvl4pPr>
                      <a:lvl5pPr marL="2438339" algn="l" defTabSz="609585" rtl="0" eaLnBrk="1" latinLnBrk="0" hangingPunct="1">
                        <a:defRPr sz="2400" b="1" kern="1200">
                          <a:solidFill>
                            <a:schemeClr val="lt1"/>
                          </a:solidFill>
                          <a:latin typeface="Calibri"/>
                        </a:defRPr>
                      </a:lvl5pPr>
                      <a:lvl6pPr marL="3047924" algn="l" defTabSz="609585" rtl="0" eaLnBrk="1" latinLnBrk="0" hangingPunct="1">
                        <a:defRPr sz="2400" b="1" kern="1200">
                          <a:solidFill>
                            <a:schemeClr val="lt1"/>
                          </a:solidFill>
                          <a:latin typeface="Calibri"/>
                        </a:defRPr>
                      </a:lvl6pPr>
                      <a:lvl7pPr marL="3657509" algn="l" defTabSz="609585" rtl="0" eaLnBrk="1" latinLnBrk="0" hangingPunct="1">
                        <a:defRPr sz="2400" b="1" kern="1200">
                          <a:solidFill>
                            <a:schemeClr val="lt1"/>
                          </a:solidFill>
                          <a:latin typeface="Calibri"/>
                        </a:defRPr>
                      </a:lvl7pPr>
                      <a:lvl8pPr marL="4267093" algn="l" defTabSz="609585" rtl="0" eaLnBrk="1" latinLnBrk="0" hangingPunct="1">
                        <a:defRPr sz="2400" b="1" kern="1200">
                          <a:solidFill>
                            <a:schemeClr val="lt1"/>
                          </a:solidFill>
                          <a:latin typeface="Calibri"/>
                        </a:defRPr>
                      </a:lvl8pPr>
                      <a:lvl9pPr marL="4876678" algn="l" defTabSz="609585" rtl="0" eaLnBrk="1" latinLnBrk="0" hangingPunct="1">
                        <a:defRPr sz="2400" b="1" kern="1200">
                          <a:solidFill>
                            <a:schemeClr val="lt1"/>
                          </a:solidFill>
                          <a:latin typeface="Calibri"/>
                        </a:defRPr>
                      </a:lvl9pPr>
                    </a:lstStyle>
                    <a:p>
                      <a:pPr fontAlgn="base">
                        <a:lnSpc>
                          <a:spcPct val="90000"/>
                        </a:lnSpc>
                        <a:spcBef>
                          <a:spcPct val="0"/>
                        </a:spcBef>
                        <a:spcAft>
                          <a:spcPct val="0"/>
                        </a:spcAft>
                      </a:pPr>
                      <a:r>
                        <a:rPr lang="fr-FR" sz="1200" b="0">
                          <a:solidFill>
                            <a:schemeClr val="tx1"/>
                          </a:solidFill>
                          <a:latin typeface="Arial" pitchFamily="34" charset="0"/>
                        </a:rPr>
                        <a:t>Thomas Marencic</a:t>
                      </a:r>
                    </a:p>
                  </a:txBody>
                  <a:tcPr marT="36000" marB="36000" anchor="ctr">
                    <a:lnL w="12700" cmpd="sng">
                      <a:noFill/>
                    </a:lnL>
                    <a:lnR w="12700" cmpd="sng">
                      <a:noFill/>
                    </a:lnR>
                    <a:lnT w="12700" cap="flat" cmpd="sng" algn="ctr">
                      <a:solidFill>
                        <a:sysClr val="window" lastClr="FFFFFF">
                          <a:lumMod val="65000"/>
                        </a:sysClr>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10879046"/>
                  </a:ext>
                </a:extLst>
              </a:tr>
            </a:tbl>
          </a:graphicData>
        </a:graphic>
      </p:graphicFrame>
      <p:graphicFrame>
        <p:nvGraphicFramePr>
          <p:cNvPr id="31" name="Tableau 30">
            <a:extLst>
              <a:ext uri="{FF2B5EF4-FFF2-40B4-BE49-F238E27FC236}">
                <a16:creationId xmlns:a16="http://schemas.microsoft.com/office/drawing/2014/main" id="{B79A3EEC-C0AD-2A7B-F1CA-ADC1BB5DE153}"/>
              </a:ext>
            </a:extLst>
          </p:cNvPr>
          <p:cNvGraphicFramePr>
            <a:graphicFrameLocks noGrp="1"/>
          </p:cNvGraphicFramePr>
          <p:nvPr/>
        </p:nvGraphicFramePr>
        <p:xfrm>
          <a:off x="4196209" y="3462103"/>
          <a:ext cx="3799583" cy="437760"/>
        </p:xfrm>
        <a:graphic>
          <a:graphicData uri="http://schemas.openxmlformats.org/drawingml/2006/table">
            <a:tbl>
              <a:tblPr firstRow="1" bandRow="1"/>
              <a:tblGrid>
                <a:gridCol w="1103328">
                  <a:extLst>
                    <a:ext uri="{9D8B030D-6E8A-4147-A177-3AD203B41FA5}">
                      <a16:colId xmlns:a16="http://schemas.microsoft.com/office/drawing/2014/main" val="3996293728"/>
                    </a:ext>
                  </a:extLst>
                </a:gridCol>
                <a:gridCol w="2696255">
                  <a:extLst>
                    <a:ext uri="{9D8B030D-6E8A-4147-A177-3AD203B41FA5}">
                      <a16:colId xmlns:a16="http://schemas.microsoft.com/office/drawing/2014/main" val="2483845328"/>
                    </a:ext>
                  </a:extLst>
                </a:gridCol>
              </a:tblGrid>
              <a:tr h="437760">
                <a:tc>
                  <a:txBody>
                    <a:bodyPr/>
                    <a:lstStyle>
                      <a:lvl1pPr marL="0" algn="l" defTabSz="609585" rtl="0" eaLnBrk="1" latinLnBrk="0" hangingPunct="1">
                        <a:defRPr sz="2400" b="1" kern="1200">
                          <a:solidFill>
                            <a:schemeClr val="lt1"/>
                          </a:solidFill>
                          <a:latin typeface="Calibri"/>
                        </a:defRPr>
                      </a:lvl1pPr>
                      <a:lvl2pPr marL="609585" algn="l" defTabSz="609585" rtl="0" eaLnBrk="1" latinLnBrk="0" hangingPunct="1">
                        <a:defRPr sz="2400" b="1" kern="1200">
                          <a:solidFill>
                            <a:schemeClr val="lt1"/>
                          </a:solidFill>
                          <a:latin typeface="Calibri"/>
                        </a:defRPr>
                      </a:lvl2pPr>
                      <a:lvl3pPr marL="1219170" algn="l" defTabSz="609585" rtl="0" eaLnBrk="1" latinLnBrk="0" hangingPunct="1">
                        <a:defRPr sz="2400" b="1" kern="1200">
                          <a:solidFill>
                            <a:schemeClr val="lt1"/>
                          </a:solidFill>
                          <a:latin typeface="Calibri"/>
                        </a:defRPr>
                      </a:lvl3pPr>
                      <a:lvl4pPr marL="1828754" algn="l" defTabSz="609585" rtl="0" eaLnBrk="1" latinLnBrk="0" hangingPunct="1">
                        <a:defRPr sz="2400" b="1" kern="1200">
                          <a:solidFill>
                            <a:schemeClr val="lt1"/>
                          </a:solidFill>
                          <a:latin typeface="Calibri"/>
                        </a:defRPr>
                      </a:lvl4pPr>
                      <a:lvl5pPr marL="2438339" algn="l" defTabSz="609585" rtl="0" eaLnBrk="1" latinLnBrk="0" hangingPunct="1">
                        <a:defRPr sz="2400" b="1" kern="1200">
                          <a:solidFill>
                            <a:schemeClr val="lt1"/>
                          </a:solidFill>
                          <a:latin typeface="Calibri"/>
                        </a:defRPr>
                      </a:lvl5pPr>
                      <a:lvl6pPr marL="3047924" algn="l" defTabSz="609585" rtl="0" eaLnBrk="1" latinLnBrk="0" hangingPunct="1">
                        <a:defRPr sz="2400" b="1" kern="1200">
                          <a:solidFill>
                            <a:schemeClr val="lt1"/>
                          </a:solidFill>
                          <a:latin typeface="Calibri"/>
                        </a:defRPr>
                      </a:lvl6pPr>
                      <a:lvl7pPr marL="3657509" algn="l" defTabSz="609585" rtl="0" eaLnBrk="1" latinLnBrk="0" hangingPunct="1">
                        <a:defRPr sz="2400" b="1" kern="1200">
                          <a:solidFill>
                            <a:schemeClr val="lt1"/>
                          </a:solidFill>
                          <a:latin typeface="Calibri"/>
                        </a:defRPr>
                      </a:lvl7pPr>
                      <a:lvl8pPr marL="4267093" algn="l" defTabSz="609585" rtl="0" eaLnBrk="1" latinLnBrk="0" hangingPunct="1">
                        <a:defRPr sz="2400" b="1" kern="1200">
                          <a:solidFill>
                            <a:schemeClr val="lt1"/>
                          </a:solidFill>
                          <a:latin typeface="Calibri"/>
                        </a:defRPr>
                      </a:lvl8pPr>
                      <a:lvl9pPr marL="4876678" algn="l" defTabSz="609585" rtl="0" eaLnBrk="1" latinLnBrk="0" hangingPunct="1">
                        <a:defRPr sz="2400" b="1" kern="1200">
                          <a:solidFill>
                            <a:schemeClr val="lt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noProof="0">
                          <a:solidFill>
                            <a:schemeClr val="tx1"/>
                          </a:solidFill>
                          <a:latin typeface="Arial" pitchFamily="34" charset="0"/>
                        </a:rPr>
                        <a:t>Data Steward</a:t>
                      </a:r>
                    </a:p>
                  </a:txBody>
                  <a:tcPr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7FD7D6"/>
                    </a:solidFill>
                  </a:tcPr>
                </a:tc>
                <a:tc>
                  <a:txBody>
                    <a:bodyPr/>
                    <a:lstStyle>
                      <a:lvl1pPr marL="0" algn="l" defTabSz="609585" rtl="0" eaLnBrk="1" latinLnBrk="0" hangingPunct="1">
                        <a:defRPr sz="2400" b="1" kern="1200">
                          <a:solidFill>
                            <a:schemeClr val="lt1"/>
                          </a:solidFill>
                          <a:latin typeface="Calibri"/>
                        </a:defRPr>
                      </a:lvl1pPr>
                      <a:lvl2pPr marL="609585" algn="l" defTabSz="609585" rtl="0" eaLnBrk="1" latinLnBrk="0" hangingPunct="1">
                        <a:defRPr sz="2400" b="1" kern="1200">
                          <a:solidFill>
                            <a:schemeClr val="lt1"/>
                          </a:solidFill>
                          <a:latin typeface="Calibri"/>
                        </a:defRPr>
                      </a:lvl2pPr>
                      <a:lvl3pPr marL="1219170" algn="l" defTabSz="609585" rtl="0" eaLnBrk="1" latinLnBrk="0" hangingPunct="1">
                        <a:defRPr sz="2400" b="1" kern="1200">
                          <a:solidFill>
                            <a:schemeClr val="lt1"/>
                          </a:solidFill>
                          <a:latin typeface="Calibri"/>
                        </a:defRPr>
                      </a:lvl3pPr>
                      <a:lvl4pPr marL="1828754" algn="l" defTabSz="609585" rtl="0" eaLnBrk="1" latinLnBrk="0" hangingPunct="1">
                        <a:defRPr sz="2400" b="1" kern="1200">
                          <a:solidFill>
                            <a:schemeClr val="lt1"/>
                          </a:solidFill>
                          <a:latin typeface="Calibri"/>
                        </a:defRPr>
                      </a:lvl4pPr>
                      <a:lvl5pPr marL="2438339" algn="l" defTabSz="609585" rtl="0" eaLnBrk="1" latinLnBrk="0" hangingPunct="1">
                        <a:defRPr sz="2400" b="1" kern="1200">
                          <a:solidFill>
                            <a:schemeClr val="lt1"/>
                          </a:solidFill>
                          <a:latin typeface="Calibri"/>
                        </a:defRPr>
                      </a:lvl5pPr>
                      <a:lvl6pPr marL="3047924" algn="l" defTabSz="609585" rtl="0" eaLnBrk="1" latinLnBrk="0" hangingPunct="1">
                        <a:defRPr sz="2400" b="1" kern="1200">
                          <a:solidFill>
                            <a:schemeClr val="lt1"/>
                          </a:solidFill>
                          <a:latin typeface="Calibri"/>
                        </a:defRPr>
                      </a:lvl6pPr>
                      <a:lvl7pPr marL="3657509" algn="l" defTabSz="609585" rtl="0" eaLnBrk="1" latinLnBrk="0" hangingPunct="1">
                        <a:defRPr sz="2400" b="1" kern="1200">
                          <a:solidFill>
                            <a:schemeClr val="lt1"/>
                          </a:solidFill>
                          <a:latin typeface="Calibri"/>
                        </a:defRPr>
                      </a:lvl7pPr>
                      <a:lvl8pPr marL="4267093" algn="l" defTabSz="609585" rtl="0" eaLnBrk="1" latinLnBrk="0" hangingPunct="1">
                        <a:defRPr sz="2400" b="1" kern="1200">
                          <a:solidFill>
                            <a:schemeClr val="lt1"/>
                          </a:solidFill>
                          <a:latin typeface="Calibri"/>
                        </a:defRPr>
                      </a:lvl8pPr>
                      <a:lvl9pPr marL="4876678" algn="l" defTabSz="609585" rtl="0" eaLnBrk="1" latinLnBrk="0" hangingPunct="1">
                        <a:defRPr sz="2400" b="1" kern="1200">
                          <a:solidFill>
                            <a:schemeClr val="lt1"/>
                          </a:solidFill>
                          <a:latin typeface="Calibri"/>
                        </a:defRPr>
                      </a:lvl9pPr>
                    </a:lstStyle>
                    <a:p>
                      <a:pPr fontAlgn="base">
                        <a:lnSpc>
                          <a:spcPct val="90000"/>
                        </a:lnSpc>
                        <a:spcBef>
                          <a:spcPct val="0"/>
                        </a:spcBef>
                        <a:spcAft>
                          <a:spcPct val="0"/>
                        </a:spcAft>
                      </a:pPr>
                      <a:r>
                        <a:rPr lang="fr-FR" sz="1200" b="0">
                          <a:solidFill>
                            <a:schemeClr val="tx1"/>
                          </a:solidFill>
                          <a:latin typeface="Arial" pitchFamily="34" charset="0"/>
                        </a:rPr>
                        <a:t> Othman Ben Jemaa</a:t>
                      </a:r>
                    </a:p>
                  </a:txBody>
                  <a:tcPr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1836467"/>
                  </a:ext>
                </a:extLst>
              </a:tr>
            </a:tbl>
          </a:graphicData>
        </a:graphic>
      </p:graphicFrame>
      <p:graphicFrame>
        <p:nvGraphicFramePr>
          <p:cNvPr id="32" name="Tableau 31">
            <a:extLst>
              <a:ext uri="{FF2B5EF4-FFF2-40B4-BE49-F238E27FC236}">
                <a16:creationId xmlns:a16="http://schemas.microsoft.com/office/drawing/2014/main" id="{85014368-4DB6-071A-9473-5099D7714B9B}"/>
              </a:ext>
            </a:extLst>
          </p:cNvPr>
          <p:cNvGraphicFramePr>
            <a:graphicFrameLocks noGrp="1"/>
          </p:cNvGraphicFramePr>
          <p:nvPr/>
        </p:nvGraphicFramePr>
        <p:xfrm>
          <a:off x="6505152" y="4058439"/>
          <a:ext cx="2549968" cy="437760"/>
        </p:xfrm>
        <a:graphic>
          <a:graphicData uri="http://schemas.openxmlformats.org/drawingml/2006/table">
            <a:tbl>
              <a:tblPr firstRow="1" bandRow="1"/>
              <a:tblGrid>
                <a:gridCol w="1001679">
                  <a:extLst>
                    <a:ext uri="{9D8B030D-6E8A-4147-A177-3AD203B41FA5}">
                      <a16:colId xmlns:a16="http://schemas.microsoft.com/office/drawing/2014/main" val="3996293728"/>
                    </a:ext>
                  </a:extLst>
                </a:gridCol>
                <a:gridCol w="1548289">
                  <a:extLst>
                    <a:ext uri="{9D8B030D-6E8A-4147-A177-3AD203B41FA5}">
                      <a16:colId xmlns:a16="http://schemas.microsoft.com/office/drawing/2014/main" val="2483845328"/>
                    </a:ext>
                  </a:extLst>
                </a:gridCol>
              </a:tblGrid>
              <a:tr h="437760">
                <a:tc>
                  <a:txBody>
                    <a:bodyPr/>
                    <a:lstStyle>
                      <a:lvl1pPr marL="0" algn="l" defTabSz="609585" rtl="0" eaLnBrk="1" latinLnBrk="0" hangingPunct="1">
                        <a:defRPr sz="2400" b="1" kern="1200">
                          <a:solidFill>
                            <a:schemeClr val="lt1"/>
                          </a:solidFill>
                          <a:latin typeface="Calibri"/>
                        </a:defRPr>
                      </a:lvl1pPr>
                      <a:lvl2pPr marL="609585" algn="l" defTabSz="609585" rtl="0" eaLnBrk="1" latinLnBrk="0" hangingPunct="1">
                        <a:defRPr sz="2400" b="1" kern="1200">
                          <a:solidFill>
                            <a:schemeClr val="lt1"/>
                          </a:solidFill>
                          <a:latin typeface="Calibri"/>
                        </a:defRPr>
                      </a:lvl2pPr>
                      <a:lvl3pPr marL="1219170" algn="l" defTabSz="609585" rtl="0" eaLnBrk="1" latinLnBrk="0" hangingPunct="1">
                        <a:defRPr sz="2400" b="1" kern="1200">
                          <a:solidFill>
                            <a:schemeClr val="lt1"/>
                          </a:solidFill>
                          <a:latin typeface="Calibri"/>
                        </a:defRPr>
                      </a:lvl3pPr>
                      <a:lvl4pPr marL="1828754" algn="l" defTabSz="609585" rtl="0" eaLnBrk="1" latinLnBrk="0" hangingPunct="1">
                        <a:defRPr sz="2400" b="1" kern="1200">
                          <a:solidFill>
                            <a:schemeClr val="lt1"/>
                          </a:solidFill>
                          <a:latin typeface="Calibri"/>
                        </a:defRPr>
                      </a:lvl4pPr>
                      <a:lvl5pPr marL="2438339" algn="l" defTabSz="609585" rtl="0" eaLnBrk="1" latinLnBrk="0" hangingPunct="1">
                        <a:defRPr sz="2400" b="1" kern="1200">
                          <a:solidFill>
                            <a:schemeClr val="lt1"/>
                          </a:solidFill>
                          <a:latin typeface="Calibri"/>
                        </a:defRPr>
                      </a:lvl5pPr>
                      <a:lvl6pPr marL="3047924" algn="l" defTabSz="609585" rtl="0" eaLnBrk="1" latinLnBrk="0" hangingPunct="1">
                        <a:defRPr sz="2400" b="1" kern="1200">
                          <a:solidFill>
                            <a:schemeClr val="lt1"/>
                          </a:solidFill>
                          <a:latin typeface="Calibri"/>
                        </a:defRPr>
                      </a:lvl6pPr>
                      <a:lvl7pPr marL="3657509" algn="l" defTabSz="609585" rtl="0" eaLnBrk="1" latinLnBrk="0" hangingPunct="1">
                        <a:defRPr sz="2400" b="1" kern="1200">
                          <a:solidFill>
                            <a:schemeClr val="lt1"/>
                          </a:solidFill>
                          <a:latin typeface="Calibri"/>
                        </a:defRPr>
                      </a:lvl7pPr>
                      <a:lvl8pPr marL="4267093" algn="l" defTabSz="609585" rtl="0" eaLnBrk="1" latinLnBrk="0" hangingPunct="1">
                        <a:defRPr sz="2400" b="1" kern="1200">
                          <a:solidFill>
                            <a:schemeClr val="lt1"/>
                          </a:solidFill>
                          <a:latin typeface="Calibri"/>
                        </a:defRPr>
                      </a:lvl8pPr>
                      <a:lvl9pPr marL="4876678" algn="l" defTabSz="609585" rtl="0" eaLnBrk="1" latinLnBrk="0" hangingPunct="1">
                        <a:defRPr sz="2400" b="1" kern="1200">
                          <a:solidFill>
                            <a:schemeClr val="lt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noProof="0">
                          <a:solidFill>
                            <a:schemeClr val="tx1"/>
                          </a:solidFill>
                          <a:latin typeface="Arial" pitchFamily="34" charset="0"/>
                        </a:rPr>
                        <a:t>Data Engineer</a:t>
                      </a:r>
                    </a:p>
                  </a:txBody>
                  <a:tcPr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7FD7D6"/>
                    </a:solidFill>
                  </a:tcPr>
                </a:tc>
                <a:tc>
                  <a:txBody>
                    <a:bodyPr/>
                    <a:lstStyle>
                      <a:lvl1pPr marL="0" algn="l" defTabSz="609585" rtl="0" eaLnBrk="1" latinLnBrk="0" hangingPunct="1">
                        <a:defRPr sz="2400" b="1" kern="1200">
                          <a:solidFill>
                            <a:schemeClr val="lt1"/>
                          </a:solidFill>
                          <a:latin typeface="Calibri"/>
                        </a:defRPr>
                      </a:lvl1pPr>
                      <a:lvl2pPr marL="609585" algn="l" defTabSz="609585" rtl="0" eaLnBrk="1" latinLnBrk="0" hangingPunct="1">
                        <a:defRPr sz="2400" b="1" kern="1200">
                          <a:solidFill>
                            <a:schemeClr val="lt1"/>
                          </a:solidFill>
                          <a:latin typeface="Calibri"/>
                        </a:defRPr>
                      </a:lvl2pPr>
                      <a:lvl3pPr marL="1219170" algn="l" defTabSz="609585" rtl="0" eaLnBrk="1" latinLnBrk="0" hangingPunct="1">
                        <a:defRPr sz="2400" b="1" kern="1200">
                          <a:solidFill>
                            <a:schemeClr val="lt1"/>
                          </a:solidFill>
                          <a:latin typeface="Calibri"/>
                        </a:defRPr>
                      </a:lvl3pPr>
                      <a:lvl4pPr marL="1828754" algn="l" defTabSz="609585" rtl="0" eaLnBrk="1" latinLnBrk="0" hangingPunct="1">
                        <a:defRPr sz="2400" b="1" kern="1200">
                          <a:solidFill>
                            <a:schemeClr val="lt1"/>
                          </a:solidFill>
                          <a:latin typeface="Calibri"/>
                        </a:defRPr>
                      </a:lvl4pPr>
                      <a:lvl5pPr marL="2438339" algn="l" defTabSz="609585" rtl="0" eaLnBrk="1" latinLnBrk="0" hangingPunct="1">
                        <a:defRPr sz="2400" b="1" kern="1200">
                          <a:solidFill>
                            <a:schemeClr val="lt1"/>
                          </a:solidFill>
                          <a:latin typeface="Calibri"/>
                        </a:defRPr>
                      </a:lvl5pPr>
                      <a:lvl6pPr marL="3047924" algn="l" defTabSz="609585" rtl="0" eaLnBrk="1" latinLnBrk="0" hangingPunct="1">
                        <a:defRPr sz="2400" b="1" kern="1200">
                          <a:solidFill>
                            <a:schemeClr val="lt1"/>
                          </a:solidFill>
                          <a:latin typeface="Calibri"/>
                        </a:defRPr>
                      </a:lvl6pPr>
                      <a:lvl7pPr marL="3657509" algn="l" defTabSz="609585" rtl="0" eaLnBrk="1" latinLnBrk="0" hangingPunct="1">
                        <a:defRPr sz="2400" b="1" kern="1200">
                          <a:solidFill>
                            <a:schemeClr val="lt1"/>
                          </a:solidFill>
                          <a:latin typeface="Calibri"/>
                        </a:defRPr>
                      </a:lvl7pPr>
                      <a:lvl8pPr marL="4267093" algn="l" defTabSz="609585" rtl="0" eaLnBrk="1" latinLnBrk="0" hangingPunct="1">
                        <a:defRPr sz="2400" b="1" kern="1200">
                          <a:solidFill>
                            <a:schemeClr val="lt1"/>
                          </a:solidFill>
                          <a:latin typeface="Calibri"/>
                        </a:defRPr>
                      </a:lvl8pPr>
                      <a:lvl9pPr marL="4876678" algn="l" defTabSz="609585" rtl="0" eaLnBrk="1" latinLnBrk="0" hangingPunct="1">
                        <a:defRPr sz="2400" b="1" kern="1200">
                          <a:solidFill>
                            <a:schemeClr val="lt1"/>
                          </a:solidFill>
                          <a:latin typeface="Calibri"/>
                        </a:defRPr>
                      </a:lvl9pPr>
                    </a:lstStyle>
                    <a:p>
                      <a:pPr fontAlgn="base">
                        <a:lnSpc>
                          <a:spcPct val="90000"/>
                        </a:lnSpc>
                        <a:spcBef>
                          <a:spcPct val="0"/>
                        </a:spcBef>
                        <a:spcAft>
                          <a:spcPct val="0"/>
                        </a:spcAft>
                      </a:pPr>
                      <a:r>
                        <a:rPr lang="fr-FR" sz="1200" b="0">
                          <a:solidFill>
                            <a:schemeClr val="tx1"/>
                          </a:solidFill>
                          <a:latin typeface="Arial" pitchFamily="34" charset="0"/>
                        </a:rPr>
                        <a:t>Rémy Touret</a:t>
                      </a:r>
                    </a:p>
                  </a:txBody>
                  <a:tcPr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1836467"/>
                  </a:ext>
                </a:extLst>
              </a:tr>
            </a:tbl>
          </a:graphicData>
        </a:graphic>
      </p:graphicFrame>
      <p:graphicFrame>
        <p:nvGraphicFramePr>
          <p:cNvPr id="33" name="Tableau 32">
            <a:extLst>
              <a:ext uri="{FF2B5EF4-FFF2-40B4-BE49-F238E27FC236}">
                <a16:creationId xmlns:a16="http://schemas.microsoft.com/office/drawing/2014/main" id="{5CA868EC-F521-37DA-E931-3CB179768A79}"/>
              </a:ext>
            </a:extLst>
          </p:cNvPr>
          <p:cNvGraphicFramePr>
            <a:graphicFrameLocks noGrp="1"/>
          </p:cNvGraphicFramePr>
          <p:nvPr/>
        </p:nvGraphicFramePr>
        <p:xfrm>
          <a:off x="6505152" y="2587657"/>
          <a:ext cx="2549968" cy="437760"/>
        </p:xfrm>
        <a:graphic>
          <a:graphicData uri="http://schemas.openxmlformats.org/drawingml/2006/table">
            <a:tbl>
              <a:tblPr firstRow="1" bandRow="1"/>
              <a:tblGrid>
                <a:gridCol w="1024256">
                  <a:extLst>
                    <a:ext uri="{9D8B030D-6E8A-4147-A177-3AD203B41FA5}">
                      <a16:colId xmlns:a16="http://schemas.microsoft.com/office/drawing/2014/main" val="3996293728"/>
                    </a:ext>
                  </a:extLst>
                </a:gridCol>
                <a:gridCol w="1525712">
                  <a:extLst>
                    <a:ext uri="{9D8B030D-6E8A-4147-A177-3AD203B41FA5}">
                      <a16:colId xmlns:a16="http://schemas.microsoft.com/office/drawing/2014/main" val="2483845328"/>
                    </a:ext>
                  </a:extLst>
                </a:gridCol>
              </a:tblGrid>
              <a:tr h="437760">
                <a:tc>
                  <a:txBody>
                    <a:bodyPr/>
                    <a:lstStyle>
                      <a:lvl1pPr marL="0" algn="l" defTabSz="609585" rtl="0" eaLnBrk="1" latinLnBrk="0" hangingPunct="1">
                        <a:defRPr sz="2400" b="1" kern="1200">
                          <a:solidFill>
                            <a:schemeClr val="lt1"/>
                          </a:solidFill>
                          <a:latin typeface="Calibri"/>
                        </a:defRPr>
                      </a:lvl1pPr>
                      <a:lvl2pPr marL="609585" algn="l" defTabSz="609585" rtl="0" eaLnBrk="1" latinLnBrk="0" hangingPunct="1">
                        <a:defRPr sz="2400" b="1" kern="1200">
                          <a:solidFill>
                            <a:schemeClr val="lt1"/>
                          </a:solidFill>
                          <a:latin typeface="Calibri"/>
                        </a:defRPr>
                      </a:lvl2pPr>
                      <a:lvl3pPr marL="1219170" algn="l" defTabSz="609585" rtl="0" eaLnBrk="1" latinLnBrk="0" hangingPunct="1">
                        <a:defRPr sz="2400" b="1" kern="1200">
                          <a:solidFill>
                            <a:schemeClr val="lt1"/>
                          </a:solidFill>
                          <a:latin typeface="Calibri"/>
                        </a:defRPr>
                      </a:lvl3pPr>
                      <a:lvl4pPr marL="1828754" algn="l" defTabSz="609585" rtl="0" eaLnBrk="1" latinLnBrk="0" hangingPunct="1">
                        <a:defRPr sz="2400" b="1" kern="1200">
                          <a:solidFill>
                            <a:schemeClr val="lt1"/>
                          </a:solidFill>
                          <a:latin typeface="Calibri"/>
                        </a:defRPr>
                      </a:lvl4pPr>
                      <a:lvl5pPr marL="2438339" algn="l" defTabSz="609585" rtl="0" eaLnBrk="1" latinLnBrk="0" hangingPunct="1">
                        <a:defRPr sz="2400" b="1" kern="1200">
                          <a:solidFill>
                            <a:schemeClr val="lt1"/>
                          </a:solidFill>
                          <a:latin typeface="Calibri"/>
                        </a:defRPr>
                      </a:lvl5pPr>
                      <a:lvl6pPr marL="3047924" algn="l" defTabSz="609585" rtl="0" eaLnBrk="1" latinLnBrk="0" hangingPunct="1">
                        <a:defRPr sz="2400" b="1" kern="1200">
                          <a:solidFill>
                            <a:schemeClr val="lt1"/>
                          </a:solidFill>
                          <a:latin typeface="Calibri"/>
                        </a:defRPr>
                      </a:lvl6pPr>
                      <a:lvl7pPr marL="3657509" algn="l" defTabSz="609585" rtl="0" eaLnBrk="1" latinLnBrk="0" hangingPunct="1">
                        <a:defRPr sz="2400" b="1" kern="1200">
                          <a:solidFill>
                            <a:schemeClr val="lt1"/>
                          </a:solidFill>
                          <a:latin typeface="Calibri"/>
                        </a:defRPr>
                      </a:lvl7pPr>
                      <a:lvl8pPr marL="4267093" algn="l" defTabSz="609585" rtl="0" eaLnBrk="1" latinLnBrk="0" hangingPunct="1">
                        <a:defRPr sz="2400" b="1" kern="1200">
                          <a:solidFill>
                            <a:schemeClr val="lt1"/>
                          </a:solidFill>
                          <a:latin typeface="Calibri"/>
                        </a:defRPr>
                      </a:lvl8pPr>
                      <a:lvl9pPr marL="4876678" algn="l" defTabSz="609585" rtl="0" eaLnBrk="1" latinLnBrk="0" hangingPunct="1">
                        <a:defRPr sz="2400" b="1" kern="1200">
                          <a:solidFill>
                            <a:schemeClr val="lt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noProof="0">
                          <a:solidFill>
                            <a:schemeClr val="tx1"/>
                          </a:solidFill>
                          <a:latin typeface="Arial" pitchFamily="34" charset="0"/>
                        </a:rPr>
                        <a:t>Data factory lead</a:t>
                      </a:r>
                    </a:p>
                  </a:txBody>
                  <a:tcPr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lumMod val="20000"/>
                        <a:lumOff val="80000"/>
                      </a:schemeClr>
                    </a:solidFill>
                  </a:tcPr>
                </a:tc>
                <a:tc>
                  <a:txBody>
                    <a:bodyPr/>
                    <a:lstStyle>
                      <a:lvl1pPr marL="0" algn="l" defTabSz="609585" rtl="0" eaLnBrk="1" latinLnBrk="0" hangingPunct="1">
                        <a:defRPr sz="2400" b="1" kern="1200">
                          <a:solidFill>
                            <a:schemeClr val="lt1"/>
                          </a:solidFill>
                          <a:latin typeface="Calibri"/>
                        </a:defRPr>
                      </a:lvl1pPr>
                      <a:lvl2pPr marL="609585" algn="l" defTabSz="609585" rtl="0" eaLnBrk="1" latinLnBrk="0" hangingPunct="1">
                        <a:defRPr sz="2400" b="1" kern="1200">
                          <a:solidFill>
                            <a:schemeClr val="lt1"/>
                          </a:solidFill>
                          <a:latin typeface="Calibri"/>
                        </a:defRPr>
                      </a:lvl2pPr>
                      <a:lvl3pPr marL="1219170" algn="l" defTabSz="609585" rtl="0" eaLnBrk="1" latinLnBrk="0" hangingPunct="1">
                        <a:defRPr sz="2400" b="1" kern="1200">
                          <a:solidFill>
                            <a:schemeClr val="lt1"/>
                          </a:solidFill>
                          <a:latin typeface="Calibri"/>
                        </a:defRPr>
                      </a:lvl3pPr>
                      <a:lvl4pPr marL="1828754" algn="l" defTabSz="609585" rtl="0" eaLnBrk="1" latinLnBrk="0" hangingPunct="1">
                        <a:defRPr sz="2400" b="1" kern="1200">
                          <a:solidFill>
                            <a:schemeClr val="lt1"/>
                          </a:solidFill>
                          <a:latin typeface="Calibri"/>
                        </a:defRPr>
                      </a:lvl4pPr>
                      <a:lvl5pPr marL="2438339" algn="l" defTabSz="609585" rtl="0" eaLnBrk="1" latinLnBrk="0" hangingPunct="1">
                        <a:defRPr sz="2400" b="1" kern="1200">
                          <a:solidFill>
                            <a:schemeClr val="lt1"/>
                          </a:solidFill>
                          <a:latin typeface="Calibri"/>
                        </a:defRPr>
                      </a:lvl5pPr>
                      <a:lvl6pPr marL="3047924" algn="l" defTabSz="609585" rtl="0" eaLnBrk="1" latinLnBrk="0" hangingPunct="1">
                        <a:defRPr sz="2400" b="1" kern="1200">
                          <a:solidFill>
                            <a:schemeClr val="lt1"/>
                          </a:solidFill>
                          <a:latin typeface="Calibri"/>
                        </a:defRPr>
                      </a:lvl6pPr>
                      <a:lvl7pPr marL="3657509" algn="l" defTabSz="609585" rtl="0" eaLnBrk="1" latinLnBrk="0" hangingPunct="1">
                        <a:defRPr sz="2400" b="1" kern="1200">
                          <a:solidFill>
                            <a:schemeClr val="lt1"/>
                          </a:solidFill>
                          <a:latin typeface="Calibri"/>
                        </a:defRPr>
                      </a:lvl7pPr>
                      <a:lvl8pPr marL="4267093" algn="l" defTabSz="609585" rtl="0" eaLnBrk="1" latinLnBrk="0" hangingPunct="1">
                        <a:defRPr sz="2400" b="1" kern="1200">
                          <a:solidFill>
                            <a:schemeClr val="lt1"/>
                          </a:solidFill>
                          <a:latin typeface="Calibri"/>
                        </a:defRPr>
                      </a:lvl8pPr>
                      <a:lvl9pPr marL="4876678" algn="l" defTabSz="609585" rtl="0" eaLnBrk="1" latinLnBrk="0" hangingPunct="1">
                        <a:defRPr sz="2400" b="1" kern="1200">
                          <a:solidFill>
                            <a:schemeClr val="lt1"/>
                          </a:solidFill>
                          <a:latin typeface="Calibri"/>
                        </a:defRPr>
                      </a:lvl9pPr>
                    </a:lstStyle>
                    <a:p>
                      <a:pPr fontAlgn="base">
                        <a:lnSpc>
                          <a:spcPct val="90000"/>
                        </a:lnSpc>
                        <a:spcBef>
                          <a:spcPct val="0"/>
                        </a:spcBef>
                        <a:spcAft>
                          <a:spcPct val="0"/>
                        </a:spcAft>
                      </a:pPr>
                      <a:r>
                        <a:rPr lang="fr-FR" sz="1200" b="0">
                          <a:solidFill>
                            <a:schemeClr val="tx1"/>
                          </a:solidFill>
                          <a:latin typeface="Arial" pitchFamily="34" charset="0"/>
                        </a:rPr>
                        <a:t>Camille Vaneenoge</a:t>
                      </a:r>
                    </a:p>
                  </a:txBody>
                  <a:tcPr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1836467"/>
                  </a:ext>
                </a:extLst>
              </a:tr>
            </a:tbl>
          </a:graphicData>
        </a:graphic>
      </p:graphicFrame>
      <p:sp>
        <p:nvSpPr>
          <p:cNvPr id="34" name="Title 2">
            <a:extLst>
              <a:ext uri="{FF2B5EF4-FFF2-40B4-BE49-F238E27FC236}">
                <a16:creationId xmlns:a16="http://schemas.microsoft.com/office/drawing/2014/main" id="{208F2906-400F-4580-1392-F956DBE29CD9}"/>
              </a:ext>
            </a:extLst>
          </p:cNvPr>
          <p:cNvSpPr txBox="1">
            <a:spLocks/>
          </p:cNvSpPr>
          <p:nvPr/>
        </p:nvSpPr>
        <p:spPr bwMode="auto">
          <a:xfrm>
            <a:off x="9262868" y="1732541"/>
            <a:ext cx="2640003" cy="317419"/>
          </a:xfrm>
          <a:prstGeom prst="rect">
            <a:avLst/>
          </a:prstGeom>
          <a:solidFill>
            <a:srgbClr val="6AB4FF"/>
          </a:solidFill>
          <a:ln>
            <a:noFill/>
          </a:ln>
          <a:effectLst/>
          <a:extLst>
            <a:ext uri="{FAA26D3D-D897-4be2-8F04-BA451C77F1D7}">
              <ma14:placeholderFlag xmlns="" xmlns:ma14="http://schemas.microsoft.com/office/mac/drawingml/2011/main" val="1"/>
            </a:ext>
          </a:extLst>
        </p:spPr>
        <p:txBody>
          <a:bodyPr vert="horz" wrap="square" lIns="0" tIns="45720" rIns="91440" bIns="45720" numCol="1" anchor="ctr" anchorCtr="0" compatLnSpc="1">
            <a:prstTxWarp prst="textNoShape">
              <a:avLst/>
            </a:prstTxWarp>
          </a:bodyPr>
          <a:lstStyle>
            <a:lvl1pPr algn="l" rtl="0" eaLnBrk="0" fontAlgn="base" hangingPunct="0">
              <a:lnSpc>
                <a:spcPct val="90000"/>
              </a:lnSpc>
              <a:spcBef>
                <a:spcPct val="0"/>
              </a:spcBef>
              <a:spcAft>
                <a:spcPct val="0"/>
              </a:spcAft>
              <a:defRPr sz="2200">
                <a:solidFill>
                  <a:schemeClr val="tx2"/>
                </a:solidFill>
                <a:latin typeface="+mj-lt"/>
                <a:ea typeface="+mj-ea"/>
                <a:cs typeface="+mj-cs"/>
              </a:defRPr>
            </a:lvl1pPr>
            <a:lvl2pPr algn="l" rtl="0" eaLnBrk="0" fontAlgn="base" hangingPunct="0">
              <a:lnSpc>
                <a:spcPct val="90000"/>
              </a:lnSpc>
              <a:spcBef>
                <a:spcPct val="0"/>
              </a:spcBef>
              <a:spcAft>
                <a:spcPct val="0"/>
              </a:spcAft>
              <a:defRPr sz="2200">
                <a:solidFill>
                  <a:schemeClr val="tx2"/>
                </a:solidFill>
                <a:latin typeface="Arial" pitchFamily="34" charset="0"/>
              </a:defRPr>
            </a:lvl2pPr>
            <a:lvl3pPr algn="l" rtl="0" eaLnBrk="0" fontAlgn="base" hangingPunct="0">
              <a:lnSpc>
                <a:spcPct val="90000"/>
              </a:lnSpc>
              <a:spcBef>
                <a:spcPct val="0"/>
              </a:spcBef>
              <a:spcAft>
                <a:spcPct val="0"/>
              </a:spcAft>
              <a:defRPr sz="2200">
                <a:solidFill>
                  <a:schemeClr val="tx2"/>
                </a:solidFill>
                <a:latin typeface="Arial" pitchFamily="34" charset="0"/>
              </a:defRPr>
            </a:lvl3pPr>
            <a:lvl4pPr algn="l" rtl="0" eaLnBrk="0" fontAlgn="base" hangingPunct="0">
              <a:lnSpc>
                <a:spcPct val="90000"/>
              </a:lnSpc>
              <a:spcBef>
                <a:spcPct val="0"/>
              </a:spcBef>
              <a:spcAft>
                <a:spcPct val="0"/>
              </a:spcAft>
              <a:defRPr sz="2200">
                <a:solidFill>
                  <a:schemeClr val="tx2"/>
                </a:solidFill>
                <a:latin typeface="Arial" pitchFamily="34" charset="0"/>
              </a:defRPr>
            </a:lvl4pPr>
            <a:lvl5pPr algn="l" rtl="0" eaLnBrk="0" fontAlgn="base" hangingPunct="0">
              <a:lnSpc>
                <a:spcPct val="90000"/>
              </a:lnSpc>
              <a:spcBef>
                <a:spcPct val="0"/>
              </a:spcBef>
              <a:spcAft>
                <a:spcPct val="0"/>
              </a:spcAft>
              <a:defRPr sz="2200">
                <a:solidFill>
                  <a:schemeClr val="tx2"/>
                </a:solidFill>
                <a:latin typeface="Arial" pitchFamily="34" charset="0"/>
              </a:defRPr>
            </a:lvl5pPr>
            <a:lvl6pPr marL="457200" algn="l" rtl="0" fontAlgn="base">
              <a:lnSpc>
                <a:spcPct val="90000"/>
              </a:lnSpc>
              <a:spcBef>
                <a:spcPct val="0"/>
              </a:spcBef>
              <a:spcAft>
                <a:spcPct val="0"/>
              </a:spcAft>
              <a:defRPr sz="2200">
                <a:solidFill>
                  <a:schemeClr val="tx1"/>
                </a:solidFill>
                <a:latin typeface="Arial" pitchFamily="34" charset="0"/>
              </a:defRPr>
            </a:lvl6pPr>
            <a:lvl7pPr marL="914400" algn="l" rtl="0" fontAlgn="base">
              <a:lnSpc>
                <a:spcPct val="90000"/>
              </a:lnSpc>
              <a:spcBef>
                <a:spcPct val="0"/>
              </a:spcBef>
              <a:spcAft>
                <a:spcPct val="0"/>
              </a:spcAft>
              <a:defRPr sz="2200">
                <a:solidFill>
                  <a:schemeClr val="tx1"/>
                </a:solidFill>
                <a:latin typeface="Arial" pitchFamily="34" charset="0"/>
              </a:defRPr>
            </a:lvl7pPr>
            <a:lvl8pPr marL="1371600" algn="l" rtl="0" fontAlgn="base">
              <a:lnSpc>
                <a:spcPct val="90000"/>
              </a:lnSpc>
              <a:spcBef>
                <a:spcPct val="0"/>
              </a:spcBef>
              <a:spcAft>
                <a:spcPct val="0"/>
              </a:spcAft>
              <a:defRPr sz="2200">
                <a:solidFill>
                  <a:schemeClr val="tx1"/>
                </a:solidFill>
                <a:latin typeface="Arial" pitchFamily="34" charset="0"/>
              </a:defRPr>
            </a:lvl8pPr>
            <a:lvl9pPr marL="1828800" algn="l" rtl="0" fontAlgn="base">
              <a:lnSpc>
                <a:spcPct val="90000"/>
              </a:lnSpc>
              <a:spcBef>
                <a:spcPct val="0"/>
              </a:spcBef>
              <a:spcAft>
                <a:spcPct val="0"/>
              </a:spcAft>
              <a:defRPr sz="2200">
                <a:solidFill>
                  <a:schemeClr val="tx1"/>
                </a:solidFill>
                <a:latin typeface="Arial" pitchFamily="34" charset="0"/>
              </a:defRPr>
            </a:lvl9pPr>
          </a:lstStyle>
          <a:p>
            <a:pPr algn="ctr"/>
            <a:r>
              <a:rPr lang="en-US" sz="1200" b="1" kern="0">
                <a:solidFill>
                  <a:srgbClr val="004489"/>
                </a:solidFill>
                <a:latin typeface="Arial" panose="020B0604020202020204" pitchFamily="34" charset="0"/>
                <a:cs typeface="Arial" panose="020B0604020202020204" pitchFamily="34" charset="0"/>
              </a:rPr>
              <a:t>Data office team</a:t>
            </a:r>
          </a:p>
        </p:txBody>
      </p:sp>
      <p:grpSp>
        <p:nvGrpSpPr>
          <p:cNvPr id="20" name="Groupe 19">
            <a:extLst>
              <a:ext uri="{FF2B5EF4-FFF2-40B4-BE49-F238E27FC236}">
                <a16:creationId xmlns:a16="http://schemas.microsoft.com/office/drawing/2014/main" id="{CE41B1AF-5E48-3B81-E139-703BDA458E20}"/>
              </a:ext>
            </a:extLst>
          </p:cNvPr>
          <p:cNvGrpSpPr/>
          <p:nvPr/>
        </p:nvGrpSpPr>
        <p:grpSpPr>
          <a:xfrm>
            <a:off x="1121453" y="6429738"/>
            <a:ext cx="1600080" cy="307583"/>
            <a:chOff x="841090" y="4822295"/>
            <a:chExt cx="1200060" cy="230687"/>
          </a:xfrm>
        </p:grpSpPr>
        <p:sp>
          <p:nvSpPr>
            <p:cNvPr id="4" name="Ellipse 3">
              <a:extLst>
                <a:ext uri="{FF2B5EF4-FFF2-40B4-BE49-F238E27FC236}">
                  <a16:creationId xmlns:a16="http://schemas.microsoft.com/office/drawing/2014/main" id="{2B03F184-D4D5-3F61-C0DB-1114CB5AA33B}"/>
                </a:ext>
              </a:extLst>
            </p:cNvPr>
            <p:cNvSpPr/>
            <p:nvPr/>
          </p:nvSpPr>
          <p:spPr>
            <a:xfrm>
              <a:off x="841090" y="4837828"/>
              <a:ext cx="215154" cy="215154"/>
            </a:xfrm>
            <a:prstGeom prst="ellipse">
              <a:avLst/>
            </a:prstGeom>
            <a:solidFill>
              <a:srgbClr val="86D5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prstClr val="white"/>
                </a:solidFill>
                <a:latin typeface="Graphik" panose="020B0503030202060203" pitchFamily="34" charset="0"/>
              </a:endParaRPr>
            </a:p>
          </p:txBody>
        </p:sp>
        <p:sp>
          <p:nvSpPr>
            <p:cNvPr id="9" name="ZoneTexte 8">
              <a:extLst>
                <a:ext uri="{FF2B5EF4-FFF2-40B4-BE49-F238E27FC236}">
                  <a16:creationId xmlns:a16="http://schemas.microsoft.com/office/drawing/2014/main" id="{7B4957D9-D264-27E1-B741-584BDEF0FCF4}"/>
                </a:ext>
              </a:extLst>
            </p:cNvPr>
            <p:cNvSpPr txBox="1"/>
            <p:nvPr/>
          </p:nvSpPr>
          <p:spPr>
            <a:xfrm>
              <a:off x="1058445" y="4822295"/>
              <a:ext cx="982705" cy="223091"/>
            </a:xfrm>
            <a:prstGeom prst="rect">
              <a:avLst/>
            </a:prstGeom>
            <a:noFill/>
          </p:spPr>
          <p:txBody>
            <a:bodyPr wrap="square" rtlCol="0">
              <a:spAutoFit/>
            </a:bodyPr>
            <a:lstStyle/>
            <a:p>
              <a:r>
                <a:rPr lang="en-US" sz="1333"/>
                <a:t>Data Consumer</a:t>
              </a:r>
            </a:p>
          </p:txBody>
        </p:sp>
      </p:grpSp>
      <p:grpSp>
        <p:nvGrpSpPr>
          <p:cNvPr id="18" name="Groupe 17">
            <a:extLst>
              <a:ext uri="{FF2B5EF4-FFF2-40B4-BE49-F238E27FC236}">
                <a16:creationId xmlns:a16="http://schemas.microsoft.com/office/drawing/2014/main" id="{583CCB0A-A1FA-4D5C-0B6A-782D34B91BC4}"/>
              </a:ext>
            </a:extLst>
          </p:cNvPr>
          <p:cNvGrpSpPr/>
          <p:nvPr/>
        </p:nvGrpSpPr>
        <p:grpSpPr>
          <a:xfrm>
            <a:off x="2796852" y="6429738"/>
            <a:ext cx="1441704" cy="307583"/>
            <a:chOff x="2867482" y="4822295"/>
            <a:chExt cx="1081278" cy="230687"/>
          </a:xfrm>
        </p:grpSpPr>
        <p:sp>
          <p:nvSpPr>
            <p:cNvPr id="5" name="Ellipse 4">
              <a:extLst>
                <a:ext uri="{FF2B5EF4-FFF2-40B4-BE49-F238E27FC236}">
                  <a16:creationId xmlns:a16="http://schemas.microsoft.com/office/drawing/2014/main" id="{72F991D3-8212-6643-9707-4097A0164A54}"/>
                </a:ext>
              </a:extLst>
            </p:cNvPr>
            <p:cNvSpPr/>
            <p:nvPr/>
          </p:nvSpPr>
          <p:spPr>
            <a:xfrm>
              <a:off x="2867482" y="4837828"/>
              <a:ext cx="215154" cy="215154"/>
            </a:xfrm>
            <a:prstGeom prst="ellipse">
              <a:avLst/>
            </a:prstGeom>
            <a:solidFill>
              <a:srgbClr val="7FD7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prstClr val="white"/>
                </a:solidFill>
                <a:latin typeface="Graphik" panose="020B0503030202060203" pitchFamily="34" charset="0"/>
              </a:endParaRPr>
            </a:p>
          </p:txBody>
        </p:sp>
        <p:sp>
          <p:nvSpPr>
            <p:cNvPr id="10" name="ZoneTexte 9">
              <a:extLst>
                <a:ext uri="{FF2B5EF4-FFF2-40B4-BE49-F238E27FC236}">
                  <a16:creationId xmlns:a16="http://schemas.microsoft.com/office/drawing/2014/main" id="{D2A5E52A-CE77-30CE-11B4-123D692B677F}"/>
                </a:ext>
              </a:extLst>
            </p:cNvPr>
            <p:cNvSpPr txBox="1"/>
            <p:nvPr/>
          </p:nvSpPr>
          <p:spPr>
            <a:xfrm>
              <a:off x="3036691" y="4822295"/>
              <a:ext cx="912069" cy="223091"/>
            </a:xfrm>
            <a:prstGeom prst="rect">
              <a:avLst/>
            </a:prstGeom>
            <a:noFill/>
          </p:spPr>
          <p:txBody>
            <a:bodyPr wrap="square" rtlCol="0">
              <a:spAutoFit/>
            </a:bodyPr>
            <a:lstStyle/>
            <a:p>
              <a:r>
                <a:rPr lang="en-US" sz="1333"/>
                <a:t>Data Producer</a:t>
              </a:r>
            </a:p>
          </p:txBody>
        </p:sp>
      </p:grpSp>
      <p:grpSp>
        <p:nvGrpSpPr>
          <p:cNvPr id="15" name="Groupe 14">
            <a:extLst>
              <a:ext uri="{FF2B5EF4-FFF2-40B4-BE49-F238E27FC236}">
                <a16:creationId xmlns:a16="http://schemas.microsoft.com/office/drawing/2014/main" id="{71426106-EEAA-ECFF-9D52-D6069A13B8C9}"/>
              </a:ext>
            </a:extLst>
          </p:cNvPr>
          <p:cNvGrpSpPr/>
          <p:nvPr/>
        </p:nvGrpSpPr>
        <p:grpSpPr>
          <a:xfrm>
            <a:off x="4313875" y="6429738"/>
            <a:ext cx="1502964" cy="307583"/>
            <a:chOff x="4775092" y="4822295"/>
            <a:chExt cx="1127223" cy="230687"/>
          </a:xfrm>
        </p:grpSpPr>
        <p:sp>
          <p:nvSpPr>
            <p:cNvPr id="3" name="Ellipse 2">
              <a:extLst>
                <a:ext uri="{FF2B5EF4-FFF2-40B4-BE49-F238E27FC236}">
                  <a16:creationId xmlns:a16="http://schemas.microsoft.com/office/drawing/2014/main" id="{4AE3BD43-332E-5E98-1C9B-027F3A505E96}"/>
                </a:ext>
              </a:extLst>
            </p:cNvPr>
            <p:cNvSpPr/>
            <p:nvPr/>
          </p:nvSpPr>
          <p:spPr>
            <a:xfrm>
              <a:off x="4775092" y="4837828"/>
              <a:ext cx="215154" cy="215154"/>
            </a:xfrm>
            <a:prstGeom prst="ellipse">
              <a:avLst/>
            </a:prstGeom>
            <a:solidFill>
              <a:srgbClr val="FF8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prstClr val="white"/>
                </a:solidFill>
                <a:latin typeface="Graphik" panose="020B0503030202060203" pitchFamily="34" charset="0"/>
              </a:endParaRPr>
            </a:p>
          </p:txBody>
        </p:sp>
        <p:sp>
          <p:nvSpPr>
            <p:cNvPr id="11" name="ZoneTexte 10">
              <a:extLst>
                <a:ext uri="{FF2B5EF4-FFF2-40B4-BE49-F238E27FC236}">
                  <a16:creationId xmlns:a16="http://schemas.microsoft.com/office/drawing/2014/main" id="{D779B5CA-81D7-AA54-61D5-DF6FA8B4E041}"/>
                </a:ext>
              </a:extLst>
            </p:cNvPr>
            <p:cNvSpPr txBox="1"/>
            <p:nvPr/>
          </p:nvSpPr>
          <p:spPr>
            <a:xfrm>
              <a:off x="4990246" y="4822295"/>
              <a:ext cx="912069" cy="223091"/>
            </a:xfrm>
            <a:prstGeom prst="rect">
              <a:avLst/>
            </a:prstGeom>
            <a:noFill/>
          </p:spPr>
          <p:txBody>
            <a:bodyPr wrap="square" rtlCol="0">
              <a:spAutoFit/>
            </a:bodyPr>
            <a:lstStyle/>
            <a:p>
              <a:r>
                <a:rPr lang="en-US" sz="1333"/>
                <a:t>Data Office</a:t>
              </a:r>
            </a:p>
          </p:txBody>
        </p:sp>
      </p:grpSp>
      <p:grpSp>
        <p:nvGrpSpPr>
          <p:cNvPr id="14" name="Groupe 13">
            <a:extLst>
              <a:ext uri="{FF2B5EF4-FFF2-40B4-BE49-F238E27FC236}">
                <a16:creationId xmlns:a16="http://schemas.microsoft.com/office/drawing/2014/main" id="{2B31A1A8-B7F3-F8E0-8A41-6E6CFB1A960D}"/>
              </a:ext>
            </a:extLst>
          </p:cNvPr>
          <p:cNvGrpSpPr/>
          <p:nvPr/>
        </p:nvGrpSpPr>
        <p:grpSpPr>
          <a:xfrm>
            <a:off x="5892157" y="6409026"/>
            <a:ext cx="1525465" cy="308995"/>
            <a:chOff x="6801483" y="4822295"/>
            <a:chExt cx="1144099" cy="231746"/>
          </a:xfrm>
        </p:grpSpPr>
        <p:sp>
          <p:nvSpPr>
            <p:cNvPr id="8" name="Ellipse 7">
              <a:extLst>
                <a:ext uri="{FF2B5EF4-FFF2-40B4-BE49-F238E27FC236}">
                  <a16:creationId xmlns:a16="http://schemas.microsoft.com/office/drawing/2014/main" id="{6390102F-AF02-9BB1-C689-47BDD98DD102}"/>
                </a:ext>
              </a:extLst>
            </p:cNvPr>
            <p:cNvSpPr/>
            <p:nvPr/>
          </p:nvSpPr>
          <p:spPr>
            <a:xfrm>
              <a:off x="6801483" y="4836769"/>
              <a:ext cx="217272" cy="217272"/>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prstClr val="white"/>
                </a:solidFill>
                <a:latin typeface="Graphik" panose="020B0503030202060203" pitchFamily="34" charset="0"/>
              </a:endParaRPr>
            </a:p>
          </p:txBody>
        </p:sp>
        <p:sp>
          <p:nvSpPr>
            <p:cNvPr id="12" name="ZoneTexte 11">
              <a:extLst>
                <a:ext uri="{FF2B5EF4-FFF2-40B4-BE49-F238E27FC236}">
                  <a16:creationId xmlns:a16="http://schemas.microsoft.com/office/drawing/2014/main" id="{6C06289D-D3B5-3F6D-6ABC-899FC0787D01}"/>
                </a:ext>
              </a:extLst>
            </p:cNvPr>
            <p:cNvSpPr txBox="1"/>
            <p:nvPr/>
          </p:nvSpPr>
          <p:spPr>
            <a:xfrm>
              <a:off x="7033513" y="4822295"/>
              <a:ext cx="912069" cy="223091"/>
            </a:xfrm>
            <a:prstGeom prst="rect">
              <a:avLst/>
            </a:prstGeom>
            <a:noFill/>
          </p:spPr>
          <p:txBody>
            <a:bodyPr wrap="square" rtlCol="0">
              <a:spAutoFit/>
            </a:bodyPr>
            <a:lstStyle/>
            <a:p>
              <a:r>
                <a:rPr lang="en-US" sz="1333"/>
                <a:t>Transversal</a:t>
              </a:r>
            </a:p>
          </p:txBody>
        </p:sp>
      </p:grpSp>
      <p:graphicFrame>
        <p:nvGraphicFramePr>
          <p:cNvPr id="21" name="Tableau 20">
            <a:extLst>
              <a:ext uri="{FF2B5EF4-FFF2-40B4-BE49-F238E27FC236}">
                <a16:creationId xmlns:a16="http://schemas.microsoft.com/office/drawing/2014/main" id="{DB0410B8-04E7-9707-CD52-203AC8966C4E}"/>
              </a:ext>
            </a:extLst>
          </p:cNvPr>
          <p:cNvGraphicFramePr>
            <a:graphicFrameLocks noGrp="1"/>
          </p:cNvGraphicFramePr>
          <p:nvPr/>
        </p:nvGraphicFramePr>
        <p:xfrm>
          <a:off x="6512724" y="2149897"/>
          <a:ext cx="2549968" cy="437760"/>
        </p:xfrm>
        <a:graphic>
          <a:graphicData uri="http://schemas.openxmlformats.org/drawingml/2006/table">
            <a:tbl>
              <a:tblPr firstRow="1" bandRow="1"/>
              <a:tblGrid>
                <a:gridCol w="1024256">
                  <a:extLst>
                    <a:ext uri="{9D8B030D-6E8A-4147-A177-3AD203B41FA5}">
                      <a16:colId xmlns:a16="http://schemas.microsoft.com/office/drawing/2014/main" val="3996293728"/>
                    </a:ext>
                  </a:extLst>
                </a:gridCol>
                <a:gridCol w="1525712">
                  <a:extLst>
                    <a:ext uri="{9D8B030D-6E8A-4147-A177-3AD203B41FA5}">
                      <a16:colId xmlns:a16="http://schemas.microsoft.com/office/drawing/2014/main" val="2483845328"/>
                    </a:ext>
                  </a:extLst>
                </a:gridCol>
              </a:tblGrid>
              <a:tr h="437760">
                <a:tc>
                  <a:txBody>
                    <a:bodyPr/>
                    <a:lstStyle>
                      <a:lvl1pPr marL="0" algn="l" defTabSz="609585" rtl="0" eaLnBrk="1" latinLnBrk="0" hangingPunct="1">
                        <a:defRPr sz="2400" b="1" kern="1200">
                          <a:solidFill>
                            <a:schemeClr val="lt1"/>
                          </a:solidFill>
                          <a:latin typeface="Calibri"/>
                        </a:defRPr>
                      </a:lvl1pPr>
                      <a:lvl2pPr marL="609585" algn="l" defTabSz="609585" rtl="0" eaLnBrk="1" latinLnBrk="0" hangingPunct="1">
                        <a:defRPr sz="2400" b="1" kern="1200">
                          <a:solidFill>
                            <a:schemeClr val="lt1"/>
                          </a:solidFill>
                          <a:latin typeface="Calibri"/>
                        </a:defRPr>
                      </a:lvl2pPr>
                      <a:lvl3pPr marL="1219170" algn="l" defTabSz="609585" rtl="0" eaLnBrk="1" latinLnBrk="0" hangingPunct="1">
                        <a:defRPr sz="2400" b="1" kern="1200">
                          <a:solidFill>
                            <a:schemeClr val="lt1"/>
                          </a:solidFill>
                          <a:latin typeface="Calibri"/>
                        </a:defRPr>
                      </a:lvl3pPr>
                      <a:lvl4pPr marL="1828754" algn="l" defTabSz="609585" rtl="0" eaLnBrk="1" latinLnBrk="0" hangingPunct="1">
                        <a:defRPr sz="2400" b="1" kern="1200">
                          <a:solidFill>
                            <a:schemeClr val="lt1"/>
                          </a:solidFill>
                          <a:latin typeface="Calibri"/>
                        </a:defRPr>
                      </a:lvl4pPr>
                      <a:lvl5pPr marL="2438339" algn="l" defTabSz="609585" rtl="0" eaLnBrk="1" latinLnBrk="0" hangingPunct="1">
                        <a:defRPr sz="2400" b="1" kern="1200">
                          <a:solidFill>
                            <a:schemeClr val="lt1"/>
                          </a:solidFill>
                          <a:latin typeface="Calibri"/>
                        </a:defRPr>
                      </a:lvl5pPr>
                      <a:lvl6pPr marL="3047924" algn="l" defTabSz="609585" rtl="0" eaLnBrk="1" latinLnBrk="0" hangingPunct="1">
                        <a:defRPr sz="2400" b="1" kern="1200">
                          <a:solidFill>
                            <a:schemeClr val="lt1"/>
                          </a:solidFill>
                          <a:latin typeface="Calibri"/>
                        </a:defRPr>
                      </a:lvl6pPr>
                      <a:lvl7pPr marL="3657509" algn="l" defTabSz="609585" rtl="0" eaLnBrk="1" latinLnBrk="0" hangingPunct="1">
                        <a:defRPr sz="2400" b="1" kern="1200">
                          <a:solidFill>
                            <a:schemeClr val="lt1"/>
                          </a:solidFill>
                          <a:latin typeface="Calibri"/>
                        </a:defRPr>
                      </a:lvl7pPr>
                      <a:lvl8pPr marL="4267093" algn="l" defTabSz="609585" rtl="0" eaLnBrk="1" latinLnBrk="0" hangingPunct="1">
                        <a:defRPr sz="2400" b="1" kern="1200">
                          <a:solidFill>
                            <a:schemeClr val="lt1"/>
                          </a:solidFill>
                          <a:latin typeface="Calibri"/>
                        </a:defRPr>
                      </a:lvl8pPr>
                      <a:lvl9pPr marL="4876678" algn="l" defTabSz="609585" rtl="0" eaLnBrk="1" latinLnBrk="0" hangingPunct="1">
                        <a:defRPr sz="2400" b="1" kern="1200">
                          <a:solidFill>
                            <a:schemeClr val="lt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noProof="0">
                          <a:solidFill>
                            <a:schemeClr val="tx1"/>
                          </a:solidFill>
                          <a:latin typeface="Arial" pitchFamily="34" charset="0"/>
                        </a:rPr>
                        <a:t>IT Sponsor</a:t>
                      </a:r>
                    </a:p>
                  </a:txBody>
                  <a:tcPr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lumMod val="20000"/>
                        <a:lumOff val="80000"/>
                      </a:schemeClr>
                    </a:solidFill>
                  </a:tcPr>
                </a:tc>
                <a:tc>
                  <a:txBody>
                    <a:bodyPr/>
                    <a:lstStyle>
                      <a:lvl1pPr marL="0" algn="l" defTabSz="609585" rtl="0" eaLnBrk="1" latinLnBrk="0" hangingPunct="1">
                        <a:defRPr sz="2400" b="1" kern="1200">
                          <a:solidFill>
                            <a:schemeClr val="lt1"/>
                          </a:solidFill>
                          <a:latin typeface="Calibri"/>
                        </a:defRPr>
                      </a:lvl1pPr>
                      <a:lvl2pPr marL="609585" algn="l" defTabSz="609585" rtl="0" eaLnBrk="1" latinLnBrk="0" hangingPunct="1">
                        <a:defRPr sz="2400" b="1" kern="1200">
                          <a:solidFill>
                            <a:schemeClr val="lt1"/>
                          </a:solidFill>
                          <a:latin typeface="Calibri"/>
                        </a:defRPr>
                      </a:lvl2pPr>
                      <a:lvl3pPr marL="1219170" algn="l" defTabSz="609585" rtl="0" eaLnBrk="1" latinLnBrk="0" hangingPunct="1">
                        <a:defRPr sz="2400" b="1" kern="1200">
                          <a:solidFill>
                            <a:schemeClr val="lt1"/>
                          </a:solidFill>
                          <a:latin typeface="Calibri"/>
                        </a:defRPr>
                      </a:lvl3pPr>
                      <a:lvl4pPr marL="1828754" algn="l" defTabSz="609585" rtl="0" eaLnBrk="1" latinLnBrk="0" hangingPunct="1">
                        <a:defRPr sz="2400" b="1" kern="1200">
                          <a:solidFill>
                            <a:schemeClr val="lt1"/>
                          </a:solidFill>
                          <a:latin typeface="Calibri"/>
                        </a:defRPr>
                      </a:lvl4pPr>
                      <a:lvl5pPr marL="2438339" algn="l" defTabSz="609585" rtl="0" eaLnBrk="1" latinLnBrk="0" hangingPunct="1">
                        <a:defRPr sz="2400" b="1" kern="1200">
                          <a:solidFill>
                            <a:schemeClr val="lt1"/>
                          </a:solidFill>
                          <a:latin typeface="Calibri"/>
                        </a:defRPr>
                      </a:lvl5pPr>
                      <a:lvl6pPr marL="3047924" algn="l" defTabSz="609585" rtl="0" eaLnBrk="1" latinLnBrk="0" hangingPunct="1">
                        <a:defRPr sz="2400" b="1" kern="1200">
                          <a:solidFill>
                            <a:schemeClr val="lt1"/>
                          </a:solidFill>
                          <a:latin typeface="Calibri"/>
                        </a:defRPr>
                      </a:lvl6pPr>
                      <a:lvl7pPr marL="3657509" algn="l" defTabSz="609585" rtl="0" eaLnBrk="1" latinLnBrk="0" hangingPunct="1">
                        <a:defRPr sz="2400" b="1" kern="1200">
                          <a:solidFill>
                            <a:schemeClr val="lt1"/>
                          </a:solidFill>
                          <a:latin typeface="Calibri"/>
                        </a:defRPr>
                      </a:lvl7pPr>
                      <a:lvl8pPr marL="4267093" algn="l" defTabSz="609585" rtl="0" eaLnBrk="1" latinLnBrk="0" hangingPunct="1">
                        <a:defRPr sz="2400" b="1" kern="1200">
                          <a:solidFill>
                            <a:schemeClr val="lt1"/>
                          </a:solidFill>
                          <a:latin typeface="Calibri"/>
                        </a:defRPr>
                      </a:lvl8pPr>
                      <a:lvl9pPr marL="4876678" algn="l" defTabSz="609585" rtl="0" eaLnBrk="1" latinLnBrk="0" hangingPunct="1">
                        <a:defRPr sz="2400" b="1" kern="1200">
                          <a:solidFill>
                            <a:schemeClr val="lt1"/>
                          </a:solidFill>
                          <a:latin typeface="Calibri"/>
                        </a:defRPr>
                      </a:lvl9pPr>
                    </a:lstStyle>
                    <a:p>
                      <a:pPr fontAlgn="base">
                        <a:lnSpc>
                          <a:spcPct val="90000"/>
                        </a:lnSpc>
                        <a:spcBef>
                          <a:spcPct val="0"/>
                        </a:spcBef>
                        <a:spcAft>
                          <a:spcPct val="0"/>
                        </a:spcAft>
                      </a:pPr>
                      <a:r>
                        <a:rPr lang="fr-FR" sz="1200" b="0">
                          <a:solidFill>
                            <a:schemeClr val="tx1"/>
                          </a:solidFill>
                          <a:latin typeface="Arial" pitchFamily="34" charset="0"/>
                        </a:rPr>
                        <a:t>Camille Vaneenoge</a:t>
                      </a:r>
                    </a:p>
                  </a:txBody>
                  <a:tcPr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1836467"/>
                  </a:ext>
                </a:extLst>
              </a:tr>
            </a:tbl>
          </a:graphicData>
        </a:graphic>
      </p:graphicFrame>
      <p:sp>
        <p:nvSpPr>
          <p:cNvPr id="24" name="ZoneTexte 23">
            <a:extLst>
              <a:ext uri="{FF2B5EF4-FFF2-40B4-BE49-F238E27FC236}">
                <a16:creationId xmlns:a16="http://schemas.microsoft.com/office/drawing/2014/main" id="{BC30C256-AAB2-48C3-B327-9E4E522E0F2A}"/>
              </a:ext>
            </a:extLst>
          </p:cNvPr>
          <p:cNvSpPr txBox="1"/>
          <p:nvPr/>
        </p:nvSpPr>
        <p:spPr>
          <a:xfrm>
            <a:off x="7262271" y="6409016"/>
            <a:ext cx="3148083" cy="297454"/>
          </a:xfrm>
          <a:prstGeom prst="rect">
            <a:avLst/>
          </a:prstGeom>
          <a:noFill/>
        </p:spPr>
        <p:txBody>
          <a:bodyPr wrap="square" rtlCol="0">
            <a:spAutoFit/>
          </a:bodyPr>
          <a:lstStyle/>
          <a:p>
            <a:r>
              <a:rPr lang="en-US" sz="1333"/>
              <a:t>* The Data steward is the project manager</a:t>
            </a:r>
          </a:p>
        </p:txBody>
      </p:sp>
    </p:spTree>
    <p:extLst>
      <p:ext uri="{BB962C8B-B14F-4D97-AF65-F5344CB8AC3E}">
        <p14:creationId xmlns:p14="http://schemas.microsoft.com/office/powerpoint/2010/main" val="2453841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68B8A1B-9B47-10B7-A1D0-99A9C6252095}"/>
              </a:ext>
            </a:extLst>
          </p:cNvPr>
          <p:cNvSpPr>
            <a:spLocks noGrp="1"/>
          </p:cNvSpPr>
          <p:nvPr>
            <p:ph type="title"/>
          </p:nvPr>
        </p:nvSpPr>
        <p:spPr/>
        <p:txBody>
          <a:bodyPr/>
          <a:lstStyle/>
          <a:p>
            <a:r>
              <a:rPr lang="en-US" sz="5400"/>
              <a:t>TOOLS</a:t>
            </a:r>
          </a:p>
        </p:txBody>
      </p:sp>
      <p:sp>
        <p:nvSpPr>
          <p:cNvPr id="4" name="Espace réservé du texte 3">
            <a:extLst>
              <a:ext uri="{FF2B5EF4-FFF2-40B4-BE49-F238E27FC236}">
                <a16:creationId xmlns:a16="http://schemas.microsoft.com/office/drawing/2014/main" id="{588F59EA-2FE5-916E-73C0-3F0F9135D828}"/>
              </a:ext>
            </a:extLst>
          </p:cNvPr>
          <p:cNvSpPr>
            <a:spLocks noGrp="1"/>
          </p:cNvSpPr>
          <p:nvPr>
            <p:ph type="body" sz="quarter" idx="10"/>
          </p:nvPr>
        </p:nvSpPr>
        <p:spPr/>
        <p:txBody>
          <a:bodyPr/>
          <a:lstStyle/>
          <a:p>
            <a:endParaRPr lang="fr-FR"/>
          </a:p>
        </p:txBody>
      </p:sp>
      <p:sp>
        <p:nvSpPr>
          <p:cNvPr id="3" name="Espace réservé du texte 2">
            <a:extLst>
              <a:ext uri="{FF2B5EF4-FFF2-40B4-BE49-F238E27FC236}">
                <a16:creationId xmlns:a16="http://schemas.microsoft.com/office/drawing/2014/main" id="{9677BF05-6AFC-C0F0-BDE2-7DC3CC37D8BB}"/>
              </a:ext>
            </a:extLst>
          </p:cNvPr>
          <p:cNvSpPr>
            <a:spLocks noGrp="1"/>
          </p:cNvSpPr>
          <p:nvPr>
            <p:ph type="body" sz="quarter" idx="11"/>
          </p:nvPr>
        </p:nvSpPr>
        <p:spPr/>
        <p:txBody>
          <a:bodyPr/>
          <a:lstStyle/>
          <a:p>
            <a:r>
              <a:rPr lang="fr-FR"/>
              <a:t>3</a:t>
            </a:r>
          </a:p>
        </p:txBody>
      </p:sp>
    </p:spTree>
    <p:extLst>
      <p:ext uri="{BB962C8B-B14F-4D97-AF65-F5344CB8AC3E}">
        <p14:creationId xmlns:p14="http://schemas.microsoft.com/office/powerpoint/2010/main" val="2711996451"/>
      </p:ext>
    </p:extLst>
  </p:cSld>
  <p:clrMapOvr>
    <a:masterClrMapping/>
  </p:clrMapOvr>
  <p:transition spd="slow">
    <p:cove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3371561-9632-FB7A-816A-947D1BF32B33}"/>
              </a:ext>
            </a:extLst>
          </p:cNvPr>
          <p:cNvSpPr>
            <a:spLocks noGrp="1"/>
          </p:cNvSpPr>
          <p:nvPr>
            <p:ph type="title"/>
          </p:nvPr>
        </p:nvSpPr>
        <p:spPr/>
        <p:txBody>
          <a:bodyPr/>
          <a:lstStyle/>
          <a:p>
            <a:r>
              <a:rPr kumimoji="0" lang="en-US" sz="3200" b="0" i="0" u="none" strike="noStrike" kern="1200" cap="none" spc="0" normalizeH="0" baseline="0" noProof="0" err="1">
                <a:ln>
                  <a:noFill/>
                </a:ln>
                <a:effectLst/>
                <a:uLnTx/>
                <a:uFillTx/>
                <a:latin typeface="Vinci Sans Light"/>
                <a:ea typeface="+mn-ea"/>
                <a:cs typeface="+mn-cs"/>
              </a:rPr>
              <a:t>Versionning</a:t>
            </a:r>
            <a:r>
              <a:rPr kumimoji="0" lang="en-US" sz="3200" b="0" i="0" u="none" strike="noStrike" kern="1200" cap="none" spc="0" normalizeH="0" baseline="0" noProof="0">
                <a:ln>
                  <a:noFill/>
                </a:ln>
                <a:effectLst/>
                <a:uLnTx/>
                <a:uFillTx/>
                <a:latin typeface="Vinci Sans Light"/>
                <a:ea typeface="+mn-ea"/>
                <a:cs typeface="+mn-cs"/>
              </a:rPr>
              <a:t> follow-up</a:t>
            </a:r>
            <a:endParaRPr lang="en-US"/>
          </a:p>
        </p:txBody>
      </p:sp>
      <p:graphicFrame>
        <p:nvGraphicFramePr>
          <p:cNvPr id="4" name="Espace réservé du contenu 3">
            <a:extLst>
              <a:ext uri="{FF2B5EF4-FFF2-40B4-BE49-F238E27FC236}">
                <a16:creationId xmlns:a16="http://schemas.microsoft.com/office/drawing/2014/main" id="{9C0314AD-E1AA-43B1-9739-FE27BCF87E7F}"/>
              </a:ext>
            </a:extLst>
          </p:cNvPr>
          <p:cNvGraphicFramePr>
            <a:graphicFrameLocks noGrp="1"/>
          </p:cNvGraphicFramePr>
          <p:nvPr>
            <p:ph idx="4294967295"/>
            <p:extLst>
              <p:ext uri="{D42A27DB-BD31-4B8C-83A1-F6EECF244321}">
                <p14:modId xmlns:p14="http://schemas.microsoft.com/office/powerpoint/2010/main" val="1882495443"/>
              </p:ext>
            </p:extLst>
          </p:nvPr>
        </p:nvGraphicFramePr>
        <p:xfrm>
          <a:off x="382130" y="2160394"/>
          <a:ext cx="11427740" cy="3076405"/>
        </p:xfrm>
        <a:graphic>
          <a:graphicData uri="http://schemas.openxmlformats.org/drawingml/2006/table">
            <a:tbl>
              <a:tblPr firstRow="1" firstCol="1" bandRow="1">
                <a:tableStyleId>{69012ECD-51FC-41F1-AA8D-1B2483CD663E}</a:tableStyleId>
              </a:tblPr>
              <a:tblGrid>
                <a:gridCol w="1195170">
                  <a:extLst>
                    <a:ext uri="{9D8B030D-6E8A-4147-A177-3AD203B41FA5}">
                      <a16:colId xmlns:a16="http://schemas.microsoft.com/office/drawing/2014/main" val="1305153070"/>
                    </a:ext>
                  </a:extLst>
                </a:gridCol>
                <a:gridCol w="1240972">
                  <a:extLst>
                    <a:ext uri="{9D8B030D-6E8A-4147-A177-3AD203B41FA5}">
                      <a16:colId xmlns:a16="http://schemas.microsoft.com/office/drawing/2014/main" val="1275230060"/>
                    </a:ext>
                  </a:extLst>
                </a:gridCol>
                <a:gridCol w="4899264">
                  <a:extLst>
                    <a:ext uri="{9D8B030D-6E8A-4147-A177-3AD203B41FA5}">
                      <a16:colId xmlns:a16="http://schemas.microsoft.com/office/drawing/2014/main" val="489437372"/>
                    </a:ext>
                  </a:extLst>
                </a:gridCol>
                <a:gridCol w="1494938">
                  <a:extLst>
                    <a:ext uri="{9D8B030D-6E8A-4147-A177-3AD203B41FA5}">
                      <a16:colId xmlns:a16="http://schemas.microsoft.com/office/drawing/2014/main" val="1906248664"/>
                    </a:ext>
                  </a:extLst>
                </a:gridCol>
                <a:gridCol w="1280266">
                  <a:extLst>
                    <a:ext uri="{9D8B030D-6E8A-4147-A177-3AD203B41FA5}">
                      <a16:colId xmlns:a16="http://schemas.microsoft.com/office/drawing/2014/main" val="880197652"/>
                    </a:ext>
                  </a:extLst>
                </a:gridCol>
                <a:gridCol w="1317130">
                  <a:extLst>
                    <a:ext uri="{9D8B030D-6E8A-4147-A177-3AD203B41FA5}">
                      <a16:colId xmlns:a16="http://schemas.microsoft.com/office/drawing/2014/main" val="599219031"/>
                    </a:ext>
                  </a:extLst>
                </a:gridCol>
              </a:tblGrid>
              <a:tr h="678513">
                <a:tc>
                  <a:txBody>
                    <a:bodyPr/>
                    <a:lstStyle/>
                    <a:p>
                      <a:pPr algn="ctr"/>
                      <a:r>
                        <a:rPr lang="en-US" sz="1500">
                          <a:effectLst/>
                          <a:latin typeface="Calibri"/>
                          <a:ea typeface="Calibri" panose="020F0502020204030204" pitchFamily="34" charset="0"/>
                        </a:rPr>
                        <a:t>Index</a:t>
                      </a:r>
                    </a:p>
                  </a:txBody>
                  <a:tcPr marL="68580" marR="68580" marT="0" marB="0" anchor="ctr">
                    <a:lnB w="12700" cap="flat" cmpd="sng" algn="ctr">
                      <a:solidFill>
                        <a:schemeClr val="tx1"/>
                      </a:solidFill>
                      <a:prstDash val="solid"/>
                      <a:round/>
                      <a:headEnd type="none" w="med" len="med"/>
                      <a:tailEnd type="none" w="med" len="med"/>
                    </a:lnB>
                  </a:tcPr>
                </a:tc>
                <a:tc>
                  <a:txBody>
                    <a:bodyPr/>
                    <a:lstStyle/>
                    <a:p>
                      <a:pPr algn="ctr"/>
                      <a:r>
                        <a:rPr lang="en-US" sz="1500">
                          <a:effectLst/>
                        </a:rPr>
                        <a:t>Date</a:t>
                      </a:r>
                      <a:endParaRPr lang="en-US" sz="1500">
                        <a:effectLst/>
                        <a:latin typeface="Calibri" panose="020F0502020204030204" pitchFamily="34" charset="0"/>
                        <a:ea typeface="Calibri" panose="020F0502020204030204" pitchFamily="34" charset="0"/>
                      </a:endParaRPr>
                    </a:p>
                  </a:txBody>
                  <a:tcPr marL="68580" marR="68580" marT="0" marB="0" anchor="ctr">
                    <a:lnB w="12700" cap="flat" cmpd="sng" algn="ctr">
                      <a:solidFill>
                        <a:schemeClr val="tx1"/>
                      </a:solidFill>
                      <a:prstDash val="solid"/>
                      <a:round/>
                      <a:headEnd type="none" w="med" len="med"/>
                      <a:tailEnd type="none" w="med" len="med"/>
                    </a:lnB>
                  </a:tcPr>
                </a:tc>
                <a:tc>
                  <a:txBody>
                    <a:bodyPr/>
                    <a:lstStyle/>
                    <a:p>
                      <a:pPr algn="ctr"/>
                      <a:r>
                        <a:rPr lang="en-US" sz="1500">
                          <a:effectLst/>
                        </a:rPr>
                        <a:t>Main changes</a:t>
                      </a:r>
                      <a:endParaRPr lang="en-US" sz="1500" b="1">
                        <a:solidFill>
                          <a:schemeClr val="bg1"/>
                        </a:solidFill>
                        <a:effectLst/>
                        <a:latin typeface="Calibri"/>
                        <a:ea typeface="Calibri" panose="020F0502020204030204" pitchFamily="34" charset="0"/>
                      </a:endParaRPr>
                    </a:p>
                  </a:txBody>
                  <a:tcPr marL="68580" marR="68580" marT="0" marB="0" anchor="ctr">
                    <a:lnB w="12700" cap="flat" cmpd="sng" algn="ctr">
                      <a:solidFill>
                        <a:schemeClr val="tx1"/>
                      </a:solidFill>
                      <a:prstDash val="solid"/>
                      <a:round/>
                      <a:headEnd type="none" w="med" len="med"/>
                      <a:tailEnd type="none" w="med" len="med"/>
                    </a:lnB>
                  </a:tcPr>
                </a:tc>
                <a:tc>
                  <a:txBody>
                    <a:bodyPr/>
                    <a:lstStyle/>
                    <a:p>
                      <a:pPr algn="ctr"/>
                      <a:r>
                        <a:rPr lang="en-US" sz="1500">
                          <a:effectLst/>
                          <a:latin typeface="Calibri"/>
                          <a:ea typeface="Calibri" panose="020F0502020204030204" pitchFamily="34" charset="0"/>
                        </a:rPr>
                        <a:t>Proposed by</a:t>
                      </a:r>
                    </a:p>
                  </a:txBody>
                  <a:tcPr marL="68580" marR="68580" marT="0" marB="0" anchor="ctr">
                    <a:lnB w="12700" cap="flat" cmpd="sng" algn="ctr">
                      <a:solidFill>
                        <a:schemeClr val="tx1"/>
                      </a:solidFill>
                      <a:prstDash val="solid"/>
                      <a:round/>
                      <a:headEnd type="none" w="med" len="med"/>
                      <a:tailEnd type="none" w="med" len="med"/>
                    </a:lnB>
                  </a:tcPr>
                </a:tc>
                <a:tc>
                  <a:txBody>
                    <a:bodyPr/>
                    <a:lstStyle/>
                    <a:p>
                      <a:pPr algn="ctr"/>
                      <a:r>
                        <a:rPr lang="en-US" sz="1500">
                          <a:effectLst/>
                          <a:latin typeface="Calibri"/>
                          <a:ea typeface="Calibri" panose="020F0502020204030204" pitchFamily="34" charset="0"/>
                        </a:rPr>
                        <a:t>Reviewed by</a:t>
                      </a:r>
                    </a:p>
                  </a:txBody>
                  <a:tcPr marL="68580" marR="68580" marT="0" marB="0" anchor="ctr">
                    <a:lnB w="12700" cap="flat" cmpd="sng" algn="ctr">
                      <a:solidFill>
                        <a:schemeClr val="tx1"/>
                      </a:solidFill>
                      <a:prstDash val="solid"/>
                      <a:round/>
                      <a:headEnd type="none" w="med" len="med"/>
                      <a:tailEnd type="none" w="med" len="med"/>
                    </a:lnB>
                  </a:tcPr>
                </a:tc>
                <a:tc>
                  <a:txBody>
                    <a:bodyPr/>
                    <a:lstStyle/>
                    <a:p>
                      <a:pPr algn="ctr"/>
                      <a:r>
                        <a:rPr lang="en-US" sz="1500">
                          <a:effectLst/>
                          <a:latin typeface="Calibri"/>
                          <a:ea typeface="Calibri" panose="020F0502020204030204" pitchFamily="34" charset="0"/>
                        </a:rPr>
                        <a:t>Validated by</a:t>
                      </a:r>
                    </a:p>
                  </a:txBody>
                  <a:tcPr marL="68580" marR="68580" marT="0"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62372489"/>
                  </a:ext>
                </a:extLst>
              </a:tr>
              <a:tr h="599473">
                <a:tc>
                  <a:txBody>
                    <a:bodyPr/>
                    <a:lstStyle/>
                    <a:p>
                      <a:pPr algn="ctr"/>
                      <a:r>
                        <a:rPr lang="en-US" sz="1500">
                          <a:effectLst/>
                          <a:latin typeface="+mj-lt"/>
                          <a:ea typeface="Calibri" panose="020F0502020204030204" pitchFamily="34" charset="0"/>
                        </a:rPr>
                        <a:t>A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a:effectLst/>
                          <a:latin typeface="+mj-lt"/>
                          <a:ea typeface="Calibri" panose="020F0502020204030204" pitchFamily="34" charset="0"/>
                        </a:rPr>
                        <a:t>27/02/2023</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a:effectLst/>
                          <a:latin typeface="+mj-lt"/>
                        </a:rPr>
                        <a:t>First Issue</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a:ln>
                            <a:solidFill>
                              <a:schemeClr val="accent1"/>
                            </a:solidFill>
                          </a:ln>
                          <a:effectLst/>
                          <a:latin typeface="+mj-lt"/>
                        </a:rPr>
                        <a:t>Ch. DE LIMERVILLE</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500" b="1" kern="1200">
                          <a:ln>
                            <a:solidFill>
                              <a:schemeClr val="accent1"/>
                            </a:solidFill>
                          </a:ln>
                          <a:solidFill>
                            <a:schemeClr val="tx1"/>
                          </a:solidFill>
                          <a:effectLst/>
                          <a:latin typeface="+mn-lt"/>
                          <a:ea typeface="+mn-ea"/>
                          <a:cs typeface="+mn-cs"/>
                        </a:rPr>
                        <a:t>C. VANEENOGE</a:t>
                      </a:r>
                    </a:p>
                    <a:p>
                      <a:pPr marL="0" marR="0" lvl="0" indent="0" algn="l" defTabSz="609585" rtl="0" eaLnBrk="1" fontAlgn="auto" latinLnBrk="0" hangingPunct="1">
                        <a:lnSpc>
                          <a:spcPct val="100000"/>
                        </a:lnSpc>
                        <a:spcBef>
                          <a:spcPts val="0"/>
                        </a:spcBef>
                        <a:spcAft>
                          <a:spcPts val="0"/>
                        </a:spcAft>
                        <a:buClrTx/>
                        <a:buSzTx/>
                        <a:buFontTx/>
                        <a:buNone/>
                        <a:tabLst/>
                        <a:defRPr/>
                      </a:pPr>
                      <a:r>
                        <a:rPr lang="en-US" sz="1500" b="1" kern="1200">
                          <a:ln>
                            <a:solidFill>
                              <a:schemeClr val="accent1"/>
                            </a:solidFill>
                          </a:ln>
                          <a:solidFill>
                            <a:schemeClr val="tx1"/>
                          </a:solidFill>
                          <a:effectLst/>
                          <a:latin typeface="+mn-lt"/>
                          <a:ea typeface="+mn-ea"/>
                          <a:cs typeface="+mn-cs"/>
                        </a:rPr>
                        <a:t>O. VERMON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a:ln>
                            <a:solidFill>
                              <a:schemeClr val="accent1"/>
                            </a:solidFill>
                          </a:ln>
                          <a:effectLst/>
                          <a:latin typeface="+mj-lt"/>
                        </a:rPr>
                        <a:t>C. PERSOZ</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84185863"/>
                  </a:ext>
                </a:extLst>
              </a:tr>
              <a:tr h="599473">
                <a:tc>
                  <a:txBody>
                    <a:bodyPr/>
                    <a:lstStyle/>
                    <a:p>
                      <a:pPr algn="ctr"/>
                      <a:r>
                        <a:rPr lang="en-US" sz="1500">
                          <a:effectLst/>
                          <a:latin typeface="+mj-lt"/>
                          <a:ea typeface="Calibri" panose="020F0502020204030204" pitchFamily="34" charset="0"/>
                        </a:rPr>
                        <a:t>A1</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a:effectLst/>
                          <a:latin typeface="+mj-lt"/>
                          <a:ea typeface="Calibri" panose="020F0502020204030204" pitchFamily="34" charset="0"/>
                        </a:rPr>
                        <a:t>03/09/2024</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a:effectLst/>
                          <a:latin typeface="+mj-lt"/>
                        </a:rPr>
                        <a:t>Added data consumers &amp; producers processes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a:ln>
                            <a:solidFill>
                              <a:schemeClr val="accent1"/>
                            </a:solidFill>
                          </a:ln>
                          <a:effectLst/>
                          <a:latin typeface="+mj-lt"/>
                        </a:rPr>
                        <a:t>P. BRE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500" b="1" kern="1200">
                          <a:ln>
                            <a:solidFill>
                              <a:schemeClr val="accent1"/>
                            </a:solidFill>
                          </a:ln>
                          <a:solidFill>
                            <a:schemeClr val="tx1"/>
                          </a:solidFill>
                          <a:effectLst/>
                          <a:latin typeface="+mn-lt"/>
                          <a:ea typeface="+mn-ea"/>
                          <a:cs typeface="+mn-cs"/>
                        </a:rPr>
                        <a:t>C. VANEENOGE</a:t>
                      </a:r>
                    </a:p>
                    <a:p>
                      <a:pPr marL="0" marR="0" lvl="0" indent="0" algn="l" defTabSz="609585" rtl="0" eaLnBrk="1" fontAlgn="auto" latinLnBrk="0" hangingPunct="1">
                        <a:lnSpc>
                          <a:spcPct val="100000"/>
                        </a:lnSpc>
                        <a:spcBef>
                          <a:spcPts val="0"/>
                        </a:spcBef>
                        <a:spcAft>
                          <a:spcPts val="0"/>
                        </a:spcAft>
                        <a:buClrTx/>
                        <a:buSzTx/>
                        <a:buFontTx/>
                        <a:buNone/>
                        <a:tabLst/>
                        <a:defRPr/>
                      </a:pPr>
                      <a:r>
                        <a:rPr lang="en-US" sz="1500" b="1" kern="1200">
                          <a:ln>
                            <a:solidFill>
                              <a:schemeClr val="accent1"/>
                            </a:solidFill>
                          </a:ln>
                          <a:solidFill>
                            <a:schemeClr val="tx1"/>
                          </a:solidFill>
                          <a:effectLst/>
                          <a:latin typeface="+mn-lt"/>
                          <a:ea typeface="+mn-ea"/>
                          <a:cs typeface="+mn-cs"/>
                        </a:rPr>
                        <a:t>O. VERMON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a:ln>
                            <a:solidFill>
                              <a:schemeClr val="accent1"/>
                            </a:solidFill>
                          </a:ln>
                          <a:effectLst/>
                          <a:latin typeface="+mj-lt"/>
                        </a:rPr>
                        <a:t>D. DESMONS</a:t>
                      </a:r>
                    </a:p>
                    <a:p>
                      <a:r>
                        <a:rPr lang="en-US" sz="1500">
                          <a:ln>
                            <a:solidFill>
                              <a:schemeClr val="accent1"/>
                            </a:solidFill>
                          </a:ln>
                          <a:effectLst/>
                          <a:latin typeface="+mj-lt"/>
                        </a:rPr>
                        <a:t>C. PERSOZ</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01218843"/>
                  </a:ext>
                </a:extLst>
              </a:tr>
              <a:tr h="599473">
                <a:tc>
                  <a:txBody>
                    <a:bodyPr/>
                    <a:lstStyle/>
                    <a:p>
                      <a:pPr algn="ctr"/>
                      <a:r>
                        <a:rPr lang="en-US" sz="1500">
                          <a:effectLst/>
                          <a:latin typeface="+mj-lt"/>
                          <a:ea typeface="Calibri" panose="020F0502020204030204" pitchFamily="34" charset="0"/>
                        </a:rPr>
                        <a:t>A2</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a:effectLst/>
                          <a:latin typeface="+mj-lt"/>
                          <a:ea typeface="Calibri" panose="020F0502020204030204" pitchFamily="34" charset="0"/>
                        </a:rPr>
                        <a:t>08/01/2025</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effectLst/>
                          <a:latin typeface="+mj-lt"/>
                        </a:rPr>
                        <a:t>Update Data factory and interaction with data office</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500" b="1" kern="1200">
                          <a:ln>
                            <a:solidFill>
                              <a:schemeClr val="accent1"/>
                            </a:solidFill>
                          </a:ln>
                          <a:solidFill>
                            <a:schemeClr val="tx1"/>
                          </a:solidFill>
                          <a:effectLst/>
                          <a:latin typeface="+mn-lt"/>
                          <a:ea typeface="+mn-ea"/>
                          <a:cs typeface="+mn-cs"/>
                        </a:rPr>
                        <a:t>C. VANEENOGE</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500" b="1" kern="1200">
                          <a:ln>
                            <a:solidFill>
                              <a:schemeClr val="accent1"/>
                            </a:solidFill>
                          </a:ln>
                          <a:solidFill>
                            <a:schemeClr val="tx1"/>
                          </a:solidFill>
                          <a:effectLst/>
                          <a:latin typeface="+mn-lt"/>
                          <a:ea typeface="+mn-ea"/>
                          <a:cs typeface="+mn-cs"/>
                        </a:rPr>
                        <a:t>O. VERMON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ln>
                            <a:solidFill>
                              <a:schemeClr val="accent1"/>
                            </a:solidFill>
                          </a:ln>
                          <a:effectLst/>
                          <a:latin typeface="+mj-lt"/>
                        </a:rPr>
                        <a:t>D. DESMONS</a:t>
                      </a:r>
                    </a:p>
                    <a:p>
                      <a:r>
                        <a:rPr lang="en-US" sz="1500" dirty="0">
                          <a:ln>
                            <a:solidFill>
                              <a:schemeClr val="accent1"/>
                            </a:solidFill>
                          </a:ln>
                          <a:effectLst/>
                          <a:latin typeface="+mj-lt"/>
                        </a:rPr>
                        <a:t>C. PERSOZ</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84528246"/>
                  </a:ext>
                </a:extLst>
              </a:tr>
              <a:tr h="599473">
                <a:tc>
                  <a:txBody>
                    <a:bodyPr/>
                    <a:lstStyle/>
                    <a:p>
                      <a:pPr algn="ctr"/>
                      <a:r>
                        <a:rPr lang="en-US" sz="1500" dirty="0">
                          <a:effectLst/>
                          <a:latin typeface="+mj-lt"/>
                          <a:ea typeface="Calibri" panose="020F0502020204030204" pitchFamily="34" charset="0"/>
                        </a:rPr>
                        <a:t>A3</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500">
                        <a:effectLst/>
                        <a:latin typeface="+mj-lt"/>
                        <a:ea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500">
                        <a:effectLst/>
                        <a:latin typeface="+mj-lt"/>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lang="en-US" sz="1500" b="1" kern="1200">
                        <a:ln>
                          <a:solidFill>
                            <a:schemeClr val="accent1"/>
                          </a:solidFill>
                        </a:ln>
                        <a:solidFill>
                          <a:schemeClr val="tx1"/>
                        </a:solidFill>
                        <a:effectLst/>
                        <a:latin typeface="+mn-lt"/>
                        <a:ea typeface="+mn-ea"/>
                        <a:cs typeface="+mn-c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lang="en-US" sz="1500" b="1" kern="1200">
                        <a:ln>
                          <a:solidFill>
                            <a:schemeClr val="accent1"/>
                          </a:solidFill>
                        </a:ln>
                        <a:solidFill>
                          <a:schemeClr val="tx1"/>
                        </a:solidFill>
                        <a:effectLst/>
                        <a:latin typeface="+mn-lt"/>
                        <a:ea typeface="+mn-ea"/>
                        <a:cs typeface="+mn-c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500" dirty="0">
                        <a:ln>
                          <a:solidFill>
                            <a:schemeClr val="accent1"/>
                          </a:solidFill>
                        </a:ln>
                        <a:effectLst/>
                        <a:latin typeface="+mj-lt"/>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13364877"/>
                  </a:ext>
                </a:extLst>
              </a:tr>
            </a:tbl>
          </a:graphicData>
        </a:graphic>
      </p:graphicFrame>
      <p:sp>
        <p:nvSpPr>
          <p:cNvPr id="3" name="ZoneTexte 2">
            <a:extLst>
              <a:ext uri="{FF2B5EF4-FFF2-40B4-BE49-F238E27FC236}">
                <a16:creationId xmlns:a16="http://schemas.microsoft.com/office/drawing/2014/main" id="{5CC5C6C6-12C3-7672-1A91-6ABD3D85E0FF}"/>
              </a:ext>
            </a:extLst>
          </p:cNvPr>
          <p:cNvSpPr txBox="1"/>
          <p:nvPr/>
        </p:nvSpPr>
        <p:spPr>
          <a:xfrm>
            <a:off x="382130" y="5365280"/>
            <a:ext cx="4424609" cy="369332"/>
          </a:xfrm>
          <a:prstGeom prst="rect">
            <a:avLst/>
          </a:prstGeom>
          <a:noFill/>
        </p:spPr>
        <p:txBody>
          <a:bodyPr wrap="none" rtlCol="0">
            <a:spAutoFit/>
          </a:bodyPr>
          <a:lstStyle/>
          <a:p>
            <a:r>
              <a:rPr lang="fr-FR" dirty="0">
                <a:highlight>
                  <a:srgbClr val="FFFF00"/>
                </a:highlight>
              </a:rPr>
              <a:t>Yellow = updates </a:t>
            </a:r>
            <a:r>
              <a:rPr lang="fr-FR" dirty="0" err="1">
                <a:highlight>
                  <a:srgbClr val="FFFF00"/>
                </a:highlight>
              </a:rPr>
              <a:t>since</a:t>
            </a:r>
            <a:r>
              <a:rPr lang="fr-FR" dirty="0">
                <a:highlight>
                  <a:srgbClr val="FFFF00"/>
                </a:highlight>
              </a:rPr>
              <a:t> release A2 (08/01/2025)</a:t>
            </a:r>
          </a:p>
        </p:txBody>
      </p:sp>
    </p:spTree>
    <p:extLst>
      <p:ext uri="{BB962C8B-B14F-4D97-AF65-F5344CB8AC3E}">
        <p14:creationId xmlns:p14="http://schemas.microsoft.com/office/powerpoint/2010/main" val="2631057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5" name="Connecteur droit avec flèche 24">
            <a:extLst>
              <a:ext uri="{FF2B5EF4-FFF2-40B4-BE49-F238E27FC236}">
                <a16:creationId xmlns:a16="http://schemas.microsoft.com/office/drawing/2014/main" id="{E0D6BD89-7F28-AAF8-E48B-0E8888A8A213}"/>
              </a:ext>
            </a:extLst>
          </p:cNvPr>
          <p:cNvCxnSpPr>
            <a:cxnSpLocks/>
          </p:cNvCxnSpPr>
          <p:nvPr/>
        </p:nvCxnSpPr>
        <p:spPr>
          <a:xfrm>
            <a:off x="3243804" y="2071663"/>
            <a:ext cx="0" cy="4018241"/>
          </a:xfrm>
          <a:prstGeom prst="straightConnector1">
            <a:avLst/>
          </a:prstGeom>
          <a:ln w="952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 name="Rectangle : coins arrondis 3">
            <a:extLst>
              <a:ext uri="{FF2B5EF4-FFF2-40B4-BE49-F238E27FC236}">
                <a16:creationId xmlns:a16="http://schemas.microsoft.com/office/drawing/2014/main" id="{A07502B6-9FB9-8B66-9CC9-F337415F8542}"/>
              </a:ext>
            </a:extLst>
          </p:cNvPr>
          <p:cNvSpPr/>
          <p:nvPr/>
        </p:nvSpPr>
        <p:spPr>
          <a:xfrm>
            <a:off x="425382" y="1541908"/>
            <a:ext cx="11486957" cy="529755"/>
          </a:xfrm>
          <a:prstGeom prst="roundRect">
            <a:avLst/>
          </a:prstGeom>
          <a:solidFill>
            <a:srgbClr val="F2F2F2"/>
          </a:solidFill>
          <a:ln w="63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p>
        </p:txBody>
      </p:sp>
      <p:sp>
        <p:nvSpPr>
          <p:cNvPr id="3" name="Titre 1">
            <a:extLst>
              <a:ext uri="{FF2B5EF4-FFF2-40B4-BE49-F238E27FC236}">
                <a16:creationId xmlns:a16="http://schemas.microsoft.com/office/drawing/2014/main" id="{ABB6050A-4D29-6800-5293-11F0BB6795EF}"/>
              </a:ext>
            </a:extLst>
          </p:cNvPr>
          <p:cNvSpPr txBox="1">
            <a:spLocks noGrp="1"/>
          </p:cNvSpPr>
          <p:nvPr>
            <p:ph type="title"/>
          </p:nvPr>
        </p:nvSpPr>
        <p:spPr>
          <a:prstGeom prst="rect">
            <a:avLst/>
          </a:prstGeom>
        </p:spPr>
        <p:txBody>
          <a:bodyPr vert="horz" lIns="0" tIns="0" rIns="0" bIns="72000" rtlCol="0" anchor="b" anchorCtr="0">
            <a:normAutofit/>
          </a:bodyPr>
          <a:lstStyle>
            <a:lvl1pPr algn="l" defTabSz="914400" rtl="0" eaLnBrk="1" latinLnBrk="0" hangingPunct="1">
              <a:lnSpc>
                <a:spcPct val="90000"/>
              </a:lnSpc>
              <a:spcBef>
                <a:spcPct val="0"/>
              </a:spcBef>
              <a:buNone/>
              <a:defRPr sz="3200" b="0" i="0" kern="1200" cap="none" baseline="0">
                <a:solidFill>
                  <a:schemeClr val="accent1"/>
                </a:solidFill>
                <a:latin typeface="+mn-lt"/>
                <a:ea typeface="Segoe UI Light" charset="0"/>
                <a:cs typeface="Segoe UI Light" charset="0"/>
              </a:defRPr>
            </a:lvl1pPr>
          </a:lstStyle>
          <a:p>
            <a:r>
              <a:rPr lang="en-US"/>
              <a:t>Tools overview</a:t>
            </a:r>
            <a:endParaRPr lang="en-US" sz="2000">
              <a:solidFill>
                <a:schemeClr val="tx2"/>
              </a:solidFill>
            </a:endParaRPr>
          </a:p>
        </p:txBody>
      </p:sp>
      <p:sp>
        <p:nvSpPr>
          <p:cNvPr id="2" name="Espace réservé du texte 1">
            <a:extLst>
              <a:ext uri="{FF2B5EF4-FFF2-40B4-BE49-F238E27FC236}">
                <a16:creationId xmlns:a16="http://schemas.microsoft.com/office/drawing/2014/main" id="{4AC94564-616F-390B-C766-21776FD274C2}"/>
              </a:ext>
            </a:extLst>
          </p:cNvPr>
          <p:cNvSpPr>
            <a:spLocks noGrp="1"/>
          </p:cNvSpPr>
          <p:nvPr>
            <p:ph type="body" idx="1"/>
          </p:nvPr>
        </p:nvSpPr>
        <p:spPr/>
        <p:txBody>
          <a:bodyPr/>
          <a:lstStyle/>
          <a:p>
            <a:r>
              <a:rPr lang="en-US" sz="2800">
                <a:solidFill>
                  <a:schemeClr val="tx2"/>
                </a:solidFill>
              </a:rPr>
              <a:t>For data governance, informatica was chosen and is composed of 4 modules.</a:t>
            </a:r>
            <a:endParaRPr lang="fr-FR"/>
          </a:p>
        </p:txBody>
      </p:sp>
      <p:sp>
        <p:nvSpPr>
          <p:cNvPr id="12" name="ZoneTexte 11">
            <a:extLst>
              <a:ext uri="{FF2B5EF4-FFF2-40B4-BE49-F238E27FC236}">
                <a16:creationId xmlns:a16="http://schemas.microsoft.com/office/drawing/2014/main" id="{0E8F7F7A-417F-506D-31F3-612C83544C56}"/>
              </a:ext>
            </a:extLst>
          </p:cNvPr>
          <p:cNvSpPr txBox="1"/>
          <p:nvPr/>
        </p:nvSpPr>
        <p:spPr>
          <a:xfrm>
            <a:off x="3744366" y="1668286"/>
            <a:ext cx="1590500" cy="276999"/>
          </a:xfrm>
          <a:prstGeom prst="rect">
            <a:avLst/>
          </a:prstGeom>
          <a:noFill/>
        </p:spPr>
        <p:txBody>
          <a:bodyPr wrap="none" rtlCol="0">
            <a:spAutoFit/>
          </a:bodyPr>
          <a:lstStyle/>
          <a:p>
            <a:pPr algn="ctr"/>
            <a:r>
              <a:rPr lang="en-US" sz="1200" b="1">
                <a:solidFill>
                  <a:schemeClr val="accent1"/>
                </a:solidFill>
              </a:rPr>
              <a:t>Document Data Product</a:t>
            </a:r>
          </a:p>
        </p:txBody>
      </p:sp>
      <p:sp>
        <p:nvSpPr>
          <p:cNvPr id="13" name="ZoneTexte 12">
            <a:extLst>
              <a:ext uri="{FF2B5EF4-FFF2-40B4-BE49-F238E27FC236}">
                <a16:creationId xmlns:a16="http://schemas.microsoft.com/office/drawing/2014/main" id="{24F956AA-0D95-EDE2-9BA9-6B5077A00A85}"/>
              </a:ext>
            </a:extLst>
          </p:cNvPr>
          <p:cNvSpPr txBox="1"/>
          <p:nvPr/>
        </p:nvSpPr>
        <p:spPr>
          <a:xfrm>
            <a:off x="4041395" y="2605577"/>
            <a:ext cx="996427" cy="276999"/>
          </a:xfrm>
          <a:prstGeom prst="rect">
            <a:avLst/>
          </a:prstGeom>
          <a:noFill/>
        </p:spPr>
        <p:txBody>
          <a:bodyPr wrap="none" rtlCol="0">
            <a:spAutoFit/>
          </a:bodyPr>
          <a:lstStyle/>
          <a:p>
            <a:pPr algn="ctr"/>
            <a:r>
              <a:rPr lang="en-US" sz="1200" b="1"/>
              <a:t>Data Catalog</a:t>
            </a:r>
          </a:p>
        </p:txBody>
      </p:sp>
      <p:sp>
        <p:nvSpPr>
          <p:cNvPr id="10" name="TextBox 92">
            <a:extLst>
              <a:ext uri="{FF2B5EF4-FFF2-40B4-BE49-F238E27FC236}">
                <a16:creationId xmlns:a16="http://schemas.microsoft.com/office/drawing/2014/main" id="{52A0302F-7696-9F0D-6D9D-9E4BDCDD5CD4}"/>
              </a:ext>
            </a:extLst>
          </p:cNvPr>
          <p:cNvSpPr txBox="1"/>
          <p:nvPr/>
        </p:nvSpPr>
        <p:spPr bwMode="auto">
          <a:xfrm>
            <a:off x="3428627" y="2871122"/>
            <a:ext cx="2221965" cy="1232326"/>
          </a:xfrm>
          <a:prstGeom prst="rect">
            <a:avLst/>
          </a:prstGeom>
          <a:noFill/>
          <a:ln w="9525">
            <a:noFill/>
            <a:miter lim="800000"/>
            <a:headEnd/>
            <a:tailEnd/>
          </a:ln>
        </p:spPr>
        <p:txBody>
          <a:bodyPr wrap="square" rtlCol="0">
            <a:noAutofit/>
          </a:bodyPr>
          <a:lstStyle/>
          <a:p>
            <a:pPr algn="just"/>
            <a:r>
              <a:rPr lang="en-US" sz="1000" b="1" i="1">
                <a:solidFill>
                  <a:schemeClr val="accent3"/>
                </a:solidFill>
              </a:rPr>
              <a:t>Key Points</a:t>
            </a:r>
            <a:endParaRPr lang="en-US" sz="1000" i="1">
              <a:solidFill>
                <a:schemeClr val="accent3"/>
              </a:solidFill>
            </a:endParaRPr>
          </a:p>
          <a:p>
            <a:pPr marL="285750" indent="-285750" algn="just" rtl="0">
              <a:buClr>
                <a:srgbClr val="B10034"/>
              </a:buClr>
              <a:buFont typeface="Arial" panose="020B0604020202020204" pitchFamily="34" charset="0"/>
              <a:buChar char="•"/>
            </a:pPr>
            <a:r>
              <a:rPr lang="en-US" sz="1000"/>
              <a:t>Create data product documentation based on scanned metadata</a:t>
            </a:r>
          </a:p>
          <a:p>
            <a:pPr marL="285750" indent="-285750" algn="just">
              <a:buClr>
                <a:srgbClr val="B10034"/>
              </a:buClr>
              <a:buFont typeface="Arial" panose="020B0604020202020204" pitchFamily="34" charset="0"/>
              <a:buChar char="•"/>
            </a:pPr>
            <a:r>
              <a:rPr lang="en-US" sz="1000"/>
              <a:t>Create and associate Business terms</a:t>
            </a:r>
          </a:p>
          <a:p>
            <a:pPr marL="285750" indent="-285750" algn="just" rtl="0">
              <a:buClr>
                <a:srgbClr val="B10034"/>
              </a:buClr>
              <a:buFont typeface="Arial" panose="020B0604020202020204" pitchFamily="34" charset="0"/>
              <a:buChar char="•"/>
            </a:pPr>
            <a:endParaRPr lang="en-US" sz="1000" b="1" i="1"/>
          </a:p>
        </p:txBody>
      </p:sp>
      <p:sp>
        <p:nvSpPr>
          <p:cNvPr id="20" name="ZoneTexte 19">
            <a:extLst>
              <a:ext uri="{FF2B5EF4-FFF2-40B4-BE49-F238E27FC236}">
                <a16:creationId xmlns:a16="http://schemas.microsoft.com/office/drawing/2014/main" id="{9A333A1C-A20B-DC9F-9F56-60DF11979CF9}"/>
              </a:ext>
            </a:extLst>
          </p:cNvPr>
          <p:cNvSpPr txBox="1"/>
          <p:nvPr/>
        </p:nvSpPr>
        <p:spPr>
          <a:xfrm>
            <a:off x="1090999" y="1668286"/>
            <a:ext cx="1478290" cy="276999"/>
          </a:xfrm>
          <a:prstGeom prst="rect">
            <a:avLst/>
          </a:prstGeom>
          <a:noFill/>
        </p:spPr>
        <p:txBody>
          <a:bodyPr wrap="none" rtlCol="0">
            <a:spAutoFit/>
          </a:bodyPr>
          <a:lstStyle/>
          <a:p>
            <a:pPr algn="ctr"/>
            <a:r>
              <a:rPr lang="en-US" sz="1200" b="1">
                <a:solidFill>
                  <a:schemeClr val="accent1"/>
                </a:solidFill>
              </a:rPr>
              <a:t>Discover Data Product</a:t>
            </a:r>
          </a:p>
        </p:txBody>
      </p:sp>
      <p:sp>
        <p:nvSpPr>
          <p:cNvPr id="21" name="ZoneTexte 20">
            <a:extLst>
              <a:ext uri="{FF2B5EF4-FFF2-40B4-BE49-F238E27FC236}">
                <a16:creationId xmlns:a16="http://schemas.microsoft.com/office/drawing/2014/main" id="{9CB585FF-94EC-B1AE-3B72-F5220A40CFA0}"/>
              </a:ext>
            </a:extLst>
          </p:cNvPr>
          <p:cNvSpPr txBox="1"/>
          <p:nvPr/>
        </p:nvSpPr>
        <p:spPr>
          <a:xfrm>
            <a:off x="1170409" y="2605577"/>
            <a:ext cx="1319464" cy="276999"/>
          </a:xfrm>
          <a:prstGeom prst="rect">
            <a:avLst/>
          </a:prstGeom>
          <a:noFill/>
        </p:spPr>
        <p:txBody>
          <a:bodyPr wrap="none" rtlCol="0">
            <a:spAutoFit/>
          </a:bodyPr>
          <a:lstStyle/>
          <a:p>
            <a:pPr algn="ctr"/>
            <a:r>
              <a:rPr lang="en-US" sz="1200" b="1"/>
              <a:t>Data Marketplace</a:t>
            </a:r>
          </a:p>
        </p:txBody>
      </p:sp>
      <p:sp>
        <p:nvSpPr>
          <p:cNvPr id="17" name="TextBox 92">
            <a:extLst>
              <a:ext uri="{FF2B5EF4-FFF2-40B4-BE49-F238E27FC236}">
                <a16:creationId xmlns:a16="http://schemas.microsoft.com/office/drawing/2014/main" id="{012FAD0D-C76D-4F39-5CC0-9343ED92F9E3}"/>
              </a:ext>
            </a:extLst>
          </p:cNvPr>
          <p:cNvSpPr txBox="1"/>
          <p:nvPr/>
        </p:nvSpPr>
        <p:spPr bwMode="auto">
          <a:xfrm>
            <a:off x="641784" y="2920162"/>
            <a:ext cx="2376715" cy="1008000"/>
          </a:xfrm>
          <a:prstGeom prst="rect">
            <a:avLst/>
          </a:prstGeom>
          <a:noFill/>
          <a:ln w="9525">
            <a:noFill/>
            <a:miter lim="800000"/>
            <a:headEnd/>
            <a:tailEnd/>
          </a:ln>
        </p:spPr>
        <p:txBody>
          <a:bodyPr wrap="square" rtlCol="0">
            <a:noAutofit/>
          </a:bodyPr>
          <a:lstStyle/>
          <a:p>
            <a:r>
              <a:rPr lang="en-US" sz="1000" b="1" i="1">
                <a:solidFill>
                  <a:schemeClr val="accent3"/>
                </a:solidFill>
              </a:rPr>
              <a:t>Key Points</a:t>
            </a:r>
            <a:endParaRPr lang="en-US" sz="1000" i="1">
              <a:solidFill>
                <a:schemeClr val="accent3"/>
              </a:solidFill>
            </a:endParaRPr>
          </a:p>
          <a:p>
            <a:pPr marL="285750" indent="-285750">
              <a:buClr>
                <a:srgbClr val="B10034"/>
              </a:buClr>
              <a:buFont typeface="Arial" panose="020B0604020202020204" pitchFamily="34" charset="0"/>
              <a:buChar char="•"/>
            </a:pPr>
            <a:r>
              <a:rPr lang="en-US" sz="1000"/>
              <a:t>Democratize access to data</a:t>
            </a:r>
          </a:p>
          <a:p>
            <a:pPr marL="285750" indent="-285750" algn="l" rtl="0">
              <a:buClr>
                <a:srgbClr val="B10034"/>
              </a:buClr>
              <a:buFont typeface="Arial" panose="020B0604020202020204" pitchFamily="34" charset="0"/>
              <a:buChar char="•"/>
            </a:pPr>
            <a:r>
              <a:rPr lang="en-US" sz="1000"/>
              <a:t>Discover existing data products and their documentation</a:t>
            </a:r>
          </a:p>
          <a:p>
            <a:pPr marL="285750" indent="-285750" algn="l" rtl="0">
              <a:buClr>
                <a:srgbClr val="B10034"/>
              </a:buClr>
              <a:buFont typeface="Arial" panose="020B0604020202020204" pitchFamily="34" charset="0"/>
              <a:buChar char="•"/>
            </a:pPr>
            <a:r>
              <a:rPr lang="en-US" sz="1000"/>
              <a:t>Ask for access</a:t>
            </a:r>
            <a:endParaRPr lang="en-US" sz="1000">
              <a:highlight>
                <a:srgbClr val="FFFF00"/>
              </a:highlight>
            </a:endParaRPr>
          </a:p>
        </p:txBody>
      </p:sp>
      <p:sp>
        <p:nvSpPr>
          <p:cNvPr id="8" name="ZoneTexte 7">
            <a:extLst>
              <a:ext uri="{FF2B5EF4-FFF2-40B4-BE49-F238E27FC236}">
                <a16:creationId xmlns:a16="http://schemas.microsoft.com/office/drawing/2014/main" id="{BFFAE7F7-D3E4-76E3-0F8D-29FE3AFD8C3D}"/>
              </a:ext>
            </a:extLst>
          </p:cNvPr>
          <p:cNvSpPr txBox="1"/>
          <p:nvPr/>
        </p:nvSpPr>
        <p:spPr>
          <a:xfrm>
            <a:off x="7019742" y="1668286"/>
            <a:ext cx="1257075" cy="276999"/>
          </a:xfrm>
          <a:prstGeom prst="rect">
            <a:avLst/>
          </a:prstGeom>
          <a:noFill/>
        </p:spPr>
        <p:txBody>
          <a:bodyPr wrap="none" rtlCol="0">
            <a:spAutoFit/>
          </a:bodyPr>
          <a:lstStyle/>
          <a:p>
            <a:pPr algn="ctr"/>
            <a:r>
              <a:rPr lang="en-US" sz="1200" b="1">
                <a:solidFill>
                  <a:schemeClr val="accent1"/>
                </a:solidFill>
              </a:rPr>
              <a:t>Scan Data Sources</a:t>
            </a:r>
          </a:p>
        </p:txBody>
      </p:sp>
      <p:sp>
        <p:nvSpPr>
          <p:cNvPr id="11" name="ZoneTexte 10">
            <a:extLst>
              <a:ext uri="{FF2B5EF4-FFF2-40B4-BE49-F238E27FC236}">
                <a16:creationId xmlns:a16="http://schemas.microsoft.com/office/drawing/2014/main" id="{A78AA04E-E4D8-652F-C37A-815528674588}"/>
              </a:ext>
            </a:extLst>
          </p:cNvPr>
          <p:cNvSpPr txBox="1"/>
          <p:nvPr/>
        </p:nvSpPr>
        <p:spPr>
          <a:xfrm>
            <a:off x="6541244" y="2605577"/>
            <a:ext cx="2214068" cy="276999"/>
          </a:xfrm>
          <a:prstGeom prst="rect">
            <a:avLst/>
          </a:prstGeom>
          <a:noFill/>
        </p:spPr>
        <p:txBody>
          <a:bodyPr wrap="none" rtlCol="0">
            <a:spAutoFit/>
          </a:bodyPr>
          <a:lstStyle/>
          <a:p>
            <a:pPr algn="ctr"/>
            <a:r>
              <a:rPr lang="en-US" sz="1200" b="1"/>
              <a:t>Metadata Command Center (MCC)</a:t>
            </a:r>
          </a:p>
        </p:txBody>
      </p:sp>
      <p:sp>
        <p:nvSpPr>
          <p:cNvPr id="14" name="TextBox 92">
            <a:extLst>
              <a:ext uri="{FF2B5EF4-FFF2-40B4-BE49-F238E27FC236}">
                <a16:creationId xmlns:a16="http://schemas.microsoft.com/office/drawing/2014/main" id="{3C8782C6-1678-7425-DA68-120F28A77427}"/>
              </a:ext>
            </a:extLst>
          </p:cNvPr>
          <p:cNvSpPr txBox="1"/>
          <p:nvPr/>
        </p:nvSpPr>
        <p:spPr bwMode="auto">
          <a:xfrm>
            <a:off x="6537293" y="2863722"/>
            <a:ext cx="2221965" cy="1008000"/>
          </a:xfrm>
          <a:prstGeom prst="rect">
            <a:avLst/>
          </a:prstGeom>
          <a:noFill/>
          <a:ln w="9525">
            <a:noFill/>
            <a:miter lim="800000"/>
            <a:headEnd/>
            <a:tailEnd/>
          </a:ln>
        </p:spPr>
        <p:txBody>
          <a:bodyPr wrap="square" rtlCol="0">
            <a:noAutofit/>
          </a:bodyPr>
          <a:lstStyle/>
          <a:p>
            <a:pPr algn="just"/>
            <a:r>
              <a:rPr lang="en-US" sz="1000" b="1" i="1">
                <a:solidFill>
                  <a:schemeClr val="accent3"/>
                </a:solidFill>
              </a:rPr>
              <a:t>Key Points</a:t>
            </a:r>
            <a:endParaRPr lang="en-US" sz="1000" i="1">
              <a:solidFill>
                <a:schemeClr val="accent3"/>
              </a:solidFill>
            </a:endParaRPr>
          </a:p>
          <a:p>
            <a:pPr marL="285750" indent="-285750" algn="just" rtl="0">
              <a:buClr>
                <a:srgbClr val="B10034"/>
              </a:buClr>
              <a:buFont typeface="Arial" panose="020B0604020202020204" pitchFamily="34" charset="0"/>
              <a:buChar char="•"/>
            </a:pPr>
            <a:r>
              <a:rPr lang="en-US" sz="1000"/>
              <a:t>Scan metadata and suggest associated data classification and business terms</a:t>
            </a:r>
          </a:p>
          <a:p>
            <a:pPr marL="285750" indent="-285750" algn="just" rtl="0">
              <a:buClr>
                <a:srgbClr val="B10034"/>
              </a:buClr>
              <a:buFont typeface="Arial" panose="020B0604020202020204" pitchFamily="34" charset="0"/>
              <a:buChar char="•"/>
            </a:pPr>
            <a:r>
              <a:rPr lang="en-US" sz="1000"/>
              <a:t>Schedule jobs</a:t>
            </a:r>
          </a:p>
          <a:p>
            <a:pPr marL="285750" indent="-285750" algn="just" rtl="0">
              <a:buClr>
                <a:srgbClr val="B10034"/>
              </a:buClr>
              <a:buFont typeface="Arial" panose="020B0604020202020204" pitchFamily="34" charset="0"/>
              <a:buChar char="•"/>
            </a:pPr>
            <a:endParaRPr lang="en-US" sz="1000" b="1" i="1"/>
          </a:p>
        </p:txBody>
      </p:sp>
      <p:sp>
        <p:nvSpPr>
          <p:cNvPr id="19" name="ZoneTexte 18">
            <a:extLst>
              <a:ext uri="{FF2B5EF4-FFF2-40B4-BE49-F238E27FC236}">
                <a16:creationId xmlns:a16="http://schemas.microsoft.com/office/drawing/2014/main" id="{3BA775C6-B00D-8958-1E2C-A97CDCA839CB}"/>
              </a:ext>
            </a:extLst>
          </p:cNvPr>
          <p:cNvSpPr txBox="1"/>
          <p:nvPr/>
        </p:nvSpPr>
        <p:spPr>
          <a:xfrm>
            <a:off x="10075399" y="1668286"/>
            <a:ext cx="1058303" cy="276999"/>
          </a:xfrm>
          <a:prstGeom prst="rect">
            <a:avLst/>
          </a:prstGeom>
          <a:noFill/>
        </p:spPr>
        <p:txBody>
          <a:bodyPr wrap="none" rtlCol="0">
            <a:spAutoFit/>
          </a:bodyPr>
          <a:lstStyle/>
          <a:p>
            <a:pPr algn="ctr"/>
            <a:r>
              <a:rPr lang="en-US" sz="1200" b="1">
                <a:solidFill>
                  <a:schemeClr val="accent1"/>
                </a:solidFill>
              </a:rPr>
              <a:t>Monitor Usage</a:t>
            </a:r>
          </a:p>
        </p:txBody>
      </p:sp>
      <p:sp>
        <p:nvSpPr>
          <p:cNvPr id="22" name="ZoneTexte 21">
            <a:extLst>
              <a:ext uri="{FF2B5EF4-FFF2-40B4-BE49-F238E27FC236}">
                <a16:creationId xmlns:a16="http://schemas.microsoft.com/office/drawing/2014/main" id="{0D0A579C-83B0-35D1-A85F-B73784437C99}"/>
              </a:ext>
            </a:extLst>
          </p:cNvPr>
          <p:cNvSpPr txBox="1"/>
          <p:nvPr/>
        </p:nvSpPr>
        <p:spPr>
          <a:xfrm>
            <a:off x="10118674" y="2605577"/>
            <a:ext cx="971741" cy="276999"/>
          </a:xfrm>
          <a:prstGeom prst="rect">
            <a:avLst/>
          </a:prstGeom>
          <a:noFill/>
        </p:spPr>
        <p:txBody>
          <a:bodyPr wrap="none" rtlCol="0">
            <a:spAutoFit/>
          </a:bodyPr>
          <a:lstStyle/>
          <a:p>
            <a:pPr algn="ctr"/>
            <a:r>
              <a:rPr lang="en-US" sz="1200" b="1"/>
              <a:t>Administrator</a:t>
            </a:r>
          </a:p>
        </p:txBody>
      </p:sp>
      <p:sp>
        <p:nvSpPr>
          <p:cNvPr id="24" name="TextBox 92">
            <a:extLst>
              <a:ext uri="{FF2B5EF4-FFF2-40B4-BE49-F238E27FC236}">
                <a16:creationId xmlns:a16="http://schemas.microsoft.com/office/drawing/2014/main" id="{3A0B096C-41F3-6B6A-7C85-CCD0E70948A6}"/>
              </a:ext>
            </a:extLst>
          </p:cNvPr>
          <p:cNvSpPr txBox="1"/>
          <p:nvPr/>
        </p:nvSpPr>
        <p:spPr bwMode="auto">
          <a:xfrm>
            <a:off x="9493562" y="2863722"/>
            <a:ext cx="2221965" cy="1008000"/>
          </a:xfrm>
          <a:prstGeom prst="rect">
            <a:avLst/>
          </a:prstGeom>
          <a:noFill/>
          <a:ln w="9525">
            <a:noFill/>
            <a:miter lim="800000"/>
            <a:headEnd/>
            <a:tailEnd/>
          </a:ln>
        </p:spPr>
        <p:txBody>
          <a:bodyPr wrap="square" rtlCol="0">
            <a:noAutofit/>
          </a:bodyPr>
          <a:lstStyle/>
          <a:p>
            <a:pPr algn="just"/>
            <a:r>
              <a:rPr lang="en-US" sz="1000" b="1" i="1">
                <a:solidFill>
                  <a:schemeClr val="accent3"/>
                </a:solidFill>
              </a:rPr>
              <a:t>Key Points</a:t>
            </a:r>
            <a:endParaRPr lang="en-US" sz="1000" i="1">
              <a:solidFill>
                <a:schemeClr val="accent3"/>
              </a:solidFill>
            </a:endParaRPr>
          </a:p>
          <a:p>
            <a:pPr marL="285750" indent="-285750" algn="just" rtl="0">
              <a:buClr>
                <a:srgbClr val="B10034"/>
              </a:buClr>
              <a:buFont typeface="Arial" panose="020B0604020202020204" pitchFamily="34" charset="0"/>
              <a:buChar char="•"/>
            </a:pPr>
            <a:r>
              <a:rPr lang="en-US" sz="1000"/>
              <a:t>Create connectors</a:t>
            </a:r>
          </a:p>
          <a:p>
            <a:pPr marL="285750" indent="-285750" algn="just" rtl="0">
              <a:buClr>
                <a:srgbClr val="B10034"/>
              </a:buClr>
              <a:buFont typeface="Arial" panose="020B0604020202020204" pitchFamily="34" charset="0"/>
              <a:buChar char="•"/>
            </a:pPr>
            <a:r>
              <a:rPr lang="en-US" sz="1000"/>
              <a:t>Set user roles and groups</a:t>
            </a:r>
          </a:p>
          <a:p>
            <a:pPr marL="285750" indent="-285750" algn="just" rtl="0">
              <a:buClr>
                <a:srgbClr val="B10034"/>
              </a:buClr>
              <a:buFont typeface="Arial" panose="020B0604020202020204" pitchFamily="34" charset="0"/>
              <a:buChar char="•"/>
            </a:pPr>
            <a:r>
              <a:rPr lang="en-US" sz="1000"/>
              <a:t>Monitor license consumption (IPUs)</a:t>
            </a:r>
          </a:p>
          <a:p>
            <a:pPr marL="285750" indent="-285750" algn="just" rtl="0">
              <a:buClr>
                <a:srgbClr val="B10034"/>
              </a:buClr>
              <a:buFont typeface="Arial" panose="020B0604020202020204" pitchFamily="34" charset="0"/>
              <a:buChar char="•"/>
            </a:pPr>
            <a:endParaRPr lang="en-US" sz="1000" b="1" i="1"/>
          </a:p>
        </p:txBody>
      </p:sp>
      <p:pic>
        <p:nvPicPr>
          <p:cNvPr id="61" name="Image 60">
            <a:extLst>
              <a:ext uri="{FF2B5EF4-FFF2-40B4-BE49-F238E27FC236}">
                <a16:creationId xmlns:a16="http://schemas.microsoft.com/office/drawing/2014/main" id="{38E542DE-92F4-394D-F3E1-27E114E18BC4}"/>
              </a:ext>
            </a:extLst>
          </p:cNvPr>
          <p:cNvPicPr>
            <a:picLocks noChangeAspect="1"/>
          </p:cNvPicPr>
          <p:nvPr/>
        </p:nvPicPr>
        <p:blipFill>
          <a:blip r:embed="rId3"/>
          <a:stretch>
            <a:fillRect/>
          </a:stretch>
        </p:blipFill>
        <p:spPr>
          <a:xfrm>
            <a:off x="515819" y="4272660"/>
            <a:ext cx="2547700" cy="1232326"/>
          </a:xfrm>
          <a:prstGeom prst="rect">
            <a:avLst/>
          </a:prstGeom>
        </p:spPr>
      </p:pic>
      <p:pic>
        <p:nvPicPr>
          <p:cNvPr id="62" name="Image 61">
            <a:extLst>
              <a:ext uri="{FF2B5EF4-FFF2-40B4-BE49-F238E27FC236}">
                <a16:creationId xmlns:a16="http://schemas.microsoft.com/office/drawing/2014/main" id="{2DECDE7E-86D3-5853-CD8E-587E0D79B720}"/>
              </a:ext>
            </a:extLst>
          </p:cNvPr>
          <p:cNvPicPr>
            <a:picLocks noChangeAspect="1"/>
          </p:cNvPicPr>
          <p:nvPr/>
        </p:nvPicPr>
        <p:blipFill>
          <a:blip r:embed="rId4"/>
          <a:stretch>
            <a:fillRect/>
          </a:stretch>
        </p:blipFill>
        <p:spPr>
          <a:xfrm>
            <a:off x="3372424" y="4272660"/>
            <a:ext cx="2537302" cy="1232327"/>
          </a:xfrm>
          <a:prstGeom prst="rect">
            <a:avLst/>
          </a:prstGeom>
        </p:spPr>
      </p:pic>
      <p:pic>
        <p:nvPicPr>
          <p:cNvPr id="64" name="Image 63">
            <a:extLst>
              <a:ext uri="{FF2B5EF4-FFF2-40B4-BE49-F238E27FC236}">
                <a16:creationId xmlns:a16="http://schemas.microsoft.com/office/drawing/2014/main" id="{D771E160-9BF2-5A45-9258-85392C7CDE75}"/>
              </a:ext>
            </a:extLst>
          </p:cNvPr>
          <p:cNvPicPr>
            <a:picLocks noChangeAspect="1"/>
          </p:cNvPicPr>
          <p:nvPr/>
        </p:nvPicPr>
        <p:blipFill>
          <a:blip r:embed="rId5"/>
          <a:stretch>
            <a:fillRect/>
          </a:stretch>
        </p:blipFill>
        <p:spPr>
          <a:xfrm>
            <a:off x="6415960" y="4272660"/>
            <a:ext cx="2564315" cy="1232326"/>
          </a:xfrm>
          <a:prstGeom prst="rect">
            <a:avLst/>
          </a:prstGeom>
        </p:spPr>
      </p:pic>
      <p:pic>
        <p:nvPicPr>
          <p:cNvPr id="66" name="Image 65">
            <a:extLst>
              <a:ext uri="{FF2B5EF4-FFF2-40B4-BE49-F238E27FC236}">
                <a16:creationId xmlns:a16="http://schemas.microsoft.com/office/drawing/2014/main" id="{1A82933E-DB0F-6EC5-38F2-2862D8FCCBCE}"/>
              </a:ext>
            </a:extLst>
          </p:cNvPr>
          <p:cNvPicPr>
            <a:picLocks noChangeAspect="1"/>
          </p:cNvPicPr>
          <p:nvPr/>
        </p:nvPicPr>
        <p:blipFill>
          <a:blip r:embed="rId6"/>
          <a:stretch>
            <a:fillRect/>
          </a:stretch>
        </p:blipFill>
        <p:spPr>
          <a:xfrm>
            <a:off x="9319222" y="4272660"/>
            <a:ext cx="2558929" cy="1232326"/>
          </a:xfrm>
          <a:prstGeom prst="rect">
            <a:avLst/>
          </a:prstGeom>
        </p:spPr>
      </p:pic>
      <p:pic>
        <p:nvPicPr>
          <p:cNvPr id="6" name="Graphique 5">
            <a:extLst>
              <a:ext uri="{FF2B5EF4-FFF2-40B4-BE49-F238E27FC236}">
                <a16:creationId xmlns:a16="http://schemas.microsoft.com/office/drawing/2014/main" id="{8756D118-F02C-525D-1E11-6F9B3584B9A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578436" y="2120547"/>
            <a:ext cx="503410" cy="503410"/>
          </a:xfrm>
          <a:prstGeom prst="rect">
            <a:avLst/>
          </a:prstGeom>
        </p:spPr>
      </p:pic>
      <p:pic>
        <p:nvPicPr>
          <p:cNvPr id="9" name="Graphique 8">
            <a:extLst>
              <a:ext uri="{FF2B5EF4-FFF2-40B4-BE49-F238E27FC236}">
                <a16:creationId xmlns:a16="http://schemas.microsoft.com/office/drawing/2014/main" id="{90B11191-FC2F-D4F2-D045-4B57D12527E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287903" y="2120547"/>
            <a:ext cx="503410" cy="503410"/>
          </a:xfrm>
          <a:prstGeom prst="rect">
            <a:avLst/>
          </a:prstGeom>
        </p:spPr>
      </p:pic>
      <p:pic>
        <p:nvPicPr>
          <p:cNvPr id="27" name="Graphique 26">
            <a:extLst>
              <a:ext uri="{FF2B5EF4-FFF2-40B4-BE49-F238E27FC236}">
                <a16:creationId xmlns:a16="http://schemas.microsoft.com/office/drawing/2014/main" id="{1B2E5C33-1EE6-EB2C-04C6-9B7764F9983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396572" y="2120550"/>
            <a:ext cx="503405" cy="503405"/>
          </a:xfrm>
          <a:prstGeom prst="rect">
            <a:avLst/>
          </a:prstGeom>
        </p:spPr>
      </p:pic>
      <p:pic>
        <p:nvPicPr>
          <p:cNvPr id="28" name="Graphique 27">
            <a:extLst>
              <a:ext uri="{FF2B5EF4-FFF2-40B4-BE49-F238E27FC236}">
                <a16:creationId xmlns:a16="http://schemas.microsoft.com/office/drawing/2014/main" id="{5BA38DC0-C6BA-73C7-F471-9F4169921BD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343896" y="2120551"/>
            <a:ext cx="503403" cy="503403"/>
          </a:xfrm>
          <a:prstGeom prst="rect">
            <a:avLst/>
          </a:prstGeom>
        </p:spPr>
      </p:pic>
      <p:sp>
        <p:nvSpPr>
          <p:cNvPr id="29" name="ZoneTexte 28">
            <a:extLst>
              <a:ext uri="{FF2B5EF4-FFF2-40B4-BE49-F238E27FC236}">
                <a16:creationId xmlns:a16="http://schemas.microsoft.com/office/drawing/2014/main" id="{C6C01880-FDC6-49D7-ED05-F1D519449EE3}"/>
              </a:ext>
            </a:extLst>
          </p:cNvPr>
          <p:cNvSpPr txBox="1"/>
          <p:nvPr/>
        </p:nvSpPr>
        <p:spPr>
          <a:xfrm rot="16200000">
            <a:off x="2606111" y="5579273"/>
            <a:ext cx="1088760" cy="276999"/>
          </a:xfrm>
          <a:prstGeom prst="rect">
            <a:avLst/>
          </a:prstGeom>
          <a:noFill/>
        </p:spPr>
        <p:txBody>
          <a:bodyPr wrap="none" rtlCol="0">
            <a:spAutoFit/>
          </a:bodyPr>
          <a:lstStyle/>
          <a:p>
            <a:r>
              <a:rPr lang="en-US" sz="1200" b="1">
                <a:solidFill>
                  <a:schemeClr val="bg1">
                    <a:lumMod val="50000"/>
                  </a:schemeClr>
                </a:solidFill>
              </a:rPr>
              <a:t>Data Consumer</a:t>
            </a:r>
          </a:p>
        </p:txBody>
      </p:sp>
      <p:sp>
        <p:nvSpPr>
          <p:cNvPr id="30" name="ZoneTexte 29">
            <a:extLst>
              <a:ext uri="{FF2B5EF4-FFF2-40B4-BE49-F238E27FC236}">
                <a16:creationId xmlns:a16="http://schemas.microsoft.com/office/drawing/2014/main" id="{50750E83-FB95-E4D5-E678-C9479DB5142E}"/>
              </a:ext>
            </a:extLst>
          </p:cNvPr>
          <p:cNvSpPr txBox="1"/>
          <p:nvPr/>
        </p:nvSpPr>
        <p:spPr>
          <a:xfrm rot="16200000">
            <a:off x="2794273" y="5589562"/>
            <a:ext cx="1072730" cy="276999"/>
          </a:xfrm>
          <a:prstGeom prst="rect">
            <a:avLst/>
          </a:prstGeom>
          <a:noFill/>
        </p:spPr>
        <p:txBody>
          <a:bodyPr wrap="none" rtlCol="0">
            <a:spAutoFit/>
          </a:bodyPr>
          <a:lstStyle/>
          <a:p>
            <a:r>
              <a:rPr lang="en-US" sz="1200" b="1">
                <a:solidFill>
                  <a:schemeClr val="bg1">
                    <a:lumMod val="50000"/>
                  </a:schemeClr>
                </a:solidFill>
              </a:rPr>
              <a:t>Data Producers</a:t>
            </a:r>
          </a:p>
        </p:txBody>
      </p:sp>
      <p:cxnSp>
        <p:nvCxnSpPr>
          <p:cNvPr id="31" name="Connecteur droit avec flèche 30">
            <a:extLst>
              <a:ext uri="{FF2B5EF4-FFF2-40B4-BE49-F238E27FC236}">
                <a16:creationId xmlns:a16="http://schemas.microsoft.com/office/drawing/2014/main" id="{FCFA611C-28DA-E773-8DF2-337AE15C14F7}"/>
              </a:ext>
            </a:extLst>
          </p:cNvPr>
          <p:cNvCxnSpPr>
            <a:cxnSpLocks/>
          </p:cNvCxnSpPr>
          <p:nvPr/>
        </p:nvCxnSpPr>
        <p:spPr>
          <a:xfrm>
            <a:off x="9145279" y="2071663"/>
            <a:ext cx="0" cy="4003925"/>
          </a:xfrm>
          <a:prstGeom prst="straightConnector1">
            <a:avLst/>
          </a:prstGeom>
          <a:ln w="952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2" name="ZoneTexte 31">
            <a:extLst>
              <a:ext uri="{FF2B5EF4-FFF2-40B4-BE49-F238E27FC236}">
                <a16:creationId xmlns:a16="http://schemas.microsoft.com/office/drawing/2014/main" id="{4E4B6140-E857-4D6D-C988-CB653892019D}"/>
              </a:ext>
            </a:extLst>
          </p:cNvPr>
          <p:cNvSpPr txBox="1"/>
          <p:nvPr/>
        </p:nvSpPr>
        <p:spPr>
          <a:xfrm rot="16200000">
            <a:off x="7970222" y="4901306"/>
            <a:ext cx="2509037" cy="276999"/>
          </a:xfrm>
          <a:prstGeom prst="rect">
            <a:avLst/>
          </a:prstGeom>
          <a:noFill/>
        </p:spPr>
        <p:txBody>
          <a:bodyPr wrap="square" rtlCol="0">
            <a:spAutoFit/>
          </a:bodyPr>
          <a:lstStyle/>
          <a:p>
            <a:r>
              <a:rPr lang="en-US" sz="1200" b="1">
                <a:solidFill>
                  <a:schemeClr val="bg1">
                    <a:lumMod val="50000"/>
                  </a:schemeClr>
                </a:solidFill>
              </a:rPr>
              <a:t>Data Office ./ Data Platform</a:t>
            </a:r>
          </a:p>
        </p:txBody>
      </p:sp>
      <p:sp>
        <p:nvSpPr>
          <p:cNvPr id="5" name="Rectangle 4">
            <a:extLst>
              <a:ext uri="{FF2B5EF4-FFF2-40B4-BE49-F238E27FC236}">
                <a16:creationId xmlns:a16="http://schemas.microsoft.com/office/drawing/2014/main" id="{201FDE6A-A763-4F03-366E-52D5078F6EA7}"/>
              </a:ext>
            </a:extLst>
          </p:cNvPr>
          <p:cNvSpPr/>
          <p:nvPr/>
        </p:nvSpPr>
        <p:spPr>
          <a:xfrm>
            <a:off x="425079" y="1541908"/>
            <a:ext cx="2863910" cy="4720245"/>
          </a:xfrm>
          <a:prstGeom prst="rect">
            <a:avLst/>
          </a:prstGeom>
          <a:solidFill>
            <a:schemeClr val="bg1">
              <a:lumMod val="95000"/>
              <a:alpha val="50000"/>
            </a:schemeClr>
          </a:solidFill>
          <a:ln w="6350">
            <a:solidFill>
              <a:schemeClr val="accent6"/>
            </a:solid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a:solidFill>
                  <a:sysClr val="windowText" lastClr="000000"/>
                </a:solidFill>
              </a:rPr>
              <a:t>For </a:t>
            </a:r>
            <a:r>
              <a:rPr lang="fr-FR" err="1">
                <a:solidFill>
                  <a:sysClr val="windowText" lastClr="000000"/>
                </a:solidFill>
              </a:rPr>
              <a:t>Later</a:t>
            </a:r>
            <a:r>
              <a:rPr lang="fr-FR">
                <a:solidFill>
                  <a:sysClr val="windowText" lastClr="000000"/>
                </a:solidFill>
              </a:rPr>
              <a:t> Use</a:t>
            </a:r>
          </a:p>
        </p:txBody>
      </p:sp>
    </p:spTree>
    <p:extLst>
      <p:ext uri="{BB962C8B-B14F-4D97-AF65-F5344CB8AC3E}">
        <p14:creationId xmlns:p14="http://schemas.microsoft.com/office/powerpoint/2010/main" val="162960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e 2">
            <a:extLst>
              <a:ext uri="{FF2B5EF4-FFF2-40B4-BE49-F238E27FC236}">
                <a16:creationId xmlns:a16="http://schemas.microsoft.com/office/drawing/2014/main" id="{5E1C7104-6CB2-7379-C309-5696659B5E8B}"/>
              </a:ext>
            </a:extLst>
          </p:cNvPr>
          <p:cNvGrpSpPr/>
          <p:nvPr/>
        </p:nvGrpSpPr>
        <p:grpSpPr>
          <a:xfrm>
            <a:off x="2094754" y="1581523"/>
            <a:ext cx="1042014" cy="1031700"/>
            <a:chOff x="2687901" y="4122845"/>
            <a:chExt cx="1127157" cy="1116000"/>
          </a:xfrm>
        </p:grpSpPr>
        <p:sp>
          <p:nvSpPr>
            <p:cNvPr id="4" name="Ellipse 3">
              <a:extLst>
                <a:ext uri="{FF2B5EF4-FFF2-40B4-BE49-F238E27FC236}">
                  <a16:creationId xmlns:a16="http://schemas.microsoft.com/office/drawing/2014/main" id="{C105C6DB-059F-6ECE-82CF-E36FD6553234}"/>
                </a:ext>
              </a:extLst>
            </p:cNvPr>
            <p:cNvSpPr/>
            <p:nvPr/>
          </p:nvSpPr>
          <p:spPr>
            <a:xfrm>
              <a:off x="2693479" y="4122845"/>
              <a:ext cx="1116000" cy="1116000"/>
            </a:xfrm>
            <a:prstGeom prst="ellipse">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Graphik" panose="020B0503030202060203" pitchFamily="34" charset="0"/>
              </a:endParaRPr>
            </a:p>
          </p:txBody>
        </p:sp>
        <p:sp>
          <p:nvSpPr>
            <p:cNvPr id="5" name="ZoneTexte 4">
              <a:extLst>
                <a:ext uri="{FF2B5EF4-FFF2-40B4-BE49-F238E27FC236}">
                  <a16:creationId xmlns:a16="http://schemas.microsoft.com/office/drawing/2014/main" id="{F6FFBCF8-5660-BC77-7E3C-5556E8EF8FC5}"/>
                </a:ext>
              </a:extLst>
            </p:cNvPr>
            <p:cNvSpPr txBox="1"/>
            <p:nvPr/>
          </p:nvSpPr>
          <p:spPr>
            <a:xfrm>
              <a:off x="2687901" y="4431152"/>
              <a:ext cx="1127157" cy="499388"/>
            </a:xfrm>
            <a:prstGeom prst="rect">
              <a:avLst/>
            </a:prstGeom>
            <a:noFill/>
          </p:spPr>
          <p:txBody>
            <a:bodyPr wrap="square" rtlCol="0" anchor="ctr">
              <a:spAutoFit/>
            </a:bodyPr>
            <a:lstStyle/>
            <a:p>
              <a:pPr algn="ctr">
                <a:spcBef>
                  <a:spcPts val="600"/>
                </a:spcBef>
              </a:pPr>
              <a:r>
                <a:rPr lang="en-US" sz="1200" b="1"/>
                <a:t>DATA PRODUCERS</a:t>
              </a:r>
            </a:p>
          </p:txBody>
        </p:sp>
      </p:grpSp>
      <p:grpSp>
        <p:nvGrpSpPr>
          <p:cNvPr id="6" name="Groupe 5">
            <a:extLst>
              <a:ext uri="{FF2B5EF4-FFF2-40B4-BE49-F238E27FC236}">
                <a16:creationId xmlns:a16="http://schemas.microsoft.com/office/drawing/2014/main" id="{D4E6D07D-DACA-C949-A89E-95C68F577CAC}"/>
              </a:ext>
            </a:extLst>
          </p:cNvPr>
          <p:cNvGrpSpPr/>
          <p:nvPr/>
        </p:nvGrpSpPr>
        <p:grpSpPr>
          <a:xfrm>
            <a:off x="9393760" y="1581523"/>
            <a:ext cx="1042013" cy="1031700"/>
            <a:chOff x="7999497" y="4403774"/>
            <a:chExt cx="1127156" cy="1116000"/>
          </a:xfrm>
        </p:grpSpPr>
        <p:sp>
          <p:nvSpPr>
            <p:cNvPr id="7" name="Ellipse 6">
              <a:extLst>
                <a:ext uri="{FF2B5EF4-FFF2-40B4-BE49-F238E27FC236}">
                  <a16:creationId xmlns:a16="http://schemas.microsoft.com/office/drawing/2014/main" id="{D6FB9E5A-A97B-CF32-80AF-65E398EB2510}"/>
                </a:ext>
              </a:extLst>
            </p:cNvPr>
            <p:cNvSpPr/>
            <p:nvPr/>
          </p:nvSpPr>
          <p:spPr>
            <a:xfrm>
              <a:off x="8005074" y="4403774"/>
              <a:ext cx="1116000" cy="1116000"/>
            </a:xfrm>
            <a:prstGeom prst="ellipse">
              <a:avLst/>
            </a:prstGeom>
            <a:solidFill>
              <a:srgbClr val="86D5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Graphik" panose="020B0503030202060203" pitchFamily="34" charset="0"/>
              </a:endParaRPr>
            </a:p>
          </p:txBody>
        </p:sp>
        <p:sp>
          <p:nvSpPr>
            <p:cNvPr id="8" name="ZoneTexte 7">
              <a:extLst>
                <a:ext uri="{FF2B5EF4-FFF2-40B4-BE49-F238E27FC236}">
                  <a16:creationId xmlns:a16="http://schemas.microsoft.com/office/drawing/2014/main" id="{5671AAE8-99D6-5FC0-8A50-93797F4D2064}"/>
                </a:ext>
              </a:extLst>
            </p:cNvPr>
            <p:cNvSpPr txBox="1"/>
            <p:nvPr/>
          </p:nvSpPr>
          <p:spPr>
            <a:xfrm>
              <a:off x="7999497" y="4712081"/>
              <a:ext cx="1127156" cy="499388"/>
            </a:xfrm>
            <a:prstGeom prst="rect">
              <a:avLst/>
            </a:prstGeom>
            <a:noFill/>
          </p:spPr>
          <p:txBody>
            <a:bodyPr wrap="square" rtlCol="0" anchor="ctr">
              <a:spAutoFit/>
            </a:bodyPr>
            <a:lstStyle/>
            <a:p>
              <a:pPr algn="ctr">
                <a:spcBef>
                  <a:spcPts val="600"/>
                </a:spcBef>
              </a:pPr>
              <a:r>
                <a:rPr lang="en-US" sz="1200" b="1"/>
                <a:t>DATA CONSUMERS</a:t>
              </a:r>
            </a:p>
          </p:txBody>
        </p:sp>
      </p:grpSp>
      <p:cxnSp>
        <p:nvCxnSpPr>
          <p:cNvPr id="9" name="Straight Arrow Connector 65">
            <a:extLst>
              <a:ext uri="{FF2B5EF4-FFF2-40B4-BE49-F238E27FC236}">
                <a16:creationId xmlns:a16="http://schemas.microsoft.com/office/drawing/2014/main" id="{31E16DA3-583F-70A2-5A7A-02D186D7590A}"/>
              </a:ext>
            </a:extLst>
          </p:cNvPr>
          <p:cNvCxnSpPr>
            <a:cxnSpLocks/>
            <a:endCxn id="11" idx="1"/>
          </p:cNvCxnSpPr>
          <p:nvPr/>
        </p:nvCxnSpPr>
        <p:spPr>
          <a:xfrm>
            <a:off x="3136768" y="1802099"/>
            <a:ext cx="2773510" cy="4966"/>
          </a:xfrm>
          <a:prstGeom prst="straightConnector1">
            <a:avLst/>
          </a:prstGeom>
          <a:ln w="12700">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65">
            <a:extLst>
              <a:ext uri="{FF2B5EF4-FFF2-40B4-BE49-F238E27FC236}">
                <a16:creationId xmlns:a16="http://schemas.microsoft.com/office/drawing/2014/main" id="{AAB343D1-6713-1D0F-4A6A-9E61E5BABBF8}"/>
              </a:ext>
            </a:extLst>
          </p:cNvPr>
          <p:cNvCxnSpPr>
            <a:cxnSpLocks/>
            <a:endCxn id="11" idx="3"/>
          </p:cNvCxnSpPr>
          <p:nvPr/>
        </p:nvCxnSpPr>
        <p:spPr>
          <a:xfrm flipH="1">
            <a:off x="6737677" y="1802099"/>
            <a:ext cx="2656083" cy="4966"/>
          </a:xfrm>
          <a:prstGeom prst="straightConnector1">
            <a:avLst/>
          </a:prstGeom>
          <a:ln w="12700">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1" name="Graphique 10">
            <a:extLst>
              <a:ext uri="{FF2B5EF4-FFF2-40B4-BE49-F238E27FC236}">
                <a16:creationId xmlns:a16="http://schemas.microsoft.com/office/drawing/2014/main" id="{02497ADE-6BC8-D0BA-46E4-C4305FCCF64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10278" y="1688640"/>
            <a:ext cx="827399" cy="827399"/>
          </a:xfrm>
          <a:prstGeom prst="rect">
            <a:avLst/>
          </a:prstGeom>
        </p:spPr>
      </p:pic>
      <p:pic>
        <p:nvPicPr>
          <p:cNvPr id="12" name="Graphique 11">
            <a:extLst>
              <a:ext uri="{FF2B5EF4-FFF2-40B4-BE49-F238E27FC236}">
                <a16:creationId xmlns:a16="http://schemas.microsoft.com/office/drawing/2014/main" id="{D580A776-0065-8A73-E64D-10B3DAD6812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910278" y="3176977"/>
            <a:ext cx="827398" cy="827398"/>
          </a:xfrm>
          <a:prstGeom prst="rect">
            <a:avLst/>
          </a:prstGeom>
        </p:spPr>
      </p:pic>
      <p:pic>
        <p:nvPicPr>
          <p:cNvPr id="13" name="Graphique 12">
            <a:extLst>
              <a:ext uri="{FF2B5EF4-FFF2-40B4-BE49-F238E27FC236}">
                <a16:creationId xmlns:a16="http://schemas.microsoft.com/office/drawing/2014/main" id="{FDBDA9D9-F3A6-E06E-C02F-9F11694F207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910278" y="4690549"/>
            <a:ext cx="827398" cy="827398"/>
          </a:xfrm>
          <a:prstGeom prst="rect">
            <a:avLst/>
          </a:prstGeom>
        </p:spPr>
      </p:pic>
      <p:sp>
        <p:nvSpPr>
          <p:cNvPr id="14" name="Titre 1">
            <a:extLst>
              <a:ext uri="{FF2B5EF4-FFF2-40B4-BE49-F238E27FC236}">
                <a16:creationId xmlns:a16="http://schemas.microsoft.com/office/drawing/2014/main" id="{57167106-3168-0914-741D-738649870034}"/>
              </a:ext>
            </a:extLst>
          </p:cNvPr>
          <p:cNvSpPr txBox="1">
            <a:spLocks/>
          </p:cNvSpPr>
          <p:nvPr/>
        </p:nvSpPr>
        <p:spPr>
          <a:xfrm>
            <a:off x="576000" y="96000"/>
            <a:ext cx="11040000" cy="816000"/>
          </a:xfrm>
          <a:prstGeom prst="rect">
            <a:avLst/>
          </a:prstGeom>
        </p:spPr>
        <p:txBody>
          <a:bodyPr vert="horz" lIns="0" tIns="0" rIns="0" bIns="72000" rtlCol="0" anchor="b" anchorCtr="0">
            <a:normAutofit/>
          </a:bodyPr>
          <a:lstStyle>
            <a:lvl1pPr algn="l" defTabSz="914400" rtl="0" eaLnBrk="1" fontAlgn="auto" latinLnBrk="0" hangingPunct="1">
              <a:lnSpc>
                <a:spcPct val="90000"/>
              </a:lnSpc>
              <a:spcBef>
                <a:spcPct val="0"/>
              </a:spcBef>
              <a:spcAft>
                <a:spcPts val="0"/>
              </a:spcAft>
              <a:buNone/>
              <a:defRPr lang="fr-FR" sz="3200" b="0" i="0" kern="1200" cap="none" baseline="0">
                <a:solidFill>
                  <a:schemeClr val="accent1"/>
                </a:solidFill>
                <a:latin typeface="+mn-lt"/>
                <a:ea typeface="Segoe UI Light" charset="0"/>
                <a:cs typeface="Segoe UI Light" charset="0"/>
              </a:defRPr>
            </a:lvl1pPr>
            <a:lvl2pPr algn="l" defTabSz="609585" rtl="0" eaLnBrk="1" fontAlgn="base" hangingPunct="1">
              <a:spcBef>
                <a:spcPct val="0"/>
              </a:spcBef>
              <a:spcAft>
                <a:spcPct val="0"/>
              </a:spcAft>
              <a:defRPr sz="1867">
                <a:solidFill>
                  <a:schemeClr val="bg1"/>
                </a:solidFill>
                <a:latin typeface="Arial" charset="0"/>
                <a:cs typeface="Arial" charset="0"/>
              </a:defRPr>
            </a:lvl2pPr>
            <a:lvl3pPr algn="l" defTabSz="609585" rtl="0" eaLnBrk="1" fontAlgn="base" hangingPunct="1">
              <a:spcBef>
                <a:spcPct val="0"/>
              </a:spcBef>
              <a:spcAft>
                <a:spcPct val="0"/>
              </a:spcAft>
              <a:defRPr sz="1867">
                <a:solidFill>
                  <a:schemeClr val="bg1"/>
                </a:solidFill>
                <a:latin typeface="Arial" charset="0"/>
                <a:cs typeface="Arial" charset="0"/>
              </a:defRPr>
            </a:lvl3pPr>
            <a:lvl4pPr algn="l" defTabSz="609585" rtl="0" eaLnBrk="1" fontAlgn="base" hangingPunct="1">
              <a:spcBef>
                <a:spcPct val="0"/>
              </a:spcBef>
              <a:spcAft>
                <a:spcPct val="0"/>
              </a:spcAft>
              <a:defRPr sz="1867">
                <a:solidFill>
                  <a:schemeClr val="bg1"/>
                </a:solidFill>
                <a:latin typeface="Arial" charset="0"/>
                <a:cs typeface="Arial" charset="0"/>
              </a:defRPr>
            </a:lvl4pPr>
            <a:lvl5pPr algn="l" defTabSz="609585" rtl="0" eaLnBrk="1" fontAlgn="base" hangingPunct="1">
              <a:spcBef>
                <a:spcPct val="0"/>
              </a:spcBef>
              <a:spcAft>
                <a:spcPct val="0"/>
              </a:spcAft>
              <a:defRPr sz="1867">
                <a:solidFill>
                  <a:schemeClr val="bg1"/>
                </a:solidFill>
                <a:latin typeface="Arial" charset="0"/>
                <a:cs typeface="Arial" charset="0"/>
              </a:defRPr>
            </a:lvl5pPr>
            <a:lvl6pPr marL="609585" algn="l" defTabSz="609585" rtl="0" eaLnBrk="1" fontAlgn="base" hangingPunct="1">
              <a:spcBef>
                <a:spcPct val="0"/>
              </a:spcBef>
              <a:spcAft>
                <a:spcPct val="0"/>
              </a:spcAft>
              <a:defRPr sz="1867">
                <a:solidFill>
                  <a:schemeClr val="bg1"/>
                </a:solidFill>
                <a:latin typeface="Arial" charset="0"/>
                <a:cs typeface="Arial" charset="0"/>
              </a:defRPr>
            </a:lvl6pPr>
            <a:lvl7pPr marL="1219170" algn="l" defTabSz="609585" rtl="0" eaLnBrk="1" fontAlgn="base" hangingPunct="1">
              <a:spcBef>
                <a:spcPct val="0"/>
              </a:spcBef>
              <a:spcAft>
                <a:spcPct val="0"/>
              </a:spcAft>
              <a:defRPr sz="1867">
                <a:solidFill>
                  <a:schemeClr val="bg1"/>
                </a:solidFill>
                <a:latin typeface="Arial" charset="0"/>
                <a:cs typeface="Arial" charset="0"/>
              </a:defRPr>
            </a:lvl7pPr>
            <a:lvl8pPr marL="1828754" algn="l" defTabSz="609585" rtl="0" eaLnBrk="1" fontAlgn="base" hangingPunct="1">
              <a:spcBef>
                <a:spcPct val="0"/>
              </a:spcBef>
              <a:spcAft>
                <a:spcPct val="0"/>
              </a:spcAft>
              <a:defRPr sz="1867">
                <a:solidFill>
                  <a:schemeClr val="bg1"/>
                </a:solidFill>
                <a:latin typeface="Arial" charset="0"/>
                <a:cs typeface="Arial" charset="0"/>
              </a:defRPr>
            </a:lvl8pPr>
            <a:lvl9pPr marL="2438339" algn="l" defTabSz="609585" rtl="0" eaLnBrk="1" fontAlgn="base" hangingPunct="1">
              <a:spcBef>
                <a:spcPct val="0"/>
              </a:spcBef>
              <a:spcAft>
                <a:spcPct val="0"/>
              </a:spcAft>
              <a:defRPr sz="1867">
                <a:solidFill>
                  <a:schemeClr val="bg1"/>
                </a:solidFill>
                <a:latin typeface="Arial" charset="0"/>
                <a:cs typeface="Arial" charset="0"/>
              </a:defRPr>
            </a:lvl9pPr>
          </a:lstStyle>
          <a:p>
            <a:r>
              <a:rPr lang="en-US"/>
              <a:t>Use case </a:t>
            </a:r>
            <a:r>
              <a:rPr lang="en-US" err="1"/>
              <a:t>exemples</a:t>
            </a:r>
            <a:endParaRPr lang="en-US" sz="2000">
              <a:solidFill>
                <a:schemeClr val="tx2"/>
              </a:solidFill>
            </a:endParaRPr>
          </a:p>
        </p:txBody>
      </p:sp>
      <p:sp>
        <p:nvSpPr>
          <p:cNvPr id="24" name="ZoneTexte 23">
            <a:extLst>
              <a:ext uri="{FF2B5EF4-FFF2-40B4-BE49-F238E27FC236}">
                <a16:creationId xmlns:a16="http://schemas.microsoft.com/office/drawing/2014/main" id="{DD0F7AFB-9153-B32D-AACC-B4AF73A36CB8}"/>
              </a:ext>
            </a:extLst>
          </p:cNvPr>
          <p:cNvSpPr txBox="1"/>
          <p:nvPr/>
        </p:nvSpPr>
        <p:spPr>
          <a:xfrm>
            <a:off x="6510953" y="2105028"/>
            <a:ext cx="3109531" cy="276999"/>
          </a:xfrm>
          <a:prstGeom prst="rect">
            <a:avLst/>
          </a:prstGeom>
          <a:noFill/>
        </p:spPr>
        <p:txBody>
          <a:bodyPr wrap="square">
            <a:spAutoFit/>
          </a:bodyPr>
          <a:lstStyle/>
          <a:p>
            <a:pPr algn="ctr"/>
            <a:r>
              <a:rPr lang="en-US" sz="1200"/>
              <a:t>Contact Data Producers</a:t>
            </a:r>
          </a:p>
        </p:txBody>
      </p:sp>
      <p:sp>
        <p:nvSpPr>
          <p:cNvPr id="26" name="ZoneTexte 25">
            <a:extLst>
              <a:ext uri="{FF2B5EF4-FFF2-40B4-BE49-F238E27FC236}">
                <a16:creationId xmlns:a16="http://schemas.microsoft.com/office/drawing/2014/main" id="{C52C5E02-68D4-061A-261D-5921E37553B3}"/>
              </a:ext>
            </a:extLst>
          </p:cNvPr>
          <p:cNvSpPr txBox="1"/>
          <p:nvPr/>
        </p:nvSpPr>
        <p:spPr>
          <a:xfrm>
            <a:off x="6977321" y="1638692"/>
            <a:ext cx="2176794" cy="461665"/>
          </a:xfrm>
          <a:prstGeom prst="rect">
            <a:avLst/>
          </a:prstGeom>
          <a:noFill/>
        </p:spPr>
        <p:txBody>
          <a:bodyPr wrap="square">
            <a:spAutoFit/>
          </a:bodyPr>
          <a:lstStyle/>
          <a:p>
            <a:pPr algn="ctr"/>
            <a:r>
              <a:rPr lang="en-US" sz="1200"/>
              <a:t>Access Data Marketplace to discover and order Data Products</a:t>
            </a:r>
          </a:p>
        </p:txBody>
      </p:sp>
      <p:sp>
        <p:nvSpPr>
          <p:cNvPr id="16" name="ZoneTexte 15">
            <a:extLst>
              <a:ext uri="{FF2B5EF4-FFF2-40B4-BE49-F238E27FC236}">
                <a16:creationId xmlns:a16="http://schemas.microsoft.com/office/drawing/2014/main" id="{BE5C64E6-54F3-3924-9584-67CBA17E83D3}"/>
              </a:ext>
            </a:extLst>
          </p:cNvPr>
          <p:cNvSpPr txBox="1"/>
          <p:nvPr/>
        </p:nvSpPr>
        <p:spPr>
          <a:xfrm>
            <a:off x="2930958" y="1819653"/>
            <a:ext cx="3109531" cy="276999"/>
          </a:xfrm>
          <a:prstGeom prst="rect">
            <a:avLst/>
          </a:prstGeom>
          <a:noFill/>
        </p:spPr>
        <p:txBody>
          <a:bodyPr wrap="square">
            <a:spAutoFit/>
          </a:bodyPr>
          <a:lstStyle/>
          <a:p>
            <a:pPr algn="ctr"/>
            <a:r>
              <a:rPr lang="en-US" sz="1200"/>
              <a:t>Expose Data Product</a:t>
            </a:r>
          </a:p>
        </p:txBody>
      </p:sp>
      <p:grpSp>
        <p:nvGrpSpPr>
          <p:cNvPr id="17" name="Groupe 16">
            <a:extLst>
              <a:ext uri="{FF2B5EF4-FFF2-40B4-BE49-F238E27FC236}">
                <a16:creationId xmlns:a16="http://schemas.microsoft.com/office/drawing/2014/main" id="{11C00196-5B10-3A55-239F-BEDAD6B99ADC}"/>
              </a:ext>
            </a:extLst>
          </p:cNvPr>
          <p:cNvGrpSpPr/>
          <p:nvPr/>
        </p:nvGrpSpPr>
        <p:grpSpPr>
          <a:xfrm>
            <a:off x="2094754" y="3074826"/>
            <a:ext cx="1042014" cy="1031700"/>
            <a:chOff x="2687901" y="4122845"/>
            <a:chExt cx="1127157" cy="1116000"/>
          </a:xfrm>
        </p:grpSpPr>
        <p:sp>
          <p:nvSpPr>
            <p:cNvPr id="18" name="Ellipse 17">
              <a:extLst>
                <a:ext uri="{FF2B5EF4-FFF2-40B4-BE49-F238E27FC236}">
                  <a16:creationId xmlns:a16="http://schemas.microsoft.com/office/drawing/2014/main" id="{81C1FAAC-485E-4673-36D0-FD884538B36D}"/>
                </a:ext>
              </a:extLst>
            </p:cNvPr>
            <p:cNvSpPr/>
            <p:nvPr/>
          </p:nvSpPr>
          <p:spPr>
            <a:xfrm>
              <a:off x="2693479" y="4122845"/>
              <a:ext cx="1116000" cy="1116000"/>
            </a:xfrm>
            <a:prstGeom prst="ellipse">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Graphik" panose="020B0503030202060203" pitchFamily="34" charset="0"/>
              </a:endParaRPr>
            </a:p>
          </p:txBody>
        </p:sp>
        <p:sp>
          <p:nvSpPr>
            <p:cNvPr id="19" name="ZoneTexte 18">
              <a:extLst>
                <a:ext uri="{FF2B5EF4-FFF2-40B4-BE49-F238E27FC236}">
                  <a16:creationId xmlns:a16="http://schemas.microsoft.com/office/drawing/2014/main" id="{EA2CFB0C-7479-BECE-E238-EA61B773E125}"/>
                </a:ext>
              </a:extLst>
            </p:cNvPr>
            <p:cNvSpPr txBox="1"/>
            <p:nvPr/>
          </p:nvSpPr>
          <p:spPr>
            <a:xfrm>
              <a:off x="2687901" y="4431152"/>
              <a:ext cx="1127157" cy="499388"/>
            </a:xfrm>
            <a:prstGeom prst="rect">
              <a:avLst/>
            </a:prstGeom>
            <a:noFill/>
          </p:spPr>
          <p:txBody>
            <a:bodyPr wrap="square" rtlCol="0" anchor="ctr">
              <a:spAutoFit/>
            </a:bodyPr>
            <a:lstStyle/>
            <a:p>
              <a:pPr algn="ctr">
                <a:spcBef>
                  <a:spcPts val="600"/>
                </a:spcBef>
              </a:pPr>
              <a:r>
                <a:rPr lang="en-US" sz="1200" b="1"/>
                <a:t>DATA PRODUCERS</a:t>
              </a:r>
            </a:p>
          </p:txBody>
        </p:sp>
      </p:grpSp>
      <p:grpSp>
        <p:nvGrpSpPr>
          <p:cNvPr id="20" name="Groupe 19">
            <a:extLst>
              <a:ext uri="{FF2B5EF4-FFF2-40B4-BE49-F238E27FC236}">
                <a16:creationId xmlns:a16="http://schemas.microsoft.com/office/drawing/2014/main" id="{A1971E48-8355-11CA-047C-A2348FA2AD81}"/>
              </a:ext>
            </a:extLst>
          </p:cNvPr>
          <p:cNvGrpSpPr/>
          <p:nvPr/>
        </p:nvGrpSpPr>
        <p:grpSpPr>
          <a:xfrm>
            <a:off x="9393758" y="3074826"/>
            <a:ext cx="1042013" cy="1031700"/>
            <a:chOff x="7999497" y="4403774"/>
            <a:chExt cx="1127156" cy="1116000"/>
          </a:xfrm>
        </p:grpSpPr>
        <p:sp>
          <p:nvSpPr>
            <p:cNvPr id="21" name="Ellipse 20">
              <a:extLst>
                <a:ext uri="{FF2B5EF4-FFF2-40B4-BE49-F238E27FC236}">
                  <a16:creationId xmlns:a16="http://schemas.microsoft.com/office/drawing/2014/main" id="{788F9C4D-26AC-20ED-50A2-7D27B89D29F9}"/>
                </a:ext>
              </a:extLst>
            </p:cNvPr>
            <p:cNvSpPr/>
            <p:nvPr/>
          </p:nvSpPr>
          <p:spPr>
            <a:xfrm>
              <a:off x="8005074" y="4403774"/>
              <a:ext cx="1116000" cy="1116000"/>
            </a:xfrm>
            <a:prstGeom prst="ellipse">
              <a:avLst/>
            </a:prstGeom>
            <a:solidFill>
              <a:srgbClr val="86D5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Graphik" panose="020B0503030202060203" pitchFamily="34" charset="0"/>
              </a:endParaRPr>
            </a:p>
          </p:txBody>
        </p:sp>
        <p:sp>
          <p:nvSpPr>
            <p:cNvPr id="22" name="ZoneTexte 21">
              <a:extLst>
                <a:ext uri="{FF2B5EF4-FFF2-40B4-BE49-F238E27FC236}">
                  <a16:creationId xmlns:a16="http://schemas.microsoft.com/office/drawing/2014/main" id="{6E827C08-19F2-D8CD-4633-A5F264D2AF51}"/>
                </a:ext>
              </a:extLst>
            </p:cNvPr>
            <p:cNvSpPr txBox="1"/>
            <p:nvPr/>
          </p:nvSpPr>
          <p:spPr>
            <a:xfrm>
              <a:off x="7999497" y="4712081"/>
              <a:ext cx="1127156" cy="499388"/>
            </a:xfrm>
            <a:prstGeom prst="rect">
              <a:avLst/>
            </a:prstGeom>
            <a:noFill/>
          </p:spPr>
          <p:txBody>
            <a:bodyPr wrap="square" rtlCol="0" anchor="ctr">
              <a:spAutoFit/>
            </a:bodyPr>
            <a:lstStyle/>
            <a:p>
              <a:pPr algn="ctr">
                <a:spcBef>
                  <a:spcPts val="600"/>
                </a:spcBef>
              </a:pPr>
              <a:r>
                <a:rPr lang="en-US" sz="1200" b="1"/>
                <a:t>DATA CONSUMERS</a:t>
              </a:r>
            </a:p>
          </p:txBody>
        </p:sp>
      </p:grpSp>
      <p:grpSp>
        <p:nvGrpSpPr>
          <p:cNvPr id="28" name="Groupe 27">
            <a:extLst>
              <a:ext uri="{FF2B5EF4-FFF2-40B4-BE49-F238E27FC236}">
                <a16:creationId xmlns:a16="http://schemas.microsoft.com/office/drawing/2014/main" id="{5C9AA4D4-6829-6E6E-D5B2-06B0F5E23D84}"/>
              </a:ext>
            </a:extLst>
          </p:cNvPr>
          <p:cNvGrpSpPr/>
          <p:nvPr/>
        </p:nvGrpSpPr>
        <p:grpSpPr>
          <a:xfrm>
            <a:off x="2094754" y="4588398"/>
            <a:ext cx="1042014" cy="1031700"/>
            <a:chOff x="2687901" y="4122845"/>
            <a:chExt cx="1127157" cy="1116000"/>
          </a:xfrm>
        </p:grpSpPr>
        <p:sp>
          <p:nvSpPr>
            <p:cNvPr id="29" name="Ellipse 28">
              <a:extLst>
                <a:ext uri="{FF2B5EF4-FFF2-40B4-BE49-F238E27FC236}">
                  <a16:creationId xmlns:a16="http://schemas.microsoft.com/office/drawing/2014/main" id="{379CA204-1B67-28FD-395F-66BBA0E248ED}"/>
                </a:ext>
              </a:extLst>
            </p:cNvPr>
            <p:cNvSpPr/>
            <p:nvPr/>
          </p:nvSpPr>
          <p:spPr>
            <a:xfrm>
              <a:off x="2693479" y="4122845"/>
              <a:ext cx="1116000" cy="1116000"/>
            </a:xfrm>
            <a:prstGeom prst="ellipse">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Graphik" panose="020B0503030202060203" pitchFamily="34" charset="0"/>
              </a:endParaRPr>
            </a:p>
          </p:txBody>
        </p:sp>
        <p:sp>
          <p:nvSpPr>
            <p:cNvPr id="30" name="ZoneTexte 29">
              <a:extLst>
                <a:ext uri="{FF2B5EF4-FFF2-40B4-BE49-F238E27FC236}">
                  <a16:creationId xmlns:a16="http://schemas.microsoft.com/office/drawing/2014/main" id="{CB08C915-8C45-305B-D44C-85E36CBD71C4}"/>
                </a:ext>
              </a:extLst>
            </p:cNvPr>
            <p:cNvSpPr txBox="1"/>
            <p:nvPr/>
          </p:nvSpPr>
          <p:spPr>
            <a:xfrm>
              <a:off x="2687901" y="4431152"/>
              <a:ext cx="1127157" cy="499388"/>
            </a:xfrm>
            <a:prstGeom prst="rect">
              <a:avLst/>
            </a:prstGeom>
            <a:noFill/>
          </p:spPr>
          <p:txBody>
            <a:bodyPr wrap="square" rtlCol="0" anchor="ctr">
              <a:spAutoFit/>
            </a:bodyPr>
            <a:lstStyle/>
            <a:p>
              <a:pPr algn="ctr">
                <a:spcBef>
                  <a:spcPts val="600"/>
                </a:spcBef>
              </a:pPr>
              <a:r>
                <a:rPr lang="en-US" sz="1200" b="1"/>
                <a:t>DATA PRODUCERS</a:t>
              </a:r>
            </a:p>
          </p:txBody>
        </p:sp>
      </p:grpSp>
      <p:cxnSp>
        <p:nvCxnSpPr>
          <p:cNvPr id="31" name="Straight Arrow Connector 65">
            <a:extLst>
              <a:ext uri="{FF2B5EF4-FFF2-40B4-BE49-F238E27FC236}">
                <a16:creationId xmlns:a16="http://schemas.microsoft.com/office/drawing/2014/main" id="{943E83BD-47FA-3EFD-FC67-1A926576A79C}"/>
              </a:ext>
            </a:extLst>
          </p:cNvPr>
          <p:cNvCxnSpPr>
            <a:cxnSpLocks/>
          </p:cNvCxnSpPr>
          <p:nvPr/>
        </p:nvCxnSpPr>
        <p:spPr>
          <a:xfrm>
            <a:off x="3139346" y="3611511"/>
            <a:ext cx="2773510" cy="4965"/>
          </a:xfrm>
          <a:prstGeom prst="straightConnector1">
            <a:avLst/>
          </a:prstGeom>
          <a:ln w="12700">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4" name="ZoneTexte 33">
            <a:extLst>
              <a:ext uri="{FF2B5EF4-FFF2-40B4-BE49-F238E27FC236}">
                <a16:creationId xmlns:a16="http://schemas.microsoft.com/office/drawing/2014/main" id="{CBC1CB61-FEDD-5610-30E0-2764054DFCE1}"/>
              </a:ext>
            </a:extLst>
          </p:cNvPr>
          <p:cNvSpPr txBox="1"/>
          <p:nvPr/>
        </p:nvSpPr>
        <p:spPr>
          <a:xfrm>
            <a:off x="2930957" y="3326494"/>
            <a:ext cx="3109531" cy="276999"/>
          </a:xfrm>
          <a:prstGeom prst="rect">
            <a:avLst/>
          </a:prstGeom>
          <a:noFill/>
        </p:spPr>
        <p:txBody>
          <a:bodyPr wrap="square">
            <a:spAutoFit/>
          </a:bodyPr>
          <a:lstStyle/>
          <a:p>
            <a:pPr algn="ctr"/>
            <a:r>
              <a:rPr lang="en-US" sz="1200"/>
              <a:t>Document Data Product</a:t>
            </a:r>
          </a:p>
        </p:txBody>
      </p:sp>
      <p:cxnSp>
        <p:nvCxnSpPr>
          <p:cNvPr id="35" name="Straight Arrow Connector 65">
            <a:extLst>
              <a:ext uri="{FF2B5EF4-FFF2-40B4-BE49-F238E27FC236}">
                <a16:creationId xmlns:a16="http://schemas.microsoft.com/office/drawing/2014/main" id="{3DE8445C-1B07-1494-84D3-E3E4E8342D42}"/>
              </a:ext>
            </a:extLst>
          </p:cNvPr>
          <p:cNvCxnSpPr>
            <a:cxnSpLocks/>
            <a:endCxn id="12" idx="3"/>
          </p:cNvCxnSpPr>
          <p:nvPr/>
        </p:nvCxnSpPr>
        <p:spPr>
          <a:xfrm flipH="1" flipV="1">
            <a:off x="6737676" y="3590676"/>
            <a:ext cx="2656082" cy="1"/>
          </a:xfrm>
          <a:prstGeom prst="straightConnector1">
            <a:avLst/>
          </a:prstGeom>
          <a:ln w="12700">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8" name="ZoneTexte 37">
            <a:extLst>
              <a:ext uri="{FF2B5EF4-FFF2-40B4-BE49-F238E27FC236}">
                <a16:creationId xmlns:a16="http://schemas.microsoft.com/office/drawing/2014/main" id="{3D95B777-91ED-E98B-8102-747D67701713}"/>
              </a:ext>
            </a:extLst>
          </p:cNvPr>
          <p:cNvSpPr txBox="1"/>
          <p:nvPr/>
        </p:nvSpPr>
        <p:spPr>
          <a:xfrm>
            <a:off x="2930958" y="2107590"/>
            <a:ext cx="3109531" cy="276999"/>
          </a:xfrm>
          <a:prstGeom prst="rect">
            <a:avLst/>
          </a:prstGeom>
          <a:noFill/>
        </p:spPr>
        <p:txBody>
          <a:bodyPr wrap="square">
            <a:spAutoFit/>
          </a:bodyPr>
          <a:lstStyle/>
          <a:p>
            <a:pPr algn="ctr"/>
            <a:r>
              <a:rPr lang="en-US" sz="1200"/>
              <a:t>Give access to Data Product</a:t>
            </a:r>
          </a:p>
        </p:txBody>
      </p:sp>
      <p:sp>
        <p:nvSpPr>
          <p:cNvPr id="39" name="ZoneTexte 38">
            <a:extLst>
              <a:ext uri="{FF2B5EF4-FFF2-40B4-BE49-F238E27FC236}">
                <a16:creationId xmlns:a16="http://schemas.microsoft.com/office/drawing/2014/main" id="{14346148-86C7-978B-55F4-CD0CEBF3C5C4}"/>
              </a:ext>
            </a:extLst>
          </p:cNvPr>
          <p:cNvSpPr txBox="1"/>
          <p:nvPr/>
        </p:nvSpPr>
        <p:spPr>
          <a:xfrm>
            <a:off x="7138749" y="3133689"/>
            <a:ext cx="1853938" cy="461665"/>
          </a:xfrm>
          <a:prstGeom prst="rect">
            <a:avLst/>
          </a:prstGeom>
          <a:noFill/>
        </p:spPr>
        <p:txBody>
          <a:bodyPr wrap="square">
            <a:spAutoFit/>
          </a:bodyPr>
          <a:lstStyle/>
          <a:p>
            <a:pPr algn="ctr"/>
            <a:r>
              <a:rPr lang="en-US" sz="1200"/>
              <a:t>Access detailed info for advanced data consumers</a:t>
            </a:r>
          </a:p>
        </p:txBody>
      </p:sp>
      <p:cxnSp>
        <p:nvCxnSpPr>
          <p:cNvPr id="40" name="Straight Arrow Connector 65">
            <a:extLst>
              <a:ext uri="{FF2B5EF4-FFF2-40B4-BE49-F238E27FC236}">
                <a16:creationId xmlns:a16="http://schemas.microsoft.com/office/drawing/2014/main" id="{AF591346-4C5E-12DF-75E2-517EB0B9E6B9}"/>
              </a:ext>
            </a:extLst>
          </p:cNvPr>
          <p:cNvCxnSpPr>
            <a:cxnSpLocks/>
          </p:cNvCxnSpPr>
          <p:nvPr/>
        </p:nvCxnSpPr>
        <p:spPr>
          <a:xfrm flipH="1" flipV="1">
            <a:off x="3136768" y="5104249"/>
            <a:ext cx="2776088" cy="1"/>
          </a:xfrm>
          <a:prstGeom prst="straightConnector1">
            <a:avLst/>
          </a:prstGeom>
          <a:ln w="12700">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2" name="ZoneTexte 41">
            <a:extLst>
              <a:ext uri="{FF2B5EF4-FFF2-40B4-BE49-F238E27FC236}">
                <a16:creationId xmlns:a16="http://schemas.microsoft.com/office/drawing/2014/main" id="{A87B51DE-A6E8-4517-EC4E-971CC3503E32}"/>
              </a:ext>
            </a:extLst>
          </p:cNvPr>
          <p:cNvSpPr txBox="1"/>
          <p:nvPr/>
        </p:nvSpPr>
        <p:spPr>
          <a:xfrm>
            <a:off x="2930958" y="4827249"/>
            <a:ext cx="3109531" cy="276999"/>
          </a:xfrm>
          <a:prstGeom prst="rect">
            <a:avLst/>
          </a:prstGeom>
          <a:noFill/>
        </p:spPr>
        <p:txBody>
          <a:bodyPr wrap="square">
            <a:spAutoFit/>
          </a:bodyPr>
          <a:lstStyle/>
          <a:p>
            <a:pPr algn="ctr"/>
            <a:r>
              <a:rPr lang="en-US" sz="1200"/>
              <a:t>Scan Data Sources and get metadata</a:t>
            </a:r>
          </a:p>
        </p:txBody>
      </p:sp>
      <p:sp>
        <p:nvSpPr>
          <p:cNvPr id="2" name="ZoneTexte 1">
            <a:extLst>
              <a:ext uri="{FF2B5EF4-FFF2-40B4-BE49-F238E27FC236}">
                <a16:creationId xmlns:a16="http://schemas.microsoft.com/office/drawing/2014/main" id="{EB84C3D4-1A8B-1860-2A96-164CCCEEC20E}"/>
              </a:ext>
            </a:extLst>
          </p:cNvPr>
          <p:cNvSpPr txBox="1"/>
          <p:nvPr/>
        </p:nvSpPr>
        <p:spPr>
          <a:xfrm>
            <a:off x="5796073" y="3985300"/>
            <a:ext cx="1031700" cy="276999"/>
          </a:xfrm>
          <a:prstGeom prst="rect">
            <a:avLst/>
          </a:prstGeom>
          <a:noFill/>
        </p:spPr>
        <p:txBody>
          <a:bodyPr wrap="square" rtlCol="0">
            <a:spAutoFit/>
          </a:bodyPr>
          <a:lstStyle/>
          <a:p>
            <a:pPr algn="ctr"/>
            <a:r>
              <a:rPr lang="en-US" sz="1200" b="1"/>
              <a:t>Data Catalog</a:t>
            </a:r>
          </a:p>
        </p:txBody>
      </p:sp>
      <p:sp>
        <p:nvSpPr>
          <p:cNvPr id="15" name="ZoneTexte 14">
            <a:extLst>
              <a:ext uri="{FF2B5EF4-FFF2-40B4-BE49-F238E27FC236}">
                <a16:creationId xmlns:a16="http://schemas.microsoft.com/office/drawing/2014/main" id="{8E653720-D2B2-6D2C-8A89-FA2C35F506FA}"/>
              </a:ext>
            </a:extLst>
          </p:cNvPr>
          <p:cNvSpPr txBox="1"/>
          <p:nvPr/>
        </p:nvSpPr>
        <p:spPr>
          <a:xfrm>
            <a:off x="5664245" y="2528790"/>
            <a:ext cx="1319464" cy="276999"/>
          </a:xfrm>
          <a:prstGeom prst="rect">
            <a:avLst/>
          </a:prstGeom>
          <a:noFill/>
        </p:spPr>
        <p:txBody>
          <a:bodyPr wrap="none" rtlCol="0">
            <a:spAutoFit/>
          </a:bodyPr>
          <a:lstStyle/>
          <a:p>
            <a:pPr algn="ctr"/>
            <a:r>
              <a:rPr lang="en-US" sz="1200" b="1"/>
              <a:t>Data Marketplace</a:t>
            </a:r>
          </a:p>
        </p:txBody>
      </p:sp>
      <p:sp>
        <p:nvSpPr>
          <p:cNvPr id="25" name="ZoneTexte 24">
            <a:extLst>
              <a:ext uri="{FF2B5EF4-FFF2-40B4-BE49-F238E27FC236}">
                <a16:creationId xmlns:a16="http://schemas.microsoft.com/office/drawing/2014/main" id="{163A367C-CE98-5188-D88A-BD2BA5AFBDE6}"/>
              </a:ext>
            </a:extLst>
          </p:cNvPr>
          <p:cNvSpPr txBox="1"/>
          <p:nvPr/>
        </p:nvSpPr>
        <p:spPr>
          <a:xfrm>
            <a:off x="5910279" y="5567805"/>
            <a:ext cx="827398" cy="646331"/>
          </a:xfrm>
          <a:prstGeom prst="rect">
            <a:avLst/>
          </a:prstGeom>
          <a:noFill/>
        </p:spPr>
        <p:txBody>
          <a:bodyPr wrap="square" rtlCol="0">
            <a:spAutoFit/>
          </a:bodyPr>
          <a:lstStyle/>
          <a:p>
            <a:pPr algn="ctr"/>
            <a:r>
              <a:rPr lang="en-US" sz="1200" b="1"/>
              <a:t>Metadata Command Center</a:t>
            </a:r>
          </a:p>
        </p:txBody>
      </p:sp>
      <p:sp>
        <p:nvSpPr>
          <p:cNvPr id="23" name="Rectangle 22">
            <a:extLst>
              <a:ext uri="{FF2B5EF4-FFF2-40B4-BE49-F238E27FC236}">
                <a16:creationId xmlns:a16="http://schemas.microsoft.com/office/drawing/2014/main" id="{E201461C-3A72-D324-893B-8D43F7446C08}"/>
              </a:ext>
            </a:extLst>
          </p:cNvPr>
          <p:cNvSpPr/>
          <p:nvPr/>
        </p:nvSpPr>
        <p:spPr>
          <a:xfrm>
            <a:off x="2045109" y="1482916"/>
            <a:ext cx="8415000" cy="1370887"/>
          </a:xfrm>
          <a:prstGeom prst="rect">
            <a:avLst/>
          </a:prstGeom>
          <a:solidFill>
            <a:schemeClr val="bg1">
              <a:lumMod val="95000"/>
              <a:alpha val="50000"/>
            </a:schemeClr>
          </a:solidFill>
          <a:ln w="6350">
            <a:solidFill>
              <a:schemeClr val="accent6"/>
            </a:solid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a:solidFill>
                  <a:sysClr val="windowText" lastClr="000000"/>
                </a:solidFill>
              </a:rPr>
              <a:t>For </a:t>
            </a:r>
            <a:r>
              <a:rPr lang="fr-FR" err="1">
                <a:solidFill>
                  <a:sysClr val="windowText" lastClr="000000"/>
                </a:solidFill>
              </a:rPr>
              <a:t>Later</a:t>
            </a:r>
            <a:r>
              <a:rPr lang="fr-FR">
                <a:solidFill>
                  <a:sysClr val="windowText" lastClr="000000"/>
                </a:solidFill>
              </a:rPr>
              <a:t> Use</a:t>
            </a:r>
          </a:p>
        </p:txBody>
      </p:sp>
    </p:spTree>
    <p:extLst>
      <p:ext uri="{BB962C8B-B14F-4D97-AF65-F5344CB8AC3E}">
        <p14:creationId xmlns:p14="http://schemas.microsoft.com/office/powerpoint/2010/main" val="1039753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68B8A1B-9B47-10B7-A1D0-99A9C6252095}"/>
              </a:ext>
            </a:extLst>
          </p:cNvPr>
          <p:cNvSpPr>
            <a:spLocks noGrp="1"/>
          </p:cNvSpPr>
          <p:nvPr>
            <p:ph type="title"/>
          </p:nvPr>
        </p:nvSpPr>
        <p:spPr/>
        <p:txBody>
          <a:bodyPr/>
          <a:lstStyle/>
          <a:p>
            <a:r>
              <a:rPr lang="en-US" sz="5400"/>
              <a:t>SCENARIOS &amp; PROCESSES</a:t>
            </a:r>
          </a:p>
        </p:txBody>
      </p:sp>
      <p:sp>
        <p:nvSpPr>
          <p:cNvPr id="4" name="Espace réservé du texte 3">
            <a:extLst>
              <a:ext uri="{FF2B5EF4-FFF2-40B4-BE49-F238E27FC236}">
                <a16:creationId xmlns:a16="http://schemas.microsoft.com/office/drawing/2014/main" id="{588F59EA-2FE5-916E-73C0-3F0F9135D828}"/>
              </a:ext>
            </a:extLst>
          </p:cNvPr>
          <p:cNvSpPr>
            <a:spLocks noGrp="1"/>
          </p:cNvSpPr>
          <p:nvPr>
            <p:ph type="body" sz="quarter" idx="10"/>
          </p:nvPr>
        </p:nvSpPr>
        <p:spPr/>
        <p:txBody>
          <a:bodyPr/>
          <a:lstStyle/>
          <a:p>
            <a:endParaRPr lang="fr-FR"/>
          </a:p>
        </p:txBody>
      </p:sp>
      <p:sp>
        <p:nvSpPr>
          <p:cNvPr id="3" name="Espace réservé du texte 2">
            <a:extLst>
              <a:ext uri="{FF2B5EF4-FFF2-40B4-BE49-F238E27FC236}">
                <a16:creationId xmlns:a16="http://schemas.microsoft.com/office/drawing/2014/main" id="{9677BF05-6AFC-C0F0-BDE2-7DC3CC37D8BB}"/>
              </a:ext>
            </a:extLst>
          </p:cNvPr>
          <p:cNvSpPr>
            <a:spLocks noGrp="1"/>
          </p:cNvSpPr>
          <p:nvPr>
            <p:ph type="body" sz="quarter" idx="11"/>
          </p:nvPr>
        </p:nvSpPr>
        <p:spPr/>
        <p:txBody>
          <a:bodyPr/>
          <a:lstStyle/>
          <a:p>
            <a:r>
              <a:rPr lang="fr-FR"/>
              <a:t>4</a:t>
            </a:r>
          </a:p>
        </p:txBody>
      </p:sp>
    </p:spTree>
    <p:extLst>
      <p:ext uri="{BB962C8B-B14F-4D97-AF65-F5344CB8AC3E}">
        <p14:creationId xmlns:p14="http://schemas.microsoft.com/office/powerpoint/2010/main" val="4222899410"/>
      </p:ext>
    </p:extLst>
  </p:cSld>
  <p:clrMapOvr>
    <a:masterClrMapping/>
  </p:clrMapOvr>
  <p:transition spd="slow">
    <p:cove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A4BF2CB2-4320-B87C-E49D-0951285D9FD2}"/>
              </a:ext>
            </a:extLst>
          </p:cNvPr>
          <p:cNvSpPr>
            <a:spLocks noGrp="1"/>
          </p:cNvSpPr>
          <p:nvPr>
            <p:ph type="title"/>
          </p:nvPr>
        </p:nvSpPr>
        <p:spPr/>
        <p:txBody>
          <a:bodyPr/>
          <a:lstStyle/>
          <a:p>
            <a:r>
              <a:rPr lang="en-US"/>
              <a:t>Data consumption scenarios</a:t>
            </a:r>
          </a:p>
        </p:txBody>
      </p:sp>
      <p:sp>
        <p:nvSpPr>
          <p:cNvPr id="6" name="Espace réservé du texte 5">
            <a:extLst>
              <a:ext uri="{FF2B5EF4-FFF2-40B4-BE49-F238E27FC236}">
                <a16:creationId xmlns:a16="http://schemas.microsoft.com/office/drawing/2014/main" id="{59816700-7523-1BF8-7E4A-5EDE2B80E011}"/>
              </a:ext>
            </a:extLst>
          </p:cNvPr>
          <p:cNvSpPr>
            <a:spLocks noGrp="1"/>
          </p:cNvSpPr>
          <p:nvPr>
            <p:ph type="body" idx="1"/>
          </p:nvPr>
        </p:nvSpPr>
        <p:spPr/>
        <p:txBody>
          <a:bodyPr/>
          <a:lstStyle/>
          <a:p>
            <a:r>
              <a:rPr lang="en-US"/>
              <a:t>Data consumption scenarios have been defined to enable business users to meet their business needs by leveraging data analytics</a:t>
            </a:r>
            <a:endParaRPr lang="fr-FR"/>
          </a:p>
        </p:txBody>
      </p:sp>
      <p:sp>
        <p:nvSpPr>
          <p:cNvPr id="4" name="ZoneTexte 3">
            <a:extLst>
              <a:ext uri="{FF2B5EF4-FFF2-40B4-BE49-F238E27FC236}">
                <a16:creationId xmlns:a16="http://schemas.microsoft.com/office/drawing/2014/main" id="{11CA6A1F-4D84-D8F3-54E9-FA71DBA2D52E}"/>
              </a:ext>
            </a:extLst>
          </p:cNvPr>
          <p:cNvSpPr txBox="1"/>
          <p:nvPr/>
        </p:nvSpPr>
        <p:spPr>
          <a:xfrm>
            <a:off x="0" y="5835159"/>
            <a:ext cx="12192000" cy="400110"/>
          </a:xfrm>
          <a:prstGeom prst="rect">
            <a:avLst/>
          </a:prstGeom>
          <a:solidFill>
            <a:srgbClr val="F8F7F7"/>
          </a:solid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4489"/>
              </a:buClr>
              <a:buSzTx/>
              <a:buFontTx/>
              <a:buNone/>
              <a:tabLst/>
              <a:defRPr/>
            </a:pPr>
            <a:r>
              <a:rPr kumimoji="0" lang="en-US" sz="2000" b="1" i="0" u="none" strike="noStrike" kern="1200" cap="none" spc="0" normalizeH="0" baseline="0" noProof="0">
                <a:ln>
                  <a:noFill/>
                </a:ln>
                <a:solidFill>
                  <a:srgbClr val="004489"/>
                </a:solidFill>
                <a:effectLst/>
                <a:uLnTx/>
                <a:uFillTx/>
                <a:latin typeface="Vinci Sans Light"/>
                <a:ea typeface="+mn-ea"/>
                <a:cs typeface="+mn-cs"/>
              </a:rPr>
              <a:t>The Data Marketplace helps Data Consumers easily find relevant data products in VC organization.</a:t>
            </a:r>
          </a:p>
        </p:txBody>
      </p:sp>
      <p:pic>
        <p:nvPicPr>
          <p:cNvPr id="24" name="Image 23">
            <a:extLst>
              <a:ext uri="{FF2B5EF4-FFF2-40B4-BE49-F238E27FC236}">
                <a16:creationId xmlns:a16="http://schemas.microsoft.com/office/drawing/2014/main" id="{68E874F4-9602-277A-5CEB-BD85B993DAB3}"/>
              </a:ext>
            </a:extLst>
          </p:cNvPr>
          <p:cNvPicPr>
            <a:picLocks noChangeAspect="1"/>
          </p:cNvPicPr>
          <p:nvPr/>
        </p:nvPicPr>
        <p:blipFill>
          <a:blip r:embed="rId3">
            <a:duotone>
              <a:schemeClr val="accent1">
                <a:shade val="45000"/>
                <a:satMod val="135000"/>
              </a:schemeClr>
              <a:prstClr val="white"/>
            </a:duotone>
          </a:blip>
          <a:stretch>
            <a:fillRect/>
          </a:stretch>
        </p:blipFill>
        <p:spPr>
          <a:xfrm>
            <a:off x="5619750" y="3343275"/>
            <a:ext cx="952500" cy="952500"/>
          </a:xfrm>
          <a:prstGeom prst="rect">
            <a:avLst/>
          </a:prstGeom>
        </p:spPr>
      </p:pic>
      <p:sp>
        <p:nvSpPr>
          <p:cNvPr id="17" name="Rectangle 16">
            <a:extLst>
              <a:ext uri="{FF2B5EF4-FFF2-40B4-BE49-F238E27FC236}">
                <a16:creationId xmlns:a16="http://schemas.microsoft.com/office/drawing/2014/main" id="{686673E0-3365-7027-C392-66FE63BB2E85}"/>
              </a:ext>
            </a:extLst>
          </p:cNvPr>
          <p:cNvSpPr/>
          <p:nvPr/>
        </p:nvSpPr>
        <p:spPr>
          <a:xfrm>
            <a:off x="576000" y="2482035"/>
            <a:ext cx="4809558" cy="3358659"/>
          </a:xfrm>
          <a:prstGeom prst="rect">
            <a:avLst/>
          </a:prstGeom>
          <a:ln>
            <a:noFill/>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bevelT w="0" h="0"/>
                <a:bevelB w="0" h="0"/>
              </a14:hiddenSp3d>
            </a:ext>
          </a:extLst>
        </p:spPr>
        <p:style>
          <a:lnRef idx="1">
            <a:schemeClr val="accent5"/>
          </a:lnRef>
          <a:fillRef idx="2">
            <a:schemeClr val="accent5"/>
          </a:fillRef>
          <a:effectRef idx="1">
            <a:schemeClr val="accent5"/>
          </a:effectRef>
          <a:fontRef idx="minor">
            <a:schemeClr val="dk1"/>
          </a:fontRef>
        </p:style>
        <p:txBody>
          <a:bodyPr vert="horz" lIns="36000" rIns="36000" rtlCol="0" anchor="t"/>
          <a:lstStyle/>
          <a:p>
            <a:pPr marL="342900" marR="0" lvl="0" indent="-342900" algn="l" defTabSz="914400" rtl="0" eaLnBrk="1" fontAlgn="auto" latinLnBrk="0" hangingPunct="1">
              <a:lnSpc>
                <a:spcPct val="100000"/>
              </a:lnSpc>
              <a:spcBef>
                <a:spcPts val="0"/>
              </a:spcBef>
              <a:spcAft>
                <a:spcPts val="0"/>
              </a:spcAft>
              <a:buClr>
                <a:srgbClr val="004489"/>
              </a:buClr>
              <a:buSzTx/>
              <a:buFont typeface="Arial" panose="020B0604020202020204" pitchFamily="34" charset="0"/>
              <a:buChar char="•"/>
              <a:tabLst/>
              <a:defRPr/>
            </a:pPr>
            <a:r>
              <a:rPr kumimoji="0" lang="en-US" sz="1800" b="0" i="0" u="none" strike="noStrike" kern="1200" cap="none" spc="0" normalizeH="0" baseline="0" noProof="0">
                <a:ln>
                  <a:noFill/>
                </a:ln>
                <a:solidFill>
                  <a:srgbClr val="3F3F3F">
                    <a:lumMod val="75000"/>
                  </a:srgbClr>
                </a:solidFill>
                <a:effectLst/>
                <a:uLnTx/>
                <a:uFillTx/>
                <a:latin typeface="Vinci Sans Light"/>
                <a:ea typeface="+mn-ea"/>
                <a:cs typeface="+mn-cs"/>
              </a:rPr>
              <a:t>Create ad hoc reports from existing data products</a:t>
            </a:r>
          </a:p>
          <a:p>
            <a:pPr marL="342900" marR="0" lvl="0" indent="-342900" algn="l" defTabSz="914400" rtl="0" eaLnBrk="1" fontAlgn="auto" latinLnBrk="0" hangingPunct="1">
              <a:lnSpc>
                <a:spcPct val="100000"/>
              </a:lnSpc>
              <a:spcBef>
                <a:spcPts val="0"/>
              </a:spcBef>
              <a:spcAft>
                <a:spcPts val="0"/>
              </a:spcAft>
              <a:buClr>
                <a:srgbClr val="004489"/>
              </a:buClr>
              <a:buSzTx/>
              <a:buFont typeface="Arial" panose="020B0604020202020204" pitchFamily="34" charset="0"/>
              <a:buChar char="•"/>
              <a:tabLst/>
              <a:defRPr/>
            </a:pPr>
            <a:endParaRPr kumimoji="0" lang="en-US" sz="1800" b="0" i="0" u="none" strike="noStrike" kern="1200" cap="none" spc="0" normalizeH="0" baseline="0" noProof="0">
              <a:ln>
                <a:noFill/>
              </a:ln>
              <a:solidFill>
                <a:srgbClr val="3F3F3F">
                  <a:lumMod val="75000"/>
                </a:srgbClr>
              </a:solidFill>
              <a:effectLst/>
              <a:uLnTx/>
              <a:uFillTx/>
              <a:latin typeface="Vinci Sans Light"/>
              <a:ea typeface="+mn-ea"/>
              <a:cs typeface="+mn-cs"/>
            </a:endParaRPr>
          </a:p>
          <a:p>
            <a:pPr marL="342900" marR="0" lvl="0" indent="-342900" algn="l" defTabSz="914400" rtl="0" eaLnBrk="1" fontAlgn="auto" latinLnBrk="0" hangingPunct="1">
              <a:lnSpc>
                <a:spcPct val="100000"/>
              </a:lnSpc>
              <a:spcBef>
                <a:spcPts val="0"/>
              </a:spcBef>
              <a:spcAft>
                <a:spcPts val="0"/>
              </a:spcAft>
              <a:buClr>
                <a:srgbClr val="004489"/>
              </a:buClr>
              <a:buSzTx/>
              <a:buFont typeface="Arial" panose="020B0604020202020204" pitchFamily="34" charset="0"/>
              <a:buChar char="•"/>
              <a:tabLst/>
              <a:defRPr/>
            </a:pPr>
            <a:r>
              <a:rPr kumimoji="0" lang="en-US" sz="1800" b="0" i="0" u="none" strike="noStrike" kern="1200" cap="none" spc="0" normalizeH="0" baseline="0" noProof="0">
                <a:ln>
                  <a:noFill/>
                </a:ln>
                <a:solidFill>
                  <a:srgbClr val="3F3F3F">
                    <a:lumMod val="75000"/>
                  </a:srgbClr>
                </a:solidFill>
                <a:effectLst/>
                <a:uLnTx/>
                <a:uFillTx/>
                <a:latin typeface="Vinci Sans Light"/>
                <a:ea typeface="+mn-ea"/>
                <a:cs typeface="+mn-cs"/>
              </a:rPr>
              <a:t>Cross-reference available data with other external ones to build new reports or data products</a:t>
            </a:r>
          </a:p>
          <a:p>
            <a:pPr marL="342900" marR="0" lvl="0" indent="-342900" algn="l" defTabSz="914400" rtl="0" eaLnBrk="1" fontAlgn="auto" latinLnBrk="0" hangingPunct="1">
              <a:lnSpc>
                <a:spcPct val="100000"/>
              </a:lnSpc>
              <a:spcBef>
                <a:spcPts val="0"/>
              </a:spcBef>
              <a:spcAft>
                <a:spcPts val="0"/>
              </a:spcAft>
              <a:buClr>
                <a:srgbClr val="004489"/>
              </a:buClr>
              <a:buSzTx/>
              <a:buFont typeface="Arial" panose="020B0604020202020204" pitchFamily="34" charset="0"/>
              <a:buChar char="•"/>
              <a:tabLst/>
              <a:defRPr/>
            </a:pPr>
            <a:endParaRPr kumimoji="0" lang="en-US" sz="1800" b="0" i="0" u="none" strike="noStrike" kern="1200" cap="none" spc="0" normalizeH="0" baseline="0" noProof="0">
              <a:ln>
                <a:noFill/>
              </a:ln>
              <a:solidFill>
                <a:srgbClr val="3F3F3F">
                  <a:lumMod val="75000"/>
                </a:srgbClr>
              </a:solidFill>
              <a:effectLst/>
              <a:uLnTx/>
              <a:uFillTx/>
              <a:latin typeface="Vinci Sans Light"/>
              <a:ea typeface="+mn-ea"/>
              <a:cs typeface="+mn-cs"/>
            </a:endParaRPr>
          </a:p>
          <a:p>
            <a:pPr marL="342900" marR="0" lvl="0" indent="-342900" algn="l" defTabSz="914400" rtl="0" eaLnBrk="1" fontAlgn="auto" latinLnBrk="0" hangingPunct="1">
              <a:lnSpc>
                <a:spcPct val="100000"/>
              </a:lnSpc>
              <a:spcBef>
                <a:spcPts val="0"/>
              </a:spcBef>
              <a:spcAft>
                <a:spcPts val="0"/>
              </a:spcAft>
              <a:buClr>
                <a:srgbClr val="004489"/>
              </a:buClr>
              <a:buSzTx/>
              <a:buFont typeface="Arial" panose="020B0604020202020204" pitchFamily="34" charset="0"/>
              <a:buChar char="•"/>
              <a:tabLst/>
              <a:defRPr/>
            </a:pPr>
            <a:r>
              <a:rPr kumimoji="0" lang="en-US" sz="1800" b="0" i="0" u="none" strike="noStrike" kern="1200" cap="none" spc="0" normalizeH="0" baseline="0" noProof="0">
                <a:ln>
                  <a:noFill/>
                </a:ln>
                <a:solidFill>
                  <a:srgbClr val="3F3F3F">
                    <a:lumMod val="75000"/>
                  </a:srgbClr>
                </a:solidFill>
                <a:effectLst/>
                <a:uLnTx/>
                <a:uFillTx/>
                <a:latin typeface="Vinci Sans Light"/>
                <a:ea typeface="+mn-ea"/>
                <a:cs typeface="+mn-cs"/>
              </a:rPr>
              <a:t>Use advanced analytics to discover new data insights</a:t>
            </a:r>
          </a:p>
          <a:p>
            <a:pPr marL="342900" marR="0" lvl="0" indent="-342900" algn="l" defTabSz="914400" rtl="0" eaLnBrk="1" fontAlgn="auto" latinLnBrk="0" hangingPunct="1">
              <a:lnSpc>
                <a:spcPct val="100000"/>
              </a:lnSpc>
              <a:spcBef>
                <a:spcPts val="0"/>
              </a:spcBef>
              <a:spcAft>
                <a:spcPts val="0"/>
              </a:spcAft>
              <a:buClr>
                <a:srgbClr val="004489"/>
              </a:buClr>
              <a:buSzTx/>
              <a:buFont typeface="Arial" panose="020B0604020202020204" pitchFamily="34" charset="0"/>
              <a:buChar char="•"/>
              <a:tabLst/>
              <a:defRPr/>
            </a:pPr>
            <a:endParaRPr kumimoji="0" lang="en-US" sz="1800" b="0" i="0" u="none" strike="noStrike" kern="1200" cap="none" spc="0" normalizeH="0" baseline="0" noProof="0">
              <a:ln>
                <a:noFill/>
              </a:ln>
              <a:solidFill>
                <a:srgbClr val="3F3F3F">
                  <a:lumMod val="75000"/>
                </a:srgbClr>
              </a:solidFill>
              <a:effectLst/>
              <a:uLnTx/>
              <a:uFillTx/>
              <a:latin typeface="Vinci Sans Light"/>
              <a:ea typeface="+mn-ea"/>
              <a:cs typeface="+mn-cs"/>
            </a:endParaRPr>
          </a:p>
          <a:p>
            <a:pPr marL="342900" marR="0" lvl="0" indent="-342900" algn="l" defTabSz="914400" rtl="0" eaLnBrk="1" fontAlgn="auto" latinLnBrk="0" hangingPunct="1">
              <a:lnSpc>
                <a:spcPct val="100000"/>
              </a:lnSpc>
              <a:spcBef>
                <a:spcPts val="0"/>
              </a:spcBef>
              <a:spcAft>
                <a:spcPts val="0"/>
              </a:spcAft>
              <a:buClr>
                <a:srgbClr val="004489"/>
              </a:buClr>
              <a:buSzTx/>
              <a:buFont typeface="Arial" panose="020B0604020202020204" pitchFamily="34" charset="0"/>
              <a:buChar char="•"/>
              <a:tabLst/>
              <a:defRPr/>
            </a:pPr>
            <a:r>
              <a:rPr kumimoji="0" lang="en-US" sz="1800" b="0" i="0" u="none" strike="noStrike" kern="1200" cap="none" spc="0" normalizeH="0" baseline="0" noProof="0">
                <a:ln>
                  <a:noFill/>
                </a:ln>
                <a:solidFill>
                  <a:srgbClr val="3F3F3F">
                    <a:lumMod val="75000"/>
                  </a:srgbClr>
                </a:solidFill>
                <a:effectLst/>
                <a:uLnTx/>
                <a:uFillTx/>
                <a:latin typeface="Vinci Sans Light"/>
                <a:ea typeface="+mn-ea"/>
                <a:cs typeface="+mn-cs"/>
              </a:rPr>
              <a:t>Answer local needs for global data product (</a:t>
            </a:r>
            <a:r>
              <a:rPr kumimoji="0" lang="en-US" sz="1800" b="0" i="1" u="none" strike="noStrike" kern="1200" cap="none" spc="0" normalizeH="0" baseline="0" noProof="0">
                <a:ln>
                  <a:noFill/>
                </a:ln>
                <a:solidFill>
                  <a:srgbClr val="3F3F3F">
                    <a:lumMod val="75000"/>
                  </a:srgbClr>
                </a:solidFill>
                <a:effectLst/>
                <a:uLnTx/>
                <a:uFillTx/>
                <a:latin typeface="Vinci Sans Light"/>
                <a:ea typeface="+mn-ea"/>
                <a:cs typeface="+mn-cs"/>
              </a:rPr>
              <a:t>Germany BI-PRIS</a:t>
            </a:r>
            <a:r>
              <a:rPr kumimoji="0" lang="en-US" sz="1800" b="0" i="0" u="none" strike="noStrike" kern="1200" cap="none" spc="0" normalizeH="0" baseline="0" noProof="0">
                <a:ln>
                  <a:noFill/>
                </a:ln>
                <a:solidFill>
                  <a:srgbClr val="3F3F3F">
                    <a:lumMod val="75000"/>
                  </a:srgbClr>
                </a:solidFill>
                <a:effectLst/>
                <a:uLnTx/>
                <a:uFillTx/>
                <a:latin typeface="Vinci Sans Light"/>
                <a:ea typeface="+mn-ea"/>
                <a:cs typeface="+mn-cs"/>
              </a:rPr>
              <a:t> for example)</a:t>
            </a:r>
          </a:p>
          <a:p>
            <a:pPr marL="285750" marR="0" lvl="0" indent="-285750" algn="l" defTabSz="914400" rtl="0" eaLnBrk="1" fontAlgn="auto" latinLnBrk="0" hangingPunct="1">
              <a:lnSpc>
                <a:spcPct val="100000"/>
              </a:lnSpc>
              <a:spcBef>
                <a:spcPts val="0"/>
              </a:spcBef>
              <a:spcAft>
                <a:spcPts val="0"/>
              </a:spcAft>
              <a:buClr>
                <a:srgbClr val="004489"/>
              </a:buClr>
              <a:buSzTx/>
              <a:buFont typeface="Arial" panose="020B0604020202020204" pitchFamily="34" charset="0"/>
              <a:buChar char="•"/>
              <a:tabLst/>
              <a:defRPr/>
            </a:pPr>
            <a:endParaRPr kumimoji="0" lang="en-US" sz="1800" b="0" i="0" u="none" strike="noStrike" kern="1200" cap="none" spc="0" normalizeH="0" baseline="0" noProof="0">
              <a:ln>
                <a:noFill/>
              </a:ln>
              <a:solidFill>
                <a:srgbClr val="3F3F3F">
                  <a:lumMod val="60000"/>
                  <a:lumOff val="40000"/>
                </a:srgbClr>
              </a:solidFill>
              <a:effectLst/>
              <a:uLnTx/>
              <a:uFillTx/>
              <a:latin typeface="Vinci Sans Light"/>
              <a:ea typeface="+mn-ea"/>
              <a:cs typeface="+mn-cs"/>
            </a:endParaRPr>
          </a:p>
        </p:txBody>
      </p:sp>
      <p:sp>
        <p:nvSpPr>
          <p:cNvPr id="25" name="ZoneTexte 24">
            <a:extLst>
              <a:ext uri="{FF2B5EF4-FFF2-40B4-BE49-F238E27FC236}">
                <a16:creationId xmlns:a16="http://schemas.microsoft.com/office/drawing/2014/main" id="{CCC63F75-9CF9-4811-89F5-A634D82002F3}"/>
              </a:ext>
            </a:extLst>
          </p:cNvPr>
          <p:cNvSpPr txBox="1"/>
          <p:nvPr/>
        </p:nvSpPr>
        <p:spPr>
          <a:xfrm>
            <a:off x="576000" y="2112703"/>
            <a:ext cx="4809558" cy="369332"/>
          </a:xfrm>
          <a:prstGeom prst="rect">
            <a:avLst/>
          </a:prstGeom>
          <a:solidFill>
            <a:srgbClr val="F8F7F7"/>
          </a:solid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4489"/>
              </a:buClr>
              <a:buSzTx/>
              <a:buFontTx/>
              <a:buNone/>
              <a:tabLst/>
              <a:defRPr/>
            </a:pPr>
            <a:r>
              <a:rPr kumimoji="0" lang="en-US" sz="1800" b="1" i="0" u="none" strike="noStrike" kern="1200" cap="small" spc="0" normalizeH="0" baseline="0" noProof="0">
                <a:ln>
                  <a:noFill/>
                </a:ln>
                <a:solidFill>
                  <a:srgbClr val="004489"/>
                </a:solidFill>
                <a:effectLst/>
                <a:uLnTx/>
                <a:uFillTx/>
                <a:latin typeface="Vinci Sans Light"/>
                <a:ea typeface="+mn-ea"/>
                <a:cs typeface="+mn-cs"/>
              </a:rPr>
              <a:t>Business needs</a:t>
            </a:r>
          </a:p>
        </p:txBody>
      </p:sp>
      <p:sp>
        <p:nvSpPr>
          <p:cNvPr id="18" name="Rectangle 17">
            <a:extLst>
              <a:ext uri="{FF2B5EF4-FFF2-40B4-BE49-F238E27FC236}">
                <a16:creationId xmlns:a16="http://schemas.microsoft.com/office/drawing/2014/main" id="{C013317D-EF22-4138-E1A6-434C9D47133B}"/>
              </a:ext>
            </a:extLst>
          </p:cNvPr>
          <p:cNvSpPr/>
          <p:nvPr/>
        </p:nvSpPr>
        <p:spPr>
          <a:xfrm>
            <a:off x="6806442" y="2482035"/>
            <a:ext cx="4809558" cy="3358658"/>
          </a:xfrm>
          <a:prstGeom prst="rect">
            <a:avLst/>
          </a:prstGeom>
          <a:ln>
            <a:noFill/>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bevelT w="0" h="0"/>
                <a:bevelB w="0" h="0"/>
              </a14:hiddenSp3d>
            </a:ext>
          </a:extLst>
        </p:spPr>
        <p:style>
          <a:lnRef idx="1">
            <a:schemeClr val="accent5"/>
          </a:lnRef>
          <a:fillRef idx="2">
            <a:schemeClr val="accent5"/>
          </a:fillRef>
          <a:effectRef idx="1">
            <a:schemeClr val="accent5"/>
          </a:effectRef>
          <a:fontRef idx="minor">
            <a:schemeClr val="dk1"/>
          </a:fontRef>
        </p:style>
        <p:txBody>
          <a:bodyPr vert="horz" lIns="36000" tIns="45720" rIns="36000" bIns="45720" rtlCol="0" anchor="t"/>
          <a:lstStyle/>
          <a:p>
            <a:pPr marL="342900" marR="0" lvl="0" indent="-342900" algn="l" defTabSz="914400" rtl="0" eaLnBrk="1" fontAlgn="auto" latinLnBrk="0" hangingPunct="1">
              <a:lnSpc>
                <a:spcPct val="100000"/>
              </a:lnSpc>
              <a:spcBef>
                <a:spcPts val="0"/>
              </a:spcBef>
              <a:spcAft>
                <a:spcPts val="0"/>
              </a:spcAft>
              <a:buClr>
                <a:srgbClr val="004489"/>
              </a:buClr>
              <a:buSzTx/>
              <a:buFont typeface="Arial" panose="020B0604020202020204" pitchFamily="34" charset="0"/>
              <a:buChar char="•"/>
              <a:tabLst/>
              <a:defRPr/>
            </a:pPr>
            <a:r>
              <a:rPr kumimoji="0" lang="en-US" sz="1800" b="0" i="0" u="none" strike="noStrike" kern="1200" cap="none" spc="0" normalizeH="0" baseline="0" noProof="0">
                <a:ln>
                  <a:noFill/>
                </a:ln>
                <a:solidFill>
                  <a:srgbClr val="3F3F3F">
                    <a:lumMod val="75000"/>
                  </a:srgbClr>
                </a:solidFill>
                <a:effectLst/>
                <a:uLnTx/>
                <a:uFillTx/>
                <a:latin typeface="Vinci Sans Light"/>
                <a:ea typeface="+mn-lt"/>
                <a:cs typeface="+mn-lt"/>
              </a:rPr>
              <a:t>Scenario 1 : Existing</a:t>
            </a:r>
            <a:r>
              <a:rPr kumimoji="0" lang="en-US" sz="1800" b="0" i="0" u="none" strike="noStrike" kern="1200" cap="none" spc="0" normalizeH="0" baseline="0" noProof="0">
                <a:ln>
                  <a:noFill/>
                </a:ln>
                <a:solidFill>
                  <a:srgbClr val="3F3F3F">
                    <a:lumMod val="75000"/>
                  </a:srgbClr>
                </a:solidFill>
                <a:effectLst/>
                <a:uLnTx/>
                <a:uFillTx/>
                <a:latin typeface="Vinci Sans Light"/>
                <a:ea typeface="+mn-ea"/>
                <a:cs typeface="+mn-cs"/>
              </a:rPr>
              <a:t> reporting</a:t>
            </a:r>
          </a:p>
          <a:p>
            <a:pPr marL="342900" marR="0" lvl="0" indent="-342900" algn="l" defTabSz="914400" rtl="0" eaLnBrk="1" fontAlgn="auto" latinLnBrk="0" hangingPunct="1">
              <a:lnSpc>
                <a:spcPct val="100000"/>
              </a:lnSpc>
              <a:spcBef>
                <a:spcPts val="0"/>
              </a:spcBef>
              <a:spcAft>
                <a:spcPts val="0"/>
              </a:spcAft>
              <a:buClr>
                <a:srgbClr val="004489"/>
              </a:buClr>
              <a:buSzTx/>
              <a:buFont typeface="Arial" panose="020B0604020202020204" pitchFamily="34" charset="0"/>
              <a:buChar char="•"/>
              <a:tabLst/>
              <a:defRPr/>
            </a:pPr>
            <a:endParaRPr kumimoji="0" lang="en-US" sz="1800" b="0" i="0" u="none" strike="noStrike" kern="1200" cap="none" spc="0" normalizeH="0" baseline="0" noProof="0">
              <a:ln>
                <a:noFill/>
              </a:ln>
              <a:solidFill>
                <a:srgbClr val="3F3F3F">
                  <a:lumMod val="75000"/>
                </a:srgbClr>
              </a:solidFill>
              <a:effectLst/>
              <a:uLnTx/>
              <a:uFillTx/>
              <a:latin typeface="Vinci Sans Light"/>
              <a:ea typeface="+mn-ea"/>
              <a:cs typeface="+mn-cs"/>
            </a:endParaRPr>
          </a:p>
          <a:p>
            <a:pPr marL="342900" marR="0" lvl="0" indent="-342900" algn="l" defTabSz="914400" rtl="0" eaLnBrk="1" fontAlgn="auto" latinLnBrk="0" hangingPunct="1">
              <a:lnSpc>
                <a:spcPct val="100000"/>
              </a:lnSpc>
              <a:spcBef>
                <a:spcPts val="0"/>
              </a:spcBef>
              <a:spcAft>
                <a:spcPts val="0"/>
              </a:spcAft>
              <a:buClr>
                <a:srgbClr val="004489"/>
              </a:buClr>
              <a:buSzTx/>
              <a:buFont typeface="Arial" panose="020B0604020202020204" pitchFamily="34" charset="0"/>
              <a:buChar char="•"/>
              <a:tabLst/>
              <a:defRPr/>
            </a:pPr>
            <a:endParaRPr kumimoji="0" lang="en-US" sz="1800" b="0" i="0" u="none" strike="noStrike" kern="1200" cap="none" spc="0" normalizeH="0" baseline="0" noProof="0">
              <a:ln>
                <a:noFill/>
              </a:ln>
              <a:solidFill>
                <a:srgbClr val="3F3F3F">
                  <a:lumMod val="75000"/>
                </a:srgbClr>
              </a:solidFill>
              <a:effectLst/>
              <a:uLnTx/>
              <a:uFillTx/>
              <a:latin typeface="Vinci Sans Light"/>
              <a:ea typeface="+mn-ea"/>
              <a:cs typeface="+mn-cs"/>
            </a:endParaRPr>
          </a:p>
          <a:p>
            <a:pPr marL="342900" marR="0" lvl="0" indent="-342900" algn="l" defTabSz="914400" rtl="0" eaLnBrk="1" fontAlgn="auto" latinLnBrk="0" hangingPunct="1">
              <a:lnSpc>
                <a:spcPct val="100000"/>
              </a:lnSpc>
              <a:spcBef>
                <a:spcPts val="0"/>
              </a:spcBef>
              <a:spcAft>
                <a:spcPts val="0"/>
              </a:spcAft>
              <a:buClr>
                <a:srgbClr val="004489"/>
              </a:buClr>
              <a:buSzTx/>
              <a:buFont typeface="Arial" panose="020B0604020202020204" pitchFamily="34" charset="0"/>
              <a:buChar char="•"/>
              <a:tabLst/>
              <a:defRPr/>
            </a:pPr>
            <a:r>
              <a:rPr kumimoji="0" lang="en-US" sz="1800" b="0" i="0" u="none" strike="noStrike" kern="1200" cap="none" spc="0" normalizeH="0" baseline="0" noProof="0">
                <a:ln>
                  <a:noFill/>
                </a:ln>
                <a:solidFill>
                  <a:srgbClr val="3F3F3F">
                    <a:lumMod val="75000"/>
                  </a:srgbClr>
                </a:solidFill>
                <a:effectLst/>
                <a:uLnTx/>
                <a:uFillTx/>
                <a:latin typeface="Vinci Sans Light"/>
                <a:ea typeface="+mn-ea"/>
                <a:cs typeface="+mn-cs"/>
              </a:rPr>
              <a:t>Scenario 2 : Self-service BI</a:t>
            </a:r>
          </a:p>
          <a:p>
            <a:pPr marL="342900" marR="0" lvl="0" indent="-342900" algn="l" defTabSz="914400" rtl="0" eaLnBrk="1" fontAlgn="auto" latinLnBrk="0" hangingPunct="1">
              <a:lnSpc>
                <a:spcPct val="100000"/>
              </a:lnSpc>
              <a:spcBef>
                <a:spcPts val="0"/>
              </a:spcBef>
              <a:spcAft>
                <a:spcPts val="0"/>
              </a:spcAft>
              <a:buClr>
                <a:srgbClr val="004489"/>
              </a:buClr>
              <a:buSzTx/>
              <a:buFont typeface="Arial" panose="020B0604020202020204" pitchFamily="34" charset="0"/>
              <a:buChar char="•"/>
              <a:tabLst/>
              <a:defRPr/>
            </a:pPr>
            <a:endParaRPr kumimoji="0" lang="en-US" sz="1800" b="0" i="0" u="none" strike="noStrike" kern="1200" cap="none" spc="0" normalizeH="0" baseline="0" noProof="0">
              <a:ln>
                <a:noFill/>
              </a:ln>
              <a:solidFill>
                <a:srgbClr val="3F3F3F">
                  <a:lumMod val="75000"/>
                </a:srgbClr>
              </a:solidFill>
              <a:effectLst/>
              <a:uLnTx/>
              <a:uFillTx/>
              <a:latin typeface="Vinci Sans Light"/>
              <a:ea typeface="+mn-ea"/>
              <a:cs typeface="+mn-cs"/>
            </a:endParaRPr>
          </a:p>
          <a:p>
            <a:pPr marL="342900" marR="0" lvl="0" indent="-342900" algn="l" defTabSz="914400" rtl="0" eaLnBrk="1" fontAlgn="auto" latinLnBrk="0" hangingPunct="1">
              <a:lnSpc>
                <a:spcPct val="100000"/>
              </a:lnSpc>
              <a:spcBef>
                <a:spcPts val="0"/>
              </a:spcBef>
              <a:spcAft>
                <a:spcPts val="0"/>
              </a:spcAft>
              <a:buClr>
                <a:srgbClr val="004489"/>
              </a:buClr>
              <a:buSzTx/>
              <a:buFont typeface="Arial" panose="020B0604020202020204" pitchFamily="34" charset="0"/>
              <a:buChar char="•"/>
              <a:tabLst/>
              <a:defRPr/>
            </a:pPr>
            <a:endParaRPr kumimoji="0" lang="en-US" sz="1800" b="0" i="0" u="none" strike="noStrike" kern="1200" cap="none" spc="0" normalizeH="0" baseline="0" noProof="0">
              <a:ln>
                <a:noFill/>
              </a:ln>
              <a:solidFill>
                <a:srgbClr val="3F3F3F">
                  <a:lumMod val="75000"/>
                </a:srgbClr>
              </a:solidFill>
              <a:effectLst/>
              <a:uLnTx/>
              <a:uFillTx/>
              <a:latin typeface="Vinci Sans Light"/>
              <a:ea typeface="+mn-ea"/>
              <a:cs typeface="+mn-cs"/>
            </a:endParaRPr>
          </a:p>
          <a:p>
            <a:pPr marL="342900" marR="0" lvl="0" indent="-342900" algn="l" defTabSz="914400" rtl="0" eaLnBrk="1" fontAlgn="auto" latinLnBrk="0" hangingPunct="1">
              <a:lnSpc>
                <a:spcPct val="100000"/>
              </a:lnSpc>
              <a:spcBef>
                <a:spcPts val="0"/>
              </a:spcBef>
              <a:spcAft>
                <a:spcPts val="0"/>
              </a:spcAft>
              <a:buClr>
                <a:srgbClr val="004489"/>
              </a:buClr>
              <a:buSzTx/>
              <a:buFont typeface="Arial" panose="020B0604020202020204" pitchFamily="34" charset="0"/>
              <a:buChar char="•"/>
              <a:tabLst/>
              <a:defRPr/>
            </a:pPr>
            <a:r>
              <a:rPr kumimoji="0" lang="en-US" sz="1800" b="0" i="0" u="none" strike="noStrike" kern="1200" cap="none" spc="0" normalizeH="0" baseline="0" noProof="0">
                <a:ln>
                  <a:noFill/>
                </a:ln>
                <a:solidFill>
                  <a:srgbClr val="3F3F3F">
                    <a:lumMod val="75000"/>
                  </a:srgbClr>
                </a:solidFill>
                <a:effectLst/>
                <a:uLnTx/>
                <a:uFillTx/>
                <a:latin typeface="Vinci Sans Light"/>
                <a:ea typeface="+mn-ea"/>
                <a:cs typeface="+mn-cs"/>
              </a:rPr>
              <a:t>Scenario 3 : Advanced Analytics Self-Service (AI, statistical model, algorithm, … )</a:t>
            </a:r>
          </a:p>
          <a:p>
            <a:pPr marL="342900" marR="0" lvl="0" indent="-342900" algn="l" defTabSz="914400" rtl="0" eaLnBrk="1" fontAlgn="auto" latinLnBrk="0" hangingPunct="1">
              <a:lnSpc>
                <a:spcPct val="100000"/>
              </a:lnSpc>
              <a:spcBef>
                <a:spcPts val="0"/>
              </a:spcBef>
              <a:spcAft>
                <a:spcPts val="0"/>
              </a:spcAft>
              <a:buClr>
                <a:srgbClr val="004489"/>
              </a:buClr>
              <a:buSzTx/>
              <a:buFont typeface="Arial" panose="020B0604020202020204" pitchFamily="34" charset="0"/>
              <a:buChar char="•"/>
              <a:tabLst/>
              <a:defRPr/>
            </a:pPr>
            <a:endParaRPr kumimoji="0" lang="en-US" sz="1800" b="0" i="0" u="none" strike="noStrike" kern="1200" cap="none" spc="0" normalizeH="0" baseline="0" noProof="0">
              <a:ln>
                <a:noFill/>
              </a:ln>
              <a:solidFill>
                <a:srgbClr val="3F3F3F">
                  <a:lumMod val="75000"/>
                </a:srgbClr>
              </a:solidFill>
              <a:effectLst/>
              <a:uLnTx/>
              <a:uFillTx/>
              <a:latin typeface="Vinci Sans Light"/>
              <a:ea typeface="+mn-ea"/>
              <a:cs typeface="+mn-cs"/>
            </a:endParaRPr>
          </a:p>
          <a:p>
            <a:pPr marL="342900" marR="0" lvl="0" indent="-342900" algn="l" defTabSz="914400" rtl="0" eaLnBrk="1" fontAlgn="auto" latinLnBrk="0" hangingPunct="1">
              <a:lnSpc>
                <a:spcPct val="100000"/>
              </a:lnSpc>
              <a:spcBef>
                <a:spcPts val="0"/>
              </a:spcBef>
              <a:spcAft>
                <a:spcPts val="0"/>
              </a:spcAft>
              <a:buClr>
                <a:srgbClr val="004489"/>
              </a:buClr>
              <a:buSzTx/>
              <a:buFont typeface="Arial" panose="020B0604020202020204" pitchFamily="34" charset="0"/>
              <a:buChar char="•"/>
              <a:tabLst/>
              <a:defRPr/>
            </a:pPr>
            <a:r>
              <a:rPr kumimoji="0" lang="en-US" sz="1800" b="0" i="0" u="none" strike="noStrike" kern="1200" cap="none" spc="0" normalizeH="0" baseline="0" noProof="0">
                <a:ln>
                  <a:noFill/>
                </a:ln>
                <a:solidFill>
                  <a:srgbClr val="3F3F3F">
                    <a:lumMod val="75000"/>
                  </a:srgbClr>
                </a:solidFill>
                <a:effectLst/>
                <a:uLnTx/>
                <a:uFillTx/>
                <a:latin typeface="Vinci Sans Light"/>
                <a:ea typeface="+mn-ea"/>
                <a:cs typeface="+mn-cs"/>
              </a:rPr>
              <a:t>Scenario 4 : Application integration</a:t>
            </a:r>
          </a:p>
          <a:p>
            <a:pPr marL="342900" marR="0" lvl="0" indent="-342900" algn="l" defTabSz="914400" rtl="0" eaLnBrk="1" fontAlgn="auto" latinLnBrk="0" hangingPunct="1">
              <a:lnSpc>
                <a:spcPct val="100000"/>
              </a:lnSpc>
              <a:spcBef>
                <a:spcPts val="0"/>
              </a:spcBef>
              <a:spcAft>
                <a:spcPts val="0"/>
              </a:spcAft>
              <a:buClr>
                <a:srgbClr val="004489"/>
              </a:buClr>
              <a:buSzTx/>
              <a:buFont typeface="Arial" panose="020B0604020202020204" pitchFamily="34" charset="0"/>
              <a:buChar char="•"/>
              <a:tabLst/>
              <a:defRPr/>
            </a:pPr>
            <a:endParaRPr kumimoji="0" lang="fr-FR" sz="1800" b="0" i="0" u="none" strike="noStrike" kern="1200" cap="none" spc="0" normalizeH="0" baseline="0" noProof="0">
              <a:ln>
                <a:noFill/>
              </a:ln>
              <a:solidFill>
                <a:srgbClr val="3F3F3F">
                  <a:lumMod val="75000"/>
                </a:srgbClr>
              </a:solidFill>
              <a:effectLst/>
              <a:uLnTx/>
              <a:uFillTx/>
              <a:latin typeface="Vinci Sans Light"/>
              <a:ea typeface="+mn-ea"/>
              <a:cs typeface="+mn-cs"/>
            </a:endParaRPr>
          </a:p>
        </p:txBody>
      </p:sp>
      <p:sp>
        <p:nvSpPr>
          <p:cNvPr id="27" name="ZoneTexte 26">
            <a:extLst>
              <a:ext uri="{FF2B5EF4-FFF2-40B4-BE49-F238E27FC236}">
                <a16:creationId xmlns:a16="http://schemas.microsoft.com/office/drawing/2014/main" id="{280081F6-77A9-6D2F-2319-0B4E24029E1B}"/>
              </a:ext>
            </a:extLst>
          </p:cNvPr>
          <p:cNvSpPr txBox="1"/>
          <p:nvPr/>
        </p:nvSpPr>
        <p:spPr>
          <a:xfrm>
            <a:off x="6806442" y="2112703"/>
            <a:ext cx="4809558" cy="369332"/>
          </a:xfrm>
          <a:prstGeom prst="rect">
            <a:avLst/>
          </a:prstGeom>
          <a:solidFill>
            <a:srgbClr val="F8F7F7"/>
          </a:solid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4489"/>
              </a:buClr>
              <a:buSzTx/>
              <a:buFontTx/>
              <a:buNone/>
              <a:tabLst/>
              <a:defRPr/>
            </a:pPr>
            <a:r>
              <a:rPr kumimoji="0" lang="en-US" sz="1800" b="1" i="0" u="none" strike="noStrike" kern="1200" cap="small" spc="0" normalizeH="0" baseline="0" noProof="0">
                <a:ln>
                  <a:noFill/>
                </a:ln>
                <a:solidFill>
                  <a:srgbClr val="004489"/>
                </a:solidFill>
                <a:effectLst/>
                <a:uLnTx/>
                <a:uFillTx/>
                <a:latin typeface="Vinci Sans Light"/>
                <a:ea typeface="+mn-ea"/>
                <a:cs typeface="+mn-cs"/>
              </a:rPr>
              <a:t>Data consumption scenarios</a:t>
            </a:r>
          </a:p>
        </p:txBody>
      </p:sp>
    </p:spTree>
    <p:extLst>
      <p:ext uri="{BB962C8B-B14F-4D97-AF65-F5344CB8AC3E}">
        <p14:creationId xmlns:p14="http://schemas.microsoft.com/office/powerpoint/2010/main" val="1859233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20E243D-F1B3-4554-832F-09F5EA25B08D}"/>
              </a:ext>
            </a:extLst>
          </p:cNvPr>
          <p:cNvSpPr>
            <a:spLocks noGrp="1"/>
          </p:cNvSpPr>
          <p:nvPr>
            <p:ph type="title"/>
          </p:nvPr>
        </p:nvSpPr>
        <p:spPr/>
        <p:txBody>
          <a:bodyPr/>
          <a:lstStyle/>
          <a:p>
            <a:r>
              <a:rPr lang="en-US"/>
              <a:t>Data consumption scenarios</a:t>
            </a:r>
          </a:p>
        </p:txBody>
      </p:sp>
      <p:sp>
        <p:nvSpPr>
          <p:cNvPr id="21" name="Espace réservé du texte 20">
            <a:extLst>
              <a:ext uri="{FF2B5EF4-FFF2-40B4-BE49-F238E27FC236}">
                <a16:creationId xmlns:a16="http://schemas.microsoft.com/office/drawing/2014/main" id="{B1280E35-2806-3A86-7117-CE5FB90AF54A}"/>
              </a:ext>
            </a:extLst>
          </p:cNvPr>
          <p:cNvSpPr>
            <a:spLocks noGrp="1"/>
          </p:cNvSpPr>
          <p:nvPr>
            <p:ph type="body" idx="1"/>
          </p:nvPr>
        </p:nvSpPr>
        <p:spPr/>
        <p:txBody>
          <a:bodyPr/>
          <a:lstStyle/>
          <a:p>
            <a:r>
              <a:rPr lang="en-US"/>
              <a:t>To summarize there are multiple paths to consume data products, Data Program must define governance, architecture principles and processes for supporting these scenarios.</a:t>
            </a:r>
          </a:p>
        </p:txBody>
      </p:sp>
      <p:grpSp>
        <p:nvGrpSpPr>
          <p:cNvPr id="6" name="Groupe 5">
            <a:extLst>
              <a:ext uri="{FF2B5EF4-FFF2-40B4-BE49-F238E27FC236}">
                <a16:creationId xmlns:a16="http://schemas.microsoft.com/office/drawing/2014/main" id="{DD48253F-C28A-32F7-B321-8940D969FA13}"/>
              </a:ext>
            </a:extLst>
          </p:cNvPr>
          <p:cNvGrpSpPr/>
          <p:nvPr/>
        </p:nvGrpSpPr>
        <p:grpSpPr>
          <a:xfrm>
            <a:off x="1005246" y="2074164"/>
            <a:ext cx="10181508" cy="3832955"/>
            <a:chOff x="769354" y="2074164"/>
            <a:chExt cx="10181508" cy="3832955"/>
          </a:xfrm>
        </p:grpSpPr>
        <p:cxnSp>
          <p:nvCxnSpPr>
            <p:cNvPr id="11" name="Connecteur droit 10">
              <a:extLst>
                <a:ext uri="{FF2B5EF4-FFF2-40B4-BE49-F238E27FC236}">
                  <a16:creationId xmlns:a16="http://schemas.microsoft.com/office/drawing/2014/main" id="{04909EB6-66C1-B447-CE9F-542CA0174904}"/>
                </a:ext>
              </a:extLst>
            </p:cNvPr>
            <p:cNvCxnSpPr>
              <a:cxnSpLocks/>
            </p:cNvCxnSpPr>
            <p:nvPr/>
          </p:nvCxnSpPr>
          <p:spPr>
            <a:xfrm>
              <a:off x="2218709" y="2940376"/>
              <a:ext cx="1979629" cy="0"/>
            </a:xfrm>
            <a:prstGeom prst="line">
              <a:avLst/>
            </a:prstGeom>
            <a:ln cap="rnd"/>
            <a:effectLst/>
          </p:spPr>
          <p:style>
            <a:lnRef idx="2">
              <a:schemeClr val="accent1"/>
            </a:lnRef>
            <a:fillRef idx="0">
              <a:schemeClr val="accent1"/>
            </a:fillRef>
            <a:effectRef idx="1">
              <a:schemeClr val="accent1"/>
            </a:effectRef>
            <a:fontRef idx="minor">
              <a:schemeClr val="tx1"/>
            </a:fontRef>
          </p:style>
        </p:cxnSp>
        <p:cxnSp>
          <p:nvCxnSpPr>
            <p:cNvPr id="12" name="Connecteur droit 11">
              <a:extLst>
                <a:ext uri="{FF2B5EF4-FFF2-40B4-BE49-F238E27FC236}">
                  <a16:creationId xmlns:a16="http://schemas.microsoft.com/office/drawing/2014/main" id="{625272CE-FA67-A2A3-43D2-1E59B53EB1E8}"/>
                </a:ext>
              </a:extLst>
            </p:cNvPr>
            <p:cNvCxnSpPr>
              <a:cxnSpLocks/>
              <a:endCxn id="2" idx="0"/>
            </p:cNvCxnSpPr>
            <p:nvPr/>
          </p:nvCxnSpPr>
          <p:spPr>
            <a:xfrm>
              <a:off x="4198338" y="2940376"/>
              <a:ext cx="1074942" cy="977249"/>
            </a:xfrm>
            <a:prstGeom prst="line">
              <a:avLst/>
            </a:prstGeom>
            <a:ln cap="rnd"/>
            <a:effectLst/>
          </p:spPr>
          <p:style>
            <a:lnRef idx="2">
              <a:schemeClr val="accent1"/>
            </a:lnRef>
            <a:fillRef idx="0">
              <a:schemeClr val="accent1"/>
            </a:fillRef>
            <a:effectRef idx="1">
              <a:schemeClr val="accent1"/>
            </a:effectRef>
            <a:fontRef idx="minor">
              <a:schemeClr val="tx1"/>
            </a:fontRef>
          </p:style>
        </p:cxnSp>
        <p:sp>
          <p:nvSpPr>
            <p:cNvPr id="17" name="ZoneTexte 16">
              <a:extLst>
                <a:ext uri="{FF2B5EF4-FFF2-40B4-BE49-F238E27FC236}">
                  <a16:creationId xmlns:a16="http://schemas.microsoft.com/office/drawing/2014/main" id="{A8FA7E39-04C8-1387-93A1-C2D3A0DE5AE9}"/>
                </a:ext>
              </a:extLst>
            </p:cNvPr>
            <p:cNvSpPr txBox="1"/>
            <p:nvPr/>
          </p:nvSpPr>
          <p:spPr>
            <a:xfrm>
              <a:off x="2218709" y="2294045"/>
              <a:ext cx="2225182" cy="646331"/>
            </a:xfrm>
            <a:prstGeom prst="rect">
              <a:avLst/>
            </a:prstGeom>
            <a:noFill/>
            <a:effectLst/>
          </p:spPr>
          <p:txBody>
            <a:bodyPr wrap="square" lIns="91440" tIns="45720" rIns="91440" bIns="45720" anchor="t">
              <a:spAutoFit/>
            </a:bodyPr>
            <a:lstStyle/>
            <a:p>
              <a:pPr marL="342900" marR="0" lvl="0" indent="-34290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F3F3F"/>
                  </a:solidFill>
                  <a:effectLst/>
                  <a:uLnTx/>
                  <a:uFillTx/>
                  <a:latin typeface="Vinci Sans Light"/>
                  <a:ea typeface="+mn-ea"/>
                  <a:cs typeface="+mn-cs"/>
                </a:rPr>
                <a:t>Scenario 3</a:t>
              </a:r>
            </a:p>
            <a:p>
              <a:pPr marL="342900" marR="0" lvl="0" indent="-34290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3F3F"/>
                  </a:solidFill>
                  <a:effectLst/>
                  <a:uLnTx/>
                  <a:uFillTx/>
                  <a:latin typeface="Vinci Sans Light"/>
                  <a:ea typeface="+mn-ea"/>
                  <a:cs typeface="+mn-cs"/>
                </a:rPr>
                <a:t>Advanced Analytics Self-Service</a:t>
              </a:r>
            </a:p>
            <a:p>
              <a:pPr marL="342900" marR="0" lvl="0" indent="-34290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3F3F"/>
                  </a:solidFill>
                  <a:effectLst/>
                  <a:uLnTx/>
                  <a:uFillTx/>
                  <a:latin typeface="Vinci Sans Light"/>
                  <a:ea typeface="+mn-ea"/>
                  <a:cs typeface="+mn-cs"/>
                </a:rPr>
                <a:t>(From Self-Service BI to AI)</a:t>
              </a:r>
              <a:endParaRPr kumimoji="0" lang="en-US" sz="1200" b="1" i="0" u="none" strike="noStrike" kern="1200" cap="none" spc="0" normalizeH="0" baseline="0" noProof="0">
                <a:ln>
                  <a:noFill/>
                </a:ln>
                <a:solidFill>
                  <a:srgbClr val="3F3F3F"/>
                </a:solidFill>
                <a:effectLst/>
                <a:uLnTx/>
                <a:uFillTx/>
                <a:latin typeface="Vinci Sans Light"/>
                <a:ea typeface="+mn-ea"/>
                <a:cs typeface="+mn-cs"/>
              </a:endParaRPr>
            </a:p>
          </p:txBody>
        </p:sp>
        <p:cxnSp>
          <p:nvCxnSpPr>
            <p:cNvPr id="19" name="Connecteur droit 18">
              <a:extLst>
                <a:ext uri="{FF2B5EF4-FFF2-40B4-BE49-F238E27FC236}">
                  <a16:creationId xmlns:a16="http://schemas.microsoft.com/office/drawing/2014/main" id="{17E31BD6-27C9-51D8-6AE5-FDBF99BFF8BE}"/>
                </a:ext>
              </a:extLst>
            </p:cNvPr>
            <p:cNvCxnSpPr>
              <a:cxnSpLocks/>
              <a:endCxn id="2" idx="0"/>
            </p:cNvCxnSpPr>
            <p:nvPr/>
          </p:nvCxnSpPr>
          <p:spPr>
            <a:xfrm flipV="1">
              <a:off x="4292606" y="3917625"/>
              <a:ext cx="980674" cy="1077794"/>
            </a:xfrm>
            <a:prstGeom prst="line">
              <a:avLst/>
            </a:prstGeom>
            <a:ln cap="rnd"/>
            <a:effectLst/>
          </p:spPr>
          <p:style>
            <a:lnRef idx="2">
              <a:schemeClr val="accent1"/>
            </a:lnRef>
            <a:fillRef idx="0">
              <a:schemeClr val="accent1"/>
            </a:fillRef>
            <a:effectRef idx="1">
              <a:schemeClr val="accent1"/>
            </a:effectRef>
            <a:fontRef idx="minor">
              <a:schemeClr val="tx1"/>
            </a:fontRef>
          </p:style>
        </p:cxnSp>
        <p:cxnSp>
          <p:nvCxnSpPr>
            <p:cNvPr id="27" name="Connecteur droit 26">
              <a:extLst>
                <a:ext uri="{FF2B5EF4-FFF2-40B4-BE49-F238E27FC236}">
                  <a16:creationId xmlns:a16="http://schemas.microsoft.com/office/drawing/2014/main" id="{29BAF1AA-7BAD-04A4-5CC6-25F403EC7D51}"/>
                </a:ext>
              </a:extLst>
            </p:cNvPr>
            <p:cNvCxnSpPr>
              <a:cxnSpLocks/>
            </p:cNvCxnSpPr>
            <p:nvPr/>
          </p:nvCxnSpPr>
          <p:spPr>
            <a:xfrm>
              <a:off x="2221884" y="4995419"/>
              <a:ext cx="2073897" cy="0"/>
            </a:xfrm>
            <a:prstGeom prst="line">
              <a:avLst/>
            </a:prstGeom>
            <a:ln cap="rnd"/>
            <a:effectLst/>
          </p:spPr>
          <p:style>
            <a:lnRef idx="2">
              <a:schemeClr val="accent1"/>
            </a:lnRef>
            <a:fillRef idx="0">
              <a:schemeClr val="accent1"/>
            </a:fillRef>
            <a:effectRef idx="1">
              <a:schemeClr val="accent1"/>
            </a:effectRef>
            <a:fontRef idx="minor">
              <a:schemeClr val="tx1"/>
            </a:fontRef>
          </p:style>
        </p:cxnSp>
        <p:sp>
          <p:nvSpPr>
            <p:cNvPr id="30" name="ZoneTexte 29">
              <a:extLst>
                <a:ext uri="{FF2B5EF4-FFF2-40B4-BE49-F238E27FC236}">
                  <a16:creationId xmlns:a16="http://schemas.microsoft.com/office/drawing/2014/main" id="{9079C798-2D89-A7FF-2259-26375027A330}"/>
                </a:ext>
              </a:extLst>
            </p:cNvPr>
            <p:cNvSpPr txBox="1"/>
            <p:nvPr/>
          </p:nvSpPr>
          <p:spPr>
            <a:xfrm>
              <a:off x="2221884" y="4533754"/>
              <a:ext cx="1262618" cy="461665"/>
            </a:xfrm>
            <a:prstGeom prst="rect">
              <a:avLst/>
            </a:prstGeom>
            <a:noFill/>
            <a:effectLst/>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F3F3F"/>
                  </a:solidFill>
                  <a:effectLst/>
                  <a:uLnTx/>
                  <a:uFillTx/>
                  <a:latin typeface="Vinci Sans Light"/>
                  <a:ea typeface="+mn-ea"/>
                  <a:cs typeface="+mn-cs"/>
                </a:rPr>
                <a:t>Scenario 2</a:t>
              </a:r>
            </a:p>
            <a:p>
              <a:pPr marL="342900" marR="0" lvl="0" indent="-34290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3F3F"/>
                  </a:solidFill>
                  <a:effectLst/>
                  <a:uLnTx/>
                  <a:uFillTx/>
                  <a:latin typeface="Vinci Sans Light"/>
                  <a:ea typeface="+mn-ea"/>
                  <a:cs typeface="+mn-cs"/>
                </a:rPr>
                <a:t>Self-service BI</a:t>
              </a:r>
              <a:endParaRPr kumimoji="0" lang="en-US" sz="1200" b="1" i="0" u="none" strike="noStrike" kern="1200" cap="none" spc="0" normalizeH="0" baseline="0" noProof="0">
                <a:ln>
                  <a:noFill/>
                </a:ln>
                <a:solidFill>
                  <a:srgbClr val="3F3F3F"/>
                </a:solidFill>
                <a:effectLst/>
                <a:uLnTx/>
                <a:uFillTx/>
                <a:latin typeface="Vinci Sans Light"/>
                <a:ea typeface="+mn-ea"/>
                <a:cs typeface="+mn-cs"/>
              </a:endParaRPr>
            </a:p>
          </p:txBody>
        </p:sp>
        <p:cxnSp>
          <p:nvCxnSpPr>
            <p:cNvPr id="31" name="Connecteur droit 30">
              <a:extLst>
                <a:ext uri="{FF2B5EF4-FFF2-40B4-BE49-F238E27FC236}">
                  <a16:creationId xmlns:a16="http://schemas.microsoft.com/office/drawing/2014/main" id="{A51DF8C1-8AE7-6BE7-DFB5-29D3FD804394}"/>
                </a:ext>
              </a:extLst>
            </p:cNvPr>
            <p:cNvCxnSpPr>
              <a:cxnSpLocks/>
              <a:endCxn id="2" idx="3"/>
            </p:cNvCxnSpPr>
            <p:nvPr/>
          </p:nvCxnSpPr>
          <p:spPr>
            <a:xfrm flipH="1" flipV="1">
              <a:off x="6454199" y="3917625"/>
              <a:ext cx="1045864" cy="1077794"/>
            </a:xfrm>
            <a:prstGeom prst="line">
              <a:avLst/>
            </a:prstGeom>
            <a:ln cap="rnd"/>
            <a:effectLst/>
          </p:spPr>
          <p:style>
            <a:lnRef idx="2">
              <a:schemeClr val="accent1"/>
            </a:lnRef>
            <a:fillRef idx="0">
              <a:schemeClr val="accent1"/>
            </a:fillRef>
            <a:effectRef idx="1">
              <a:schemeClr val="accent1"/>
            </a:effectRef>
            <a:fontRef idx="minor">
              <a:schemeClr val="tx1"/>
            </a:fontRef>
          </p:style>
        </p:cxnSp>
        <p:cxnSp>
          <p:nvCxnSpPr>
            <p:cNvPr id="34" name="Connecteur droit 33">
              <a:extLst>
                <a:ext uri="{FF2B5EF4-FFF2-40B4-BE49-F238E27FC236}">
                  <a16:creationId xmlns:a16="http://schemas.microsoft.com/office/drawing/2014/main" id="{C8ECC714-B92F-23BD-C288-9B15794E799A}"/>
                </a:ext>
              </a:extLst>
            </p:cNvPr>
            <p:cNvCxnSpPr>
              <a:cxnSpLocks/>
            </p:cNvCxnSpPr>
            <p:nvPr/>
          </p:nvCxnSpPr>
          <p:spPr>
            <a:xfrm>
              <a:off x="7500063" y="4995419"/>
              <a:ext cx="2073897" cy="0"/>
            </a:xfrm>
            <a:prstGeom prst="line">
              <a:avLst/>
            </a:prstGeom>
            <a:ln cap="rnd"/>
            <a:effectLst/>
          </p:spPr>
          <p:style>
            <a:lnRef idx="2">
              <a:schemeClr val="accent1"/>
            </a:lnRef>
            <a:fillRef idx="0">
              <a:schemeClr val="accent1"/>
            </a:fillRef>
            <a:effectRef idx="1">
              <a:schemeClr val="accent1"/>
            </a:effectRef>
            <a:fontRef idx="minor">
              <a:schemeClr val="tx1"/>
            </a:fontRef>
          </p:style>
        </p:cxnSp>
        <p:cxnSp>
          <p:nvCxnSpPr>
            <p:cNvPr id="35" name="Connecteur droit 34">
              <a:extLst>
                <a:ext uri="{FF2B5EF4-FFF2-40B4-BE49-F238E27FC236}">
                  <a16:creationId xmlns:a16="http://schemas.microsoft.com/office/drawing/2014/main" id="{EB141507-B30E-5CD1-9B49-338599A4A311}"/>
                </a:ext>
              </a:extLst>
            </p:cNvPr>
            <p:cNvCxnSpPr>
              <a:cxnSpLocks/>
              <a:endCxn id="2" idx="3"/>
            </p:cNvCxnSpPr>
            <p:nvPr/>
          </p:nvCxnSpPr>
          <p:spPr>
            <a:xfrm flipH="1">
              <a:off x="6454199" y="2940375"/>
              <a:ext cx="1118935" cy="977250"/>
            </a:xfrm>
            <a:prstGeom prst="line">
              <a:avLst/>
            </a:prstGeom>
            <a:ln cap="rnd"/>
            <a:effectLst/>
          </p:spPr>
          <p:style>
            <a:lnRef idx="2">
              <a:schemeClr val="accent1"/>
            </a:lnRef>
            <a:fillRef idx="0">
              <a:schemeClr val="accent1"/>
            </a:fillRef>
            <a:effectRef idx="1">
              <a:schemeClr val="accent1"/>
            </a:effectRef>
            <a:fontRef idx="minor">
              <a:schemeClr val="tx1"/>
            </a:fontRef>
          </p:style>
        </p:cxnSp>
        <p:cxnSp>
          <p:nvCxnSpPr>
            <p:cNvPr id="38" name="Connecteur droit 37">
              <a:extLst>
                <a:ext uri="{FF2B5EF4-FFF2-40B4-BE49-F238E27FC236}">
                  <a16:creationId xmlns:a16="http://schemas.microsoft.com/office/drawing/2014/main" id="{42F75F3B-04F2-E46D-023A-221EB5BBD409}"/>
                </a:ext>
              </a:extLst>
            </p:cNvPr>
            <p:cNvCxnSpPr>
              <a:cxnSpLocks/>
            </p:cNvCxnSpPr>
            <p:nvPr/>
          </p:nvCxnSpPr>
          <p:spPr>
            <a:xfrm>
              <a:off x="7573134" y="2940376"/>
              <a:ext cx="1979629" cy="0"/>
            </a:xfrm>
            <a:prstGeom prst="line">
              <a:avLst/>
            </a:prstGeom>
            <a:ln cap="rnd"/>
            <a:effectLst/>
          </p:spPr>
          <p:style>
            <a:lnRef idx="2">
              <a:schemeClr val="accent1"/>
            </a:lnRef>
            <a:fillRef idx="0">
              <a:schemeClr val="accent1"/>
            </a:fillRef>
            <a:effectRef idx="1">
              <a:schemeClr val="accent1"/>
            </a:effectRef>
            <a:fontRef idx="minor">
              <a:schemeClr val="tx1"/>
            </a:fontRef>
          </p:style>
        </p:cxnSp>
        <p:sp>
          <p:nvSpPr>
            <p:cNvPr id="46" name="ZoneTexte 45">
              <a:extLst>
                <a:ext uri="{FF2B5EF4-FFF2-40B4-BE49-F238E27FC236}">
                  <a16:creationId xmlns:a16="http://schemas.microsoft.com/office/drawing/2014/main" id="{A7389AB1-2AFA-FBD3-0DBE-8BDC5703BF77}"/>
                </a:ext>
              </a:extLst>
            </p:cNvPr>
            <p:cNvSpPr txBox="1"/>
            <p:nvPr/>
          </p:nvSpPr>
          <p:spPr>
            <a:xfrm>
              <a:off x="7919952" y="4533754"/>
              <a:ext cx="1654008" cy="461665"/>
            </a:xfrm>
            <a:prstGeom prst="rect">
              <a:avLst/>
            </a:prstGeom>
            <a:noFill/>
            <a:effectLst/>
          </p:spPr>
          <p:txBody>
            <a:bodyPr wrap="square" lIns="91440" tIns="45720" rIns="91440" bIns="4572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F3F3F"/>
                  </a:solidFill>
                  <a:effectLst/>
                  <a:uLnTx/>
                  <a:uFillTx/>
                  <a:latin typeface="Vinci Sans Light"/>
                  <a:ea typeface="+mn-ea"/>
                  <a:cs typeface="Arial"/>
                </a:rPr>
                <a:t>Scenario 4</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3F3F"/>
                  </a:solidFill>
                  <a:effectLst/>
                  <a:uLnTx/>
                  <a:uFillTx/>
                  <a:latin typeface="Vinci Sans Light"/>
                  <a:ea typeface="+mn-ea"/>
                  <a:cs typeface="+mn-cs"/>
                </a:rPr>
                <a:t>Application integration </a:t>
              </a:r>
              <a:endParaRPr kumimoji="0" lang="fr-FR" sz="1200" b="0" i="0" u="none" strike="noStrike" kern="1200" cap="none" spc="0" normalizeH="0" baseline="0" noProof="0">
                <a:ln>
                  <a:noFill/>
                </a:ln>
                <a:solidFill>
                  <a:srgbClr val="3F3F3F"/>
                </a:solidFill>
                <a:effectLst/>
                <a:uLnTx/>
                <a:uFillTx/>
                <a:latin typeface="Vinci Sans Light"/>
                <a:ea typeface="+mn-ea"/>
                <a:cs typeface="+mn-cs"/>
              </a:endParaRPr>
            </a:p>
          </p:txBody>
        </p:sp>
        <p:sp>
          <p:nvSpPr>
            <p:cNvPr id="48" name="ZoneTexte 47">
              <a:extLst>
                <a:ext uri="{FF2B5EF4-FFF2-40B4-BE49-F238E27FC236}">
                  <a16:creationId xmlns:a16="http://schemas.microsoft.com/office/drawing/2014/main" id="{1D4E904A-0D32-B84D-F3D2-6010E67E2D62}"/>
                </a:ext>
              </a:extLst>
            </p:cNvPr>
            <p:cNvSpPr txBox="1"/>
            <p:nvPr/>
          </p:nvSpPr>
          <p:spPr>
            <a:xfrm>
              <a:off x="8241358" y="2478711"/>
              <a:ext cx="1311405" cy="461665"/>
            </a:xfrm>
            <a:prstGeom prst="rect">
              <a:avLst/>
            </a:prstGeom>
            <a:noFill/>
            <a:effectLst/>
          </p:spPr>
          <p:txBody>
            <a:bodyPr wrap="square" lIns="91440" tIns="45720" rIns="91440" bIns="4572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F3F3F"/>
                  </a:solidFill>
                  <a:effectLst/>
                  <a:uLnTx/>
                  <a:uFillTx/>
                  <a:latin typeface="Vinci Sans Light"/>
                  <a:ea typeface="+mn-ea"/>
                  <a:cs typeface="Arial"/>
                </a:rPr>
                <a:t>Scenario 1</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F3F3F"/>
                  </a:solidFill>
                  <a:effectLst/>
                  <a:uLnTx/>
                  <a:uFillTx/>
                  <a:latin typeface="Vinci Sans Light"/>
                  <a:ea typeface="+mn-ea"/>
                  <a:cs typeface="Arial"/>
                </a:rPr>
                <a:t>Existing Reporting</a:t>
              </a:r>
              <a:endParaRPr kumimoji="0" lang="fr-FR" sz="1200" b="0" i="0" u="none" strike="noStrike" kern="1200" cap="none" spc="0" normalizeH="0" baseline="0" noProof="0">
                <a:ln>
                  <a:noFill/>
                </a:ln>
                <a:solidFill>
                  <a:srgbClr val="3F3F3F"/>
                </a:solidFill>
                <a:effectLst/>
                <a:uLnTx/>
                <a:uFillTx/>
                <a:latin typeface="Vinci Sans Light"/>
                <a:ea typeface="+mn-ea"/>
                <a:cs typeface="+mn-cs"/>
              </a:endParaRPr>
            </a:p>
          </p:txBody>
        </p:sp>
        <p:grpSp>
          <p:nvGrpSpPr>
            <p:cNvPr id="14" name="Groupe 13">
              <a:extLst>
                <a:ext uri="{FF2B5EF4-FFF2-40B4-BE49-F238E27FC236}">
                  <a16:creationId xmlns:a16="http://schemas.microsoft.com/office/drawing/2014/main" id="{D2002952-D5A1-13BE-BAC0-971DF99D3C4F}"/>
                </a:ext>
              </a:extLst>
            </p:cNvPr>
            <p:cNvGrpSpPr/>
            <p:nvPr/>
          </p:nvGrpSpPr>
          <p:grpSpPr>
            <a:xfrm>
              <a:off x="9767658" y="2397368"/>
              <a:ext cx="1011567" cy="871032"/>
              <a:chOff x="7252404" y="1872090"/>
              <a:chExt cx="1011567" cy="871032"/>
            </a:xfrm>
            <a:effectLst/>
          </p:grpSpPr>
          <p:sp>
            <p:nvSpPr>
              <p:cNvPr id="9" name="ZoneTexte 8">
                <a:extLst>
                  <a:ext uri="{FF2B5EF4-FFF2-40B4-BE49-F238E27FC236}">
                    <a16:creationId xmlns:a16="http://schemas.microsoft.com/office/drawing/2014/main" id="{664B0E12-65F8-3DD6-2B8B-445F842943A5}"/>
                  </a:ext>
                </a:extLst>
              </p:cNvPr>
              <p:cNvSpPr txBox="1"/>
              <p:nvPr/>
            </p:nvSpPr>
            <p:spPr>
              <a:xfrm>
                <a:off x="7252404" y="2516531"/>
                <a:ext cx="1011567" cy="226591"/>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a:ln>
                      <a:noFill/>
                    </a:ln>
                    <a:solidFill>
                      <a:srgbClr val="3F3F3F"/>
                    </a:solidFill>
                    <a:effectLst/>
                    <a:uLnTx/>
                    <a:uFillTx/>
                    <a:latin typeface="Vinci Sans Light"/>
                    <a:ea typeface="+mn-ea"/>
                    <a:cs typeface="+mn-cs"/>
                  </a:rPr>
                  <a:t>Business user</a:t>
                </a:r>
              </a:p>
            </p:txBody>
          </p:sp>
          <p:sp>
            <p:nvSpPr>
              <p:cNvPr id="10" name="Ellipse 9">
                <a:extLst>
                  <a:ext uri="{FF2B5EF4-FFF2-40B4-BE49-F238E27FC236}">
                    <a16:creationId xmlns:a16="http://schemas.microsoft.com/office/drawing/2014/main" id="{228CF877-E821-B961-E660-5BF69D4E52BB}"/>
                  </a:ext>
                </a:extLst>
              </p:cNvPr>
              <p:cNvSpPr/>
              <p:nvPr/>
            </p:nvSpPr>
            <p:spPr>
              <a:xfrm>
                <a:off x="7435967" y="1872090"/>
                <a:ext cx="644441" cy="644441"/>
              </a:xfrm>
              <a:prstGeom prst="ellipse">
                <a:avLst/>
              </a:prstGeom>
              <a:solidFill>
                <a:srgbClr val="86D5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Graphik" panose="020B0503030202060203" pitchFamily="34" charset="0"/>
                  <a:ea typeface="+mn-ea"/>
                  <a:cs typeface="+mn-cs"/>
                </a:endParaRPr>
              </a:p>
            </p:txBody>
          </p:sp>
          <p:pic>
            <p:nvPicPr>
              <p:cNvPr id="13" name="Picture 74" descr="A picture containing vector graphics&#10;&#10;Description automatically generated">
                <a:extLst>
                  <a:ext uri="{FF2B5EF4-FFF2-40B4-BE49-F238E27FC236}">
                    <a16:creationId xmlns:a16="http://schemas.microsoft.com/office/drawing/2014/main" id="{3DE083B8-F67B-D902-ABFB-9A18CAAACC9B}"/>
                  </a:ext>
                </a:extLst>
              </p:cNvPr>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488187" y="1924310"/>
                <a:ext cx="540000" cy="540000"/>
              </a:xfrm>
              <a:prstGeom prst="rect">
                <a:avLst/>
              </a:prstGeom>
              <a:noFill/>
            </p:spPr>
          </p:pic>
        </p:grpSp>
        <p:grpSp>
          <p:nvGrpSpPr>
            <p:cNvPr id="20" name="Groupe 19">
              <a:extLst>
                <a:ext uri="{FF2B5EF4-FFF2-40B4-BE49-F238E27FC236}">
                  <a16:creationId xmlns:a16="http://schemas.microsoft.com/office/drawing/2014/main" id="{20E1FEC4-9CD0-017F-2A4F-966D0BBDFE88}"/>
                </a:ext>
              </a:extLst>
            </p:cNvPr>
            <p:cNvGrpSpPr/>
            <p:nvPr/>
          </p:nvGrpSpPr>
          <p:grpSpPr>
            <a:xfrm>
              <a:off x="9755081" y="4116434"/>
              <a:ext cx="987018" cy="855645"/>
              <a:chOff x="8711325" y="2527877"/>
              <a:chExt cx="987018" cy="855645"/>
            </a:xfrm>
            <a:effectLst/>
          </p:grpSpPr>
          <p:sp>
            <p:nvSpPr>
              <p:cNvPr id="15" name="Ellipse 14">
                <a:extLst>
                  <a:ext uri="{FF2B5EF4-FFF2-40B4-BE49-F238E27FC236}">
                    <a16:creationId xmlns:a16="http://schemas.microsoft.com/office/drawing/2014/main" id="{53DC15E8-C33F-6A8E-7F6A-E534F5CE363F}"/>
                  </a:ext>
                </a:extLst>
              </p:cNvPr>
              <p:cNvSpPr/>
              <p:nvPr/>
            </p:nvSpPr>
            <p:spPr>
              <a:xfrm>
                <a:off x="8882614" y="2527877"/>
                <a:ext cx="644441" cy="644441"/>
              </a:xfrm>
              <a:prstGeom prst="ellipse">
                <a:avLst/>
              </a:prstGeom>
              <a:solidFill>
                <a:srgbClr val="86D5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Graphik" panose="020B0503030202060203" pitchFamily="34" charset="0"/>
                  <a:ea typeface="+mn-ea"/>
                  <a:cs typeface="+mn-cs"/>
                </a:endParaRPr>
              </a:p>
            </p:txBody>
          </p:sp>
          <p:sp>
            <p:nvSpPr>
              <p:cNvPr id="16" name="ZoneTexte 15">
                <a:extLst>
                  <a:ext uri="{FF2B5EF4-FFF2-40B4-BE49-F238E27FC236}">
                    <a16:creationId xmlns:a16="http://schemas.microsoft.com/office/drawing/2014/main" id="{6101C914-26AA-95E1-03E7-DE9A37CC3AE8}"/>
                  </a:ext>
                </a:extLst>
              </p:cNvPr>
              <p:cNvSpPr txBox="1"/>
              <p:nvPr/>
            </p:nvSpPr>
            <p:spPr>
              <a:xfrm>
                <a:off x="8711325" y="3156931"/>
                <a:ext cx="987018" cy="226591"/>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a:ln>
                      <a:noFill/>
                    </a:ln>
                    <a:solidFill>
                      <a:srgbClr val="3F3F3F"/>
                    </a:solidFill>
                    <a:effectLst/>
                    <a:uLnTx/>
                    <a:uFillTx/>
                    <a:latin typeface="Vinci Sans Light"/>
                    <a:ea typeface="+mn-ea"/>
                    <a:cs typeface="+mn-cs"/>
                  </a:rPr>
                  <a:t>Data Engineer</a:t>
                </a:r>
              </a:p>
            </p:txBody>
          </p:sp>
          <p:pic>
            <p:nvPicPr>
              <p:cNvPr id="18" name="Picture 10" descr="Image result for people icon transparent">
                <a:extLst>
                  <a:ext uri="{FF2B5EF4-FFF2-40B4-BE49-F238E27FC236}">
                    <a16:creationId xmlns:a16="http://schemas.microsoft.com/office/drawing/2014/main" id="{4D465A56-E088-9783-8B98-A0C8E406341C}"/>
                  </a:ext>
                </a:extLst>
              </p:cNvPr>
              <p:cNvPicPr>
                <a:picLocks noChangeAspect="1" noChangeArrowheads="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934834" y="2580097"/>
                <a:ext cx="540000" cy="540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2" name="Groupe 31">
              <a:extLst>
                <a:ext uri="{FF2B5EF4-FFF2-40B4-BE49-F238E27FC236}">
                  <a16:creationId xmlns:a16="http://schemas.microsoft.com/office/drawing/2014/main" id="{7C525A05-D680-F88F-CA56-96423C3A4C0C}"/>
                </a:ext>
              </a:extLst>
            </p:cNvPr>
            <p:cNvGrpSpPr/>
            <p:nvPr/>
          </p:nvGrpSpPr>
          <p:grpSpPr>
            <a:xfrm>
              <a:off x="9546318" y="5036087"/>
              <a:ext cx="1404544" cy="871032"/>
              <a:chOff x="9643114" y="5041139"/>
              <a:chExt cx="1404544" cy="871032"/>
            </a:xfrm>
            <a:effectLst/>
          </p:grpSpPr>
          <p:sp>
            <p:nvSpPr>
              <p:cNvPr id="26" name="ZoneTexte 25">
                <a:extLst>
                  <a:ext uri="{FF2B5EF4-FFF2-40B4-BE49-F238E27FC236}">
                    <a16:creationId xmlns:a16="http://schemas.microsoft.com/office/drawing/2014/main" id="{1E4A0514-D0B6-6280-7429-73142D8C7469}"/>
                  </a:ext>
                </a:extLst>
              </p:cNvPr>
              <p:cNvSpPr txBox="1"/>
              <p:nvPr/>
            </p:nvSpPr>
            <p:spPr>
              <a:xfrm>
                <a:off x="9643114" y="5685580"/>
                <a:ext cx="1404544" cy="226591"/>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a:ln>
                      <a:noFill/>
                    </a:ln>
                    <a:solidFill>
                      <a:srgbClr val="3F3F3F"/>
                    </a:solidFill>
                    <a:effectLst/>
                    <a:uLnTx/>
                    <a:uFillTx/>
                    <a:latin typeface="Vinci Sans Light"/>
                    <a:ea typeface="+mn-ea"/>
                    <a:cs typeface="+mn-cs"/>
                  </a:rPr>
                  <a:t>Application Developer</a:t>
                </a:r>
              </a:p>
            </p:txBody>
          </p:sp>
          <p:sp>
            <p:nvSpPr>
              <p:cNvPr id="28" name="Ellipse 27">
                <a:extLst>
                  <a:ext uri="{FF2B5EF4-FFF2-40B4-BE49-F238E27FC236}">
                    <a16:creationId xmlns:a16="http://schemas.microsoft.com/office/drawing/2014/main" id="{7F4B4739-7A1C-376F-0A23-0CBE8957DB25}"/>
                  </a:ext>
                </a:extLst>
              </p:cNvPr>
              <p:cNvSpPr/>
              <p:nvPr/>
            </p:nvSpPr>
            <p:spPr>
              <a:xfrm>
                <a:off x="10023166" y="5041139"/>
                <a:ext cx="644441" cy="644441"/>
              </a:xfrm>
              <a:prstGeom prst="ellipse">
                <a:avLst/>
              </a:prstGeom>
              <a:solidFill>
                <a:srgbClr val="86D5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Graphik" panose="020B0503030202060203" pitchFamily="34" charset="0"/>
                  <a:ea typeface="+mn-ea"/>
                  <a:cs typeface="+mn-cs"/>
                </a:endParaRPr>
              </a:p>
            </p:txBody>
          </p:sp>
          <p:pic>
            <p:nvPicPr>
              <p:cNvPr id="29" name="Image 28">
                <a:extLst>
                  <a:ext uri="{FF2B5EF4-FFF2-40B4-BE49-F238E27FC236}">
                    <a16:creationId xmlns:a16="http://schemas.microsoft.com/office/drawing/2014/main" id="{5D63B214-3ECD-12AA-1E41-4DABC793625D}"/>
                  </a:ext>
                </a:extLst>
              </p:cNvPr>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075386" y="5093359"/>
                <a:ext cx="540000" cy="540000"/>
              </a:xfrm>
              <a:prstGeom prst="rect">
                <a:avLst/>
              </a:prstGeom>
            </p:spPr>
          </p:pic>
        </p:grpSp>
        <p:grpSp>
          <p:nvGrpSpPr>
            <p:cNvPr id="47" name="Groupe 46">
              <a:extLst>
                <a:ext uri="{FF2B5EF4-FFF2-40B4-BE49-F238E27FC236}">
                  <a16:creationId xmlns:a16="http://schemas.microsoft.com/office/drawing/2014/main" id="{65E6541C-F985-5E3A-0478-9CB20FC71C66}"/>
                </a:ext>
              </a:extLst>
            </p:cNvPr>
            <p:cNvGrpSpPr/>
            <p:nvPr/>
          </p:nvGrpSpPr>
          <p:grpSpPr>
            <a:xfrm>
              <a:off x="787648" y="4660585"/>
              <a:ext cx="1195447" cy="871032"/>
              <a:chOff x="927533" y="4612790"/>
              <a:chExt cx="1195447" cy="871032"/>
            </a:xfrm>
            <a:effectLst/>
          </p:grpSpPr>
          <p:sp>
            <p:nvSpPr>
              <p:cNvPr id="36" name="ZoneTexte 35">
                <a:extLst>
                  <a:ext uri="{FF2B5EF4-FFF2-40B4-BE49-F238E27FC236}">
                    <a16:creationId xmlns:a16="http://schemas.microsoft.com/office/drawing/2014/main" id="{29796990-BB54-3BED-B3CC-2E5446E3F207}"/>
                  </a:ext>
                </a:extLst>
              </p:cNvPr>
              <p:cNvSpPr txBox="1"/>
              <p:nvPr/>
            </p:nvSpPr>
            <p:spPr>
              <a:xfrm>
                <a:off x="927533" y="5257231"/>
                <a:ext cx="1195447" cy="226591"/>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a:ln>
                      <a:noFill/>
                    </a:ln>
                    <a:solidFill>
                      <a:srgbClr val="3F3F3F"/>
                    </a:solidFill>
                    <a:effectLst/>
                    <a:uLnTx/>
                    <a:uFillTx/>
                    <a:latin typeface="Vinci Sans Light"/>
                    <a:ea typeface="+mn-ea"/>
                    <a:cs typeface="+mn-cs"/>
                  </a:rPr>
                  <a:t>Citizen Data Analyst</a:t>
                </a:r>
              </a:p>
            </p:txBody>
          </p:sp>
          <p:sp>
            <p:nvSpPr>
              <p:cNvPr id="37" name="Ellipse 36">
                <a:extLst>
                  <a:ext uri="{FF2B5EF4-FFF2-40B4-BE49-F238E27FC236}">
                    <a16:creationId xmlns:a16="http://schemas.microsoft.com/office/drawing/2014/main" id="{2EFC4736-B5D3-10C0-A6C8-BB91A43223B4}"/>
                  </a:ext>
                </a:extLst>
              </p:cNvPr>
              <p:cNvSpPr/>
              <p:nvPr/>
            </p:nvSpPr>
            <p:spPr>
              <a:xfrm>
                <a:off x="1203036" y="4612790"/>
                <a:ext cx="644441" cy="644441"/>
              </a:xfrm>
              <a:prstGeom prst="ellipse">
                <a:avLst/>
              </a:prstGeom>
              <a:solidFill>
                <a:srgbClr val="86D5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Graphik" panose="020B0503030202060203" pitchFamily="34" charset="0"/>
                  <a:ea typeface="+mn-ea"/>
                  <a:cs typeface="+mn-cs"/>
                </a:endParaRPr>
              </a:p>
            </p:txBody>
          </p:sp>
          <p:pic>
            <p:nvPicPr>
              <p:cNvPr id="45" name="Image 44">
                <a:extLst>
                  <a:ext uri="{FF2B5EF4-FFF2-40B4-BE49-F238E27FC236}">
                    <a16:creationId xmlns:a16="http://schemas.microsoft.com/office/drawing/2014/main" id="{9946EC44-66DD-35D4-3F77-37808F41167B}"/>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255256" y="4665010"/>
                <a:ext cx="540000" cy="540000"/>
              </a:xfrm>
              <a:prstGeom prst="rect">
                <a:avLst/>
              </a:prstGeom>
            </p:spPr>
          </p:pic>
        </p:grpSp>
        <p:grpSp>
          <p:nvGrpSpPr>
            <p:cNvPr id="3" name="Groupe 2">
              <a:extLst>
                <a:ext uri="{FF2B5EF4-FFF2-40B4-BE49-F238E27FC236}">
                  <a16:creationId xmlns:a16="http://schemas.microsoft.com/office/drawing/2014/main" id="{38ADBF86-EF84-496C-9EA9-8D7D1C843D89}"/>
                </a:ext>
              </a:extLst>
            </p:cNvPr>
            <p:cNvGrpSpPr/>
            <p:nvPr/>
          </p:nvGrpSpPr>
          <p:grpSpPr>
            <a:xfrm>
              <a:off x="769354" y="2074164"/>
              <a:ext cx="1291610" cy="1356187"/>
              <a:chOff x="826504" y="2100916"/>
              <a:chExt cx="1291610" cy="1356187"/>
            </a:xfrm>
          </p:grpSpPr>
          <p:sp>
            <p:nvSpPr>
              <p:cNvPr id="52" name="ZoneTexte 51">
                <a:extLst>
                  <a:ext uri="{FF2B5EF4-FFF2-40B4-BE49-F238E27FC236}">
                    <a16:creationId xmlns:a16="http://schemas.microsoft.com/office/drawing/2014/main" id="{2E030950-57C3-B1B4-F716-0F4D3268F8C3}"/>
                  </a:ext>
                </a:extLst>
              </p:cNvPr>
              <p:cNvSpPr txBox="1"/>
              <p:nvPr/>
            </p:nvSpPr>
            <p:spPr>
              <a:xfrm>
                <a:off x="826504" y="2841550"/>
                <a:ext cx="1291610" cy="615553"/>
              </a:xfrm>
              <a:prstGeom prst="rect">
                <a:avLst/>
              </a:prstGeom>
              <a:noFill/>
              <a:effec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F3F3F"/>
                    </a:solidFill>
                    <a:effectLst/>
                    <a:uLnTx/>
                    <a:uFillTx/>
                    <a:latin typeface="Vinci Sans Light"/>
                    <a:ea typeface="+mn-ea"/>
                    <a:cs typeface="+mn-cs"/>
                  </a:rPr>
                  <a:t>Data Analy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F3F3F"/>
                    </a:solidFill>
                    <a:effectLst/>
                    <a:uLnTx/>
                    <a:uFillTx/>
                    <a:latin typeface="Vinci Sans Light"/>
                    <a:ea typeface="+mn-ea"/>
                    <a:cs typeface="+mn-cs"/>
                  </a:rPr>
                  <a:t>Data Analyst Advanc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F3F3F"/>
                    </a:solidFill>
                    <a:effectLst/>
                    <a:uLnTx/>
                    <a:uFillTx/>
                    <a:latin typeface="Vinci Sans Light"/>
                    <a:ea typeface="+mn-ea"/>
                    <a:cs typeface="+mn-cs"/>
                  </a:rPr>
                  <a:t>Data Scienti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F3F3F"/>
                    </a:solidFill>
                    <a:effectLst/>
                    <a:uLnTx/>
                    <a:uFillTx/>
                    <a:latin typeface="Vinci Sans Light"/>
                    <a:ea typeface="+mn-ea"/>
                    <a:cs typeface="+mn-cs"/>
                  </a:rPr>
                  <a:t>Data Engineer </a:t>
                </a:r>
              </a:p>
            </p:txBody>
          </p:sp>
          <p:grpSp>
            <p:nvGrpSpPr>
              <p:cNvPr id="76" name="Groupe 75">
                <a:extLst>
                  <a:ext uri="{FF2B5EF4-FFF2-40B4-BE49-F238E27FC236}">
                    <a16:creationId xmlns:a16="http://schemas.microsoft.com/office/drawing/2014/main" id="{5B7584F6-6518-83E1-3E18-DE83C384C254}"/>
                  </a:ext>
                </a:extLst>
              </p:cNvPr>
              <p:cNvGrpSpPr/>
              <p:nvPr/>
            </p:nvGrpSpPr>
            <p:grpSpPr>
              <a:xfrm>
                <a:off x="1050236" y="2100916"/>
                <a:ext cx="784570" cy="624634"/>
                <a:chOff x="5773780" y="1838325"/>
                <a:chExt cx="784570" cy="624634"/>
              </a:xfrm>
              <a:effectLst/>
            </p:grpSpPr>
            <p:grpSp>
              <p:nvGrpSpPr>
                <p:cNvPr id="77" name="Groupe 76">
                  <a:extLst>
                    <a:ext uri="{FF2B5EF4-FFF2-40B4-BE49-F238E27FC236}">
                      <a16:creationId xmlns:a16="http://schemas.microsoft.com/office/drawing/2014/main" id="{128AD6A0-9CC1-8A09-3789-5FAF7EBE5E21}"/>
                    </a:ext>
                  </a:extLst>
                </p:cNvPr>
                <p:cNvGrpSpPr/>
                <p:nvPr/>
              </p:nvGrpSpPr>
              <p:grpSpPr>
                <a:xfrm>
                  <a:off x="5937208" y="1838325"/>
                  <a:ext cx="457713" cy="457713"/>
                  <a:chOff x="6631030" y="1480147"/>
                  <a:chExt cx="644441" cy="644441"/>
                </a:xfrm>
              </p:grpSpPr>
              <p:sp>
                <p:nvSpPr>
                  <p:cNvPr id="84" name="Ellipse 83">
                    <a:extLst>
                      <a:ext uri="{FF2B5EF4-FFF2-40B4-BE49-F238E27FC236}">
                        <a16:creationId xmlns:a16="http://schemas.microsoft.com/office/drawing/2014/main" id="{1A7D46E0-B0C7-5A7D-3A0A-DBB87FADF3B7}"/>
                      </a:ext>
                    </a:extLst>
                  </p:cNvPr>
                  <p:cNvSpPr/>
                  <p:nvPr/>
                </p:nvSpPr>
                <p:spPr>
                  <a:xfrm>
                    <a:off x="6631030" y="1480147"/>
                    <a:ext cx="644441" cy="644441"/>
                  </a:xfrm>
                  <a:prstGeom prst="ellipse">
                    <a:avLst/>
                  </a:prstGeom>
                  <a:solidFill>
                    <a:srgbClr val="86D5A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Graphik" panose="020B0503030202060203" pitchFamily="34" charset="0"/>
                      <a:ea typeface="+mn-ea"/>
                      <a:cs typeface="+mn-cs"/>
                    </a:endParaRPr>
                  </a:p>
                </p:txBody>
              </p:sp>
              <p:pic>
                <p:nvPicPr>
                  <p:cNvPr id="85" name="Picture 29" descr="A picture containing clipart&#10;&#10;Description automatically generated">
                    <a:extLst>
                      <a:ext uri="{FF2B5EF4-FFF2-40B4-BE49-F238E27FC236}">
                        <a16:creationId xmlns:a16="http://schemas.microsoft.com/office/drawing/2014/main" id="{CF3C06B0-19BE-C5A5-A2CC-E3B906584523}"/>
                      </a:ext>
                    </a:extLst>
                  </p:cNvPr>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683250" y="1532367"/>
                    <a:ext cx="540000" cy="540000"/>
                  </a:xfrm>
                  <a:prstGeom prst="rect">
                    <a:avLst/>
                  </a:prstGeom>
                </p:spPr>
              </p:pic>
            </p:grpSp>
            <p:grpSp>
              <p:nvGrpSpPr>
                <p:cNvPr id="78" name="Groupe 77">
                  <a:extLst>
                    <a:ext uri="{FF2B5EF4-FFF2-40B4-BE49-F238E27FC236}">
                      <a16:creationId xmlns:a16="http://schemas.microsoft.com/office/drawing/2014/main" id="{1BA4AEBB-37F6-4961-071A-9580D6FBC0E7}"/>
                    </a:ext>
                  </a:extLst>
                </p:cNvPr>
                <p:cNvGrpSpPr/>
                <p:nvPr/>
              </p:nvGrpSpPr>
              <p:grpSpPr>
                <a:xfrm>
                  <a:off x="5773780" y="2005246"/>
                  <a:ext cx="457713" cy="457713"/>
                  <a:chOff x="5573755" y="1764175"/>
                  <a:chExt cx="644441" cy="644441"/>
                </a:xfrm>
              </p:grpSpPr>
              <p:sp>
                <p:nvSpPr>
                  <p:cNvPr id="82" name="Ellipse 81">
                    <a:extLst>
                      <a:ext uri="{FF2B5EF4-FFF2-40B4-BE49-F238E27FC236}">
                        <a16:creationId xmlns:a16="http://schemas.microsoft.com/office/drawing/2014/main" id="{1BE6BC66-E290-DFB3-4556-56446D716E43}"/>
                      </a:ext>
                    </a:extLst>
                  </p:cNvPr>
                  <p:cNvSpPr/>
                  <p:nvPr/>
                </p:nvSpPr>
                <p:spPr>
                  <a:xfrm>
                    <a:off x="5573755" y="1764175"/>
                    <a:ext cx="644441" cy="644441"/>
                  </a:xfrm>
                  <a:prstGeom prst="ellipse">
                    <a:avLst/>
                  </a:prstGeom>
                  <a:solidFill>
                    <a:srgbClr val="86D5A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Graphik" panose="020B0503030202060203" pitchFamily="34" charset="0"/>
                      <a:ea typeface="+mn-ea"/>
                      <a:cs typeface="+mn-cs"/>
                    </a:endParaRPr>
                  </a:p>
                </p:txBody>
              </p:sp>
              <p:pic>
                <p:nvPicPr>
                  <p:cNvPr id="83" name="Image 82">
                    <a:extLst>
                      <a:ext uri="{FF2B5EF4-FFF2-40B4-BE49-F238E27FC236}">
                        <a16:creationId xmlns:a16="http://schemas.microsoft.com/office/drawing/2014/main" id="{2B0AD642-11C9-1D09-F0A9-16EB4B0F3E6E}"/>
                      </a:ext>
                    </a:extLst>
                  </p:cNvPr>
                  <p:cNvPicPr>
                    <a:picLocks noChangeAspect="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625975" y="1816395"/>
                    <a:ext cx="540000" cy="540000"/>
                  </a:xfrm>
                  <a:prstGeom prst="rect">
                    <a:avLst/>
                  </a:prstGeom>
                  <a:noFill/>
                </p:spPr>
              </p:pic>
            </p:grpSp>
            <p:grpSp>
              <p:nvGrpSpPr>
                <p:cNvPr id="79" name="Groupe 78">
                  <a:extLst>
                    <a:ext uri="{FF2B5EF4-FFF2-40B4-BE49-F238E27FC236}">
                      <a16:creationId xmlns:a16="http://schemas.microsoft.com/office/drawing/2014/main" id="{CE1B6699-5CA7-842B-11E6-CB9232CEAAE1}"/>
                    </a:ext>
                  </a:extLst>
                </p:cNvPr>
                <p:cNvGrpSpPr/>
                <p:nvPr/>
              </p:nvGrpSpPr>
              <p:grpSpPr>
                <a:xfrm>
                  <a:off x="6100637" y="2005246"/>
                  <a:ext cx="457713" cy="457713"/>
                  <a:chOff x="7537747" y="1818518"/>
                  <a:chExt cx="644441" cy="644441"/>
                </a:xfrm>
              </p:grpSpPr>
              <p:sp>
                <p:nvSpPr>
                  <p:cNvPr id="80" name="Ellipse 79">
                    <a:extLst>
                      <a:ext uri="{FF2B5EF4-FFF2-40B4-BE49-F238E27FC236}">
                        <a16:creationId xmlns:a16="http://schemas.microsoft.com/office/drawing/2014/main" id="{1A861E47-3BBB-D4F1-5FE1-3A6102135C07}"/>
                      </a:ext>
                    </a:extLst>
                  </p:cNvPr>
                  <p:cNvSpPr/>
                  <p:nvPr/>
                </p:nvSpPr>
                <p:spPr>
                  <a:xfrm>
                    <a:off x="7537747" y="1818518"/>
                    <a:ext cx="644441" cy="644441"/>
                  </a:xfrm>
                  <a:prstGeom prst="ellipse">
                    <a:avLst/>
                  </a:prstGeom>
                  <a:solidFill>
                    <a:srgbClr val="86D5A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Graphik" panose="020B0503030202060203" pitchFamily="34" charset="0"/>
                      <a:ea typeface="+mn-ea"/>
                      <a:cs typeface="+mn-cs"/>
                    </a:endParaRPr>
                  </a:p>
                </p:txBody>
              </p:sp>
              <p:pic>
                <p:nvPicPr>
                  <p:cNvPr id="81" name="Image 80">
                    <a:extLst>
                      <a:ext uri="{FF2B5EF4-FFF2-40B4-BE49-F238E27FC236}">
                        <a16:creationId xmlns:a16="http://schemas.microsoft.com/office/drawing/2014/main" id="{806CEAFA-8B6C-FB88-B181-A53D49DD4810}"/>
                      </a:ext>
                    </a:extLst>
                  </p:cNvPr>
                  <p:cNvPicPr>
                    <a:picLocks noChangeAspect="1"/>
                  </p:cNvPicPr>
                  <p:nvPr/>
                </p:nvPicPr>
                <p:blipFill>
                  <a:blip r:embed="rId9">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589967" y="1872860"/>
                    <a:ext cx="540000" cy="535756"/>
                  </a:xfrm>
                  <a:prstGeom prst="rect">
                    <a:avLst/>
                  </a:prstGeom>
                </p:spPr>
              </p:pic>
            </p:grpSp>
          </p:grpSp>
        </p:grpSp>
        <p:sp>
          <p:nvSpPr>
            <p:cNvPr id="2" name="Forme libre : forme 1026">
              <a:extLst>
                <a:ext uri="{FF2B5EF4-FFF2-40B4-BE49-F238E27FC236}">
                  <a16:creationId xmlns:a16="http://schemas.microsoft.com/office/drawing/2014/main" id="{11D4BF61-893F-61E7-6193-FB6E88309D41}"/>
                </a:ext>
              </a:extLst>
            </p:cNvPr>
            <p:cNvSpPr/>
            <p:nvPr/>
          </p:nvSpPr>
          <p:spPr>
            <a:xfrm>
              <a:off x="5273280" y="3259035"/>
              <a:ext cx="1180919" cy="1317179"/>
            </a:xfrm>
            <a:custGeom>
              <a:avLst/>
              <a:gdLst>
                <a:gd name="connsiteX0" fmla="*/ 0 w 1639497"/>
                <a:gd name="connsiteY0" fmla="*/ 713181 h 1426362"/>
                <a:gd name="connsiteX1" fmla="*/ 356591 w 1639497"/>
                <a:gd name="connsiteY1" fmla="*/ 0 h 1426362"/>
                <a:gd name="connsiteX2" fmla="*/ 1282907 w 1639497"/>
                <a:gd name="connsiteY2" fmla="*/ 0 h 1426362"/>
                <a:gd name="connsiteX3" fmla="*/ 1639497 w 1639497"/>
                <a:gd name="connsiteY3" fmla="*/ 713181 h 1426362"/>
                <a:gd name="connsiteX4" fmla="*/ 1282907 w 1639497"/>
                <a:gd name="connsiteY4" fmla="*/ 1426362 h 1426362"/>
                <a:gd name="connsiteX5" fmla="*/ 356591 w 1639497"/>
                <a:gd name="connsiteY5" fmla="*/ 1426362 h 1426362"/>
                <a:gd name="connsiteX6" fmla="*/ 0 w 1639497"/>
                <a:gd name="connsiteY6" fmla="*/ 713181 h 1426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9497" h="1426362">
                  <a:moveTo>
                    <a:pt x="819749" y="0"/>
                  </a:moveTo>
                  <a:lnTo>
                    <a:pt x="1639496" y="310234"/>
                  </a:lnTo>
                  <a:lnTo>
                    <a:pt x="1639496" y="1116129"/>
                  </a:lnTo>
                  <a:lnTo>
                    <a:pt x="819749" y="1426362"/>
                  </a:lnTo>
                  <a:lnTo>
                    <a:pt x="1" y="1116129"/>
                  </a:lnTo>
                  <a:lnTo>
                    <a:pt x="1" y="310234"/>
                  </a:lnTo>
                  <a:lnTo>
                    <a:pt x="819749" y="0"/>
                  </a:lnTo>
                  <a:close/>
                </a:path>
              </a:pathLst>
            </a:custGeom>
            <a:ln w="12700">
              <a:noFill/>
            </a:ln>
            <a:effectLst/>
          </p:spPr>
          <p:style>
            <a:lnRef idx="2">
              <a:schemeClr val="lt1">
                <a:hueOff val="0"/>
                <a:satOff val="0"/>
                <a:lumOff val="0"/>
                <a:alphaOff val="0"/>
              </a:schemeClr>
            </a:lnRef>
            <a:fillRef idx="1">
              <a:schemeClr val="accent2">
                <a:shade val="50000"/>
                <a:hueOff val="136665"/>
                <a:satOff val="3645"/>
                <a:lumOff val="14627"/>
                <a:alphaOff val="0"/>
              </a:schemeClr>
            </a:fillRef>
            <a:effectRef idx="0">
              <a:schemeClr val="accent2">
                <a:shade val="50000"/>
                <a:hueOff val="136665"/>
                <a:satOff val="3645"/>
                <a:lumOff val="14627"/>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1600120" rtl="0" eaLnBrk="1" fontAlgn="auto" latinLnBrk="0" hangingPunct="1">
                <a:lnSpc>
                  <a:spcPct val="90000"/>
                </a:lnSpc>
                <a:spcBef>
                  <a:spcPts val="0"/>
                </a:spcBef>
                <a:spcAft>
                  <a:spcPct val="35000"/>
                </a:spcAft>
                <a:buClrTx/>
                <a:buSzTx/>
                <a:buFontTx/>
                <a:buNone/>
                <a:tabLst/>
                <a:defRPr/>
              </a:pPr>
              <a:r>
                <a:rPr kumimoji="0" lang="fr-FR" sz="1600" b="1" i="0" u="none" strike="noStrike" kern="1200" cap="none" spc="0" normalizeH="0" baseline="0" noProof="0">
                  <a:ln>
                    <a:noFill/>
                  </a:ln>
                  <a:solidFill>
                    <a:prstClr val="white"/>
                  </a:solidFill>
                  <a:effectLst/>
                  <a:uLnTx/>
                  <a:uFillTx/>
                  <a:latin typeface="Vinci Sans"/>
                  <a:ea typeface="+mn-ea"/>
                  <a:cs typeface="+mn-cs"/>
                </a:rPr>
                <a:t>DATA PRODUCTS</a:t>
              </a:r>
            </a:p>
          </p:txBody>
        </p:sp>
      </p:grpSp>
    </p:spTree>
    <p:extLst>
      <p:ext uri="{BB962C8B-B14F-4D97-AF65-F5344CB8AC3E}">
        <p14:creationId xmlns:p14="http://schemas.microsoft.com/office/powerpoint/2010/main" val="1876804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6EF0D43-1F73-88F0-9293-5730900A2F78}"/>
              </a:ext>
            </a:extLst>
          </p:cNvPr>
          <p:cNvSpPr>
            <a:spLocks noGrp="1"/>
          </p:cNvSpPr>
          <p:nvPr>
            <p:ph type="title"/>
          </p:nvPr>
        </p:nvSpPr>
        <p:spPr>
          <a:prstGeom prst="rect">
            <a:avLst/>
          </a:prstGeom>
        </p:spPr>
        <p:txBody>
          <a:bodyPr/>
          <a:lstStyle/>
          <a:p>
            <a:r>
              <a:rPr lang="en-US"/>
              <a:t>Processes</a:t>
            </a:r>
          </a:p>
        </p:txBody>
      </p:sp>
      <p:sp>
        <p:nvSpPr>
          <p:cNvPr id="7" name="Espace réservé du texte 5">
            <a:extLst>
              <a:ext uri="{FF2B5EF4-FFF2-40B4-BE49-F238E27FC236}">
                <a16:creationId xmlns:a16="http://schemas.microsoft.com/office/drawing/2014/main" id="{5D52ADAF-6AF8-F9B3-3D0F-1D177911953B}"/>
              </a:ext>
            </a:extLst>
          </p:cNvPr>
          <p:cNvSpPr>
            <a:spLocks noGrp="1"/>
          </p:cNvSpPr>
          <p:nvPr>
            <p:ph type="body" idx="1"/>
          </p:nvPr>
        </p:nvSpPr>
        <p:spPr>
          <a:prstGeom prst="rect">
            <a:avLst/>
          </a:prstGeom>
        </p:spPr>
        <p:txBody>
          <a:bodyPr/>
          <a:lstStyle/>
          <a:p>
            <a:endParaRPr lang="en-US"/>
          </a:p>
        </p:txBody>
      </p:sp>
      <p:graphicFrame>
        <p:nvGraphicFramePr>
          <p:cNvPr id="6" name="Tableau 6">
            <a:extLst>
              <a:ext uri="{FF2B5EF4-FFF2-40B4-BE49-F238E27FC236}">
                <a16:creationId xmlns:a16="http://schemas.microsoft.com/office/drawing/2014/main" id="{6DB8DD07-9BB9-4BDC-36AB-D649460E0178}"/>
              </a:ext>
            </a:extLst>
          </p:cNvPr>
          <p:cNvGraphicFramePr>
            <a:graphicFrameLocks noGrp="1"/>
          </p:cNvGraphicFramePr>
          <p:nvPr>
            <p:ph sz="half" idx="4294967295"/>
            <p:extLst>
              <p:ext uri="{D42A27DB-BD31-4B8C-83A1-F6EECF244321}">
                <p14:modId xmlns:p14="http://schemas.microsoft.com/office/powerpoint/2010/main" val="710066651"/>
              </p:ext>
            </p:extLst>
          </p:nvPr>
        </p:nvGraphicFramePr>
        <p:xfrm>
          <a:off x="846900" y="1835205"/>
          <a:ext cx="9668700" cy="3411167"/>
        </p:xfrm>
        <a:graphic>
          <a:graphicData uri="http://schemas.openxmlformats.org/drawingml/2006/table">
            <a:tbl>
              <a:tblPr firstRow="1">
                <a:tableStyleId>{5C22544A-7EE6-4342-B048-85BDC9FD1C3A}</a:tableStyleId>
              </a:tblPr>
              <a:tblGrid>
                <a:gridCol w="802031">
                  <a:extLst>
                    <a:ext uri="{9D8B030D-6E8A-4147-A177-3AD203B41FA5}">
                      <a16:colId xmlns:a16="http://schemas.microsoft.com/office/drawing/2014/main" val="148132581"/>
                    </a:ext>
                  </a:extLst>
                </a:gridCol>
                <a:gridCol w="712584">
                  <a:extLst>
                    <a:ext uri="{9D8B030D-6E8A-4147-A177-3AD203B41FA5}">
                      <a16:colId xmlns:a16="http://schemas.microsoft.com/office/drawing/2014/main" val="3365893185"/>
                    </a:ext>
                  </a:extLst>
                </a:gridCol>
                <a:gridCol w="8154085">
                  <a:extLst>
                    <a:ext uri="{9D8B030D-6E8A-4147-A177-3AD203B41FA5}">
                      <a16:colId xmlns:a16="http://schemas.microsoft.com/office/drawing/2014/main" val="1488188458"/>
                    </a:ext>
                  </a:extLst>
                </a:gridCol>
              </a:tblGrid>
              <a:tr h="384220">
                <a:tc>
                  <a:txBody>
                    <a:bodyPr/>
                    <a:lstStyle/>
                    <a:p>
                      <a:pPr algn="ctr"/>
                      <a:r>
                        <a:rPr lang="en-US" sz="1400"/>
                        <a:t>#</a:t>
                      </a:r>
                    </a:p>
                  </a:txBody>
                  <a:tcPr>
                    <a:solidFill>
                      <a:srgbClr val="7FD2D0"/>
                    </a:solidFill>
                  </a:tcPr>
                </a:tc>
                <a:tc gridSpan="2">
                  <a:txBody>
                    <a:bodyPr/>
                    <a:lstStyle/>
                    <a:p>
                      <a:r>
                        <a:rPr lang="en-US" sz="1400"/>
                        <a:t>Process name</a:t>
                      </a:r>
                    </a:p>
                  </a:txBody>
                  <a:tcPr>
                    <a:solidFill>
                      <a:srgbClr val="7FD2D0"/>
                    </a:solidFill>
                  </a:tcPr>
                </a:tc>
                <a:tc hMerge="1">
                  <a:txBody>
                    <a:bodyPr/>
                    <a:lstStyle/>
                    <a:p>
                      <a:endParaRPr lang="fr-FR"/>
                    </a:p>
                  </a:txBody>
                  <a:tcPr/>
                </a:tc>
                <a:extLst>
                  <a:ext uri="{0D108BD9-81ED-4DB2-BD59-A6C34878D82A}">
                    <a16:rowId xmlns:a16="http://schemas.microsoft.com/office/drawing/2014/main" val="4032903298"/>
                  </a:ext>
                </a:extLst>
              </a:tr>
              <a:tr h="375361">
                <a:tc>
                  <a:txBody>
                    <a:bodyPr/>
                    <a:lstStyle/>
                    <a:p>
                      <a:pPr marL="180000"/>
                      <a:r>
                        <a:rPr lang="en-US" sz="1200" b="0">
                          <a:solidFill>
                            <a:schemeClr val="tx1"/>
                          </a:solidFill>
                        </a:rPr>
                        <a:t>1</a:t>
                      </a:r>
                    </a:p>
                  </a:txBody>
                  <a:tcPr>
                    <a:lnR w="6350" cap="flat" cmpd="sng" algn="ctr">
                      <a:noFill/>
                      <a:prstDash val="sysDot"/>
                      <a:round/>
                      <a:headEnd type="none" w="med" len="med"/>
                      <a:tailEnd type="none" w="med" len="med"/>
                    </a:lnR>
                    <a:noFill/>
                  </a:tcPr>
                </a:tc>
                <a:tc gridSpan="2">
                  <a:txBody>
                    <a:bodyPr/>
                    <a:lstStyle/>
                    <a:p>
                      <a:pPr marL="180000" marR="0" lvl="0" indent="0" algn="l" defTabSz="609585" rtl="0" eaLnBrk="1" fontAlgn="auto" latinLnBrk="0" hangingPunct="1">
                        <a:lnSpc>
                          <a:spcPct val="100000"/>
                        </a:lnSpc>
                        <a:spcBef>
                          <a:spcPts val="0"/>
                        </a:spcBef>
                        <a:spcAft>
                          <a:spcPts val="0"/>
                        </a:spcAft>
                        <a:buClrTx/>
                        <a:buSzTx/>
                        <a:buFontTx/>
                        <a:buNone/>
                        <a:tabLst/>
                        <a:defRPr/>
                      </a:pPr>
                      <a:r>
                        <a:rPr lang="fr-FR" sz="1200"/>
                        <a:t>Use the data Marketplace</a:t>
                      </a:r>
                      <a:endParaRPr lang="en-US" sz="1200" b="0">
                        <a:solidFill>
                          <a:schemeClr val="tx1"/>
                        </a:solidFill>
                      </a:endParaRPr>
                    </a:p>
                  </a:txBody>
                  <a:tcPr>
                    <a:lnL w="6350" cap="flat" cmpd="sng" algn="ctr">
                      <a:noFill/>
                      <a:prstDash val="sysDot"/>
                      <a:round/>
                      <a:headEnd type="none" w="med" len="med"/>
                      <a:tailEnd type="none" w="med" len="med"/>
                    </a:lnL>
                    <a:lnR w="6350" cap="flat" cmpd="sng" algn="ctr">
                      <a:noFill/>
                      <a:prstDash val="sysDot"/>
                      <a:round/>
                      <a:headEnd type="none" w="med" len="med"/>
                      <a:tailEnd type="none" w="med" len="med"/>
                    </a:lnR>
                    <a:noFill/>
                  </a:tcPr>
                </a:tc>
                <a:tc hMerge="1">
                  <a:txBody>
                    <a:bodyPr/>
                    <a:lstStyle/>
                    <a:p>
                      <a:endParaRPr lang="fr-FR"/>
                    </a:p>
                  </a:txBody>
                  <a:tcPr/>
                </a:tc>
                <a:extLst>
                  <a:ext uri="{0D108BD9-81ED-4DB2-BD59-A6C34878D82A}">
                    <a16:rowId xmlns:a16="http://schemas.microsoft.com/office/drawing/2014/main" val="1998290801"/>
                  </a:ext>
                </a:extLst>
              </a:tr>
              <a:tr h="375361">
                <a:tc>
                  <a:txBody>
                    <a:bodyPr/>
                    <a:lstStyle/>
                    <a:p>
                      <a:pPr marL="180000"/>
                      <a:r>
                        <a:rPr lang="en-US" sz="1200" b="0">
                          <a:solidFill>
                            <a:schemeClr val="tx1"/>
                          </a:solidFill>
                        </a:rPr>
                        <a:t>2</a:t>
                      </a:r>
                    </a:p>
                  </a:txBody>
                  <a:tcPr>
                    <a:lnR w="6350" cap="flat" cmpd="sng" algn="ctr">
                      <a:noFill/>
                      <a:prstDash val="sysDot"/>
                      <a:round/>
                      <a:headEnd type="none" w="med" len="med"/>
                      <a:tailEnd type="none" w="med" len="med"/>
                    </a:lnR>
                    <a:lnB w="6350" cap="flat" cmpd="sng" algn="ctr">
                      <a:solidFill>
                        <a:schemeClr val="tx1"/>
                      </a:solidFill>
                      <a:prstDash val="dot"/>
                      <a:round/>
                      <a:headEnd type="none" w="med" len="med"/>
                      <a:tailEnd type="none" w="med" len="med"/>
                    </a:lnB>
                    <a:noFill/>
                  </a:tcPr>
                </a:tc>
                <a:tc gridSpan="2">
                  <a:txBody>
                    <a:bodyPr/>
                    <a:lstStyle/>
                    <a:p>
                      <a:pPr marL="180000" marR="0" lvl="0" indent="0" algn="l" defTabSz="609585" rtl="0" eaLnBrk="1" fontAlgn="auto" latinLnBrk="0" hangingPunct="1">
                        <a:lnSpc>
                          <a:spcPct val="100000"/>
                        </a:lnSpc>
                        <a:spcBef>
                          <a:spcPts val="0"/>
                        </a:spcBef>
                        <a:spcAft>
                          <a:spcPts val="0"/>
                        </a:spcAft>
                        <a:buClrTx/>
                        <a:buSzTx/>
                        <a:buFontTx/>
                        <a:buNone/>
                        <a:tabLst/>
                        <a:defRPr/>
                      </a:pPr>
                      <a:r>
                        <a:rPr lang="en-US" sz="1200" b="0">
                          <a:solidFill>
                            <a:schemeClr val="tx1"/>
                          </a:solidFill>
                        </a:rPr>
                        <a:t>Data Producers Onboarding</a:t>
                      </a:r>
                    </a:p>
                  </a:txBody>
                  <a:tcPr>
                    <a:lnL w="6350" cap="flat" cmpd="sng" algn="ctr">
                      <a:noFill/>
                      <a:prstDash val="sysDot"/>
                      <a:round/>
                      <a:headEnd type="none" w="med" len="med"/>
                      <a:tailEnd type="none" w="med" len="med"/>
                    </a:lnL>
                    <a:lnR w="6350" cap="flat" cmpd="sng" algn="ctr">
                      <a:noFill/>
                      <a:prstDash val="sysDot"/>
                      <a:round/>
                      <a:headEnd type="none" w="med" len="med"/>
                      <a:tailEnd type="none" w="med" len="med"/>
                    </a:lnR>
                    <a:lnB w="6350" cap="flat" cmpd="sng" algn="ctr">
                      <a:solidFill>
                        <a:schemeClr val="tx1"/>
                      </a:solidFill>
                      <a:prstDash val="dot"/>
                      <a:round/>
                      <a:headEnd type="none" w="med" len="med"/>
                      <a:tailEnd type="none" w="med" len="med"/>
                    </a:lnB>
                    <a:noFill/>
                  </a:tcPr>
                </a:tc>
                <a:tc hMerge="1">
                  <a:txBody>
                    <a:bodyPr/>
                    <a:lstStyle/>
                    <a:p>
                      <a:endParaRPr lang="fr-FR"/>
                    </a:p>
                  </a:txBody>
                  <a:tcPr/>
                </a:tc>
                <a:extLst>
                  <a:ext uri="{0D108BD9-81ED-4DB2-BD59-A6C34878D82A}">
                    <a16:rowId xmlns:a16="http://schemas.microsoft.com/office/drawing/2014/main" val="184714508"/>
                  </a:ext>
                </a:extLst>
              </a:tr>
              <a:tr h="375361">
                <a:tc>
                  <a:txBody>
                    <a:bodyPr/>
                    <a:lstStyle/>
                    <a:p>
                      <a:pPr marL="180000"/>
                      <a:r>
                        <a:rPr lang="en-US" sz="1200" b="0">
                          <a:solidFill>
                            <a:schemeClr val="tx1"/>
                          </a:solidFill>
                        </a:rPr>
                        <a:t>3</a:t>
                      </a:r>
                    </a:p>
                  </a:txBody>
                  <a:tcPr>
                    <a:lnR w="6350" cap="flat" cmpd="sng" algn="ctr">
                      <a:noFill/>
                      <a:prstDash val="sysDot"/>
                      <a:round/>
                      <a:headEnd type="none" w="med" len="med"/>
                      <a:tailEnd type="none" w="med" len="med"/>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noFill/>
                  </a:tcPr>
                </a:tc>
                <a:tc gridSpan="2">
                  <a:txBody>
                    <a:bodyPr/>
                    <a:lstStyle/>
                    <a:p>
                      <a:pPr marL="180000" marR="0" lvl="0" indent="0" algn="l" defTabSz="609585" rtl="0" eaLnBrk="1" fontAlgn="auto" latinLnBrk="0" hangingPunct="1">
                        <a:lnSpc>
                          <a:spcPct val="100000"/>
                        </a:lnSpc>
                        <a:spcBef>
                          <a:spcPts val="0"/>
                        </a:spcBef>
                        <a:spcAft>
                          <a:spcPts val="0"/>
                        </a:spcAft>
                        <a:buClrTx/>
                        <a:buSzTx/>
                        <a:buFontTx/>
                        <a:buNone/>
                        <a:tabLst/>
                        <a:defRPr/>
                      </a:pPr>
                      <a:r>
                        <a:rPr lang="en-US" sz="1200" b="0">
                          <a:solidFill>
                            <a:schemeClr val="tx1"/>
                          </a:solidFill>
                        </a:rPr>
                        <a:t>Data Product Creation in Data Gov Solution </a:t>
                      </a:r>
                    </a:p>
                  </a:txBody>
                  <a:tcP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noFill/>
                  </a:tcPr>
                </a:tc>
                <a:tc hMerge="1">
                  <a:txBody>
                    <a:bodyPr/>
                    <a:lstStyle/>
                    <a:p>
                      <a:endParaRPr lang="fr-FR"/>
                    </a:p>
                  </a:txBody>
                  <a:tcPr/>
                </a:tc>
                <a:extLst>
                  <a:ext uri="{0D108BD9-81ED-4DB2-BD59-A6C34878D82A}">
                    <a16:rowId xmlns:a16="http://schemas.microsoft.com/office/drawing/2014/main" val="3306006096"/>
                  </a:ext>
                </a:extLst>
              </a:tr>
              <a:tr h="382852">
                <a:tc>
                  <a:txBody>
                    <a:bodyPr/>
                    <a:lstStyle/>
                    <a:p>
                      <a:pPr marL="180000"/>
                      <a:endParaRPr lang="en-US" sz="1200" b="0">
                        <a:solidFill>
                          <a:schemeClr val="tx1"/>
                        </a:solidFill>
                      </a:endParaRPr>
                    </a:p>
                  </a:txBody>
                  <a:tcPr>
                    <a:lnR w="6350" cap="flat" cmpd="sng" algn="ctr">
                      <a:noFill/>
                      <a:prstDash val="sysDot"/>
                      <a:round/>
                      <a:headEnd type="none" w="med" len="med"/>
                      <a:tailEnd type="none" w="med" len="med"/>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noFill/>
                  </a:tcPr>
                </a:tc>
                <a:tc>
                  <a:txBody>
                    <a:bodyPr/>
                    <a:lstStyle/>
                    <a:p>
                      <a:pPr marL="180000" lvl="0"/>
                      <a:r>
                        <a:rPr lang="en-US" sz="1200" b="0">
                          <a:solidFill>
                            <a:schemeClr val="tx1"/>
                          </a:solidFill>
                        </a:rPr>
                        <a:t>3.1</a:t>
                      </a:r>
                    </a:p>
                  </a:txBody>
                  <a:tcP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noFill/>
                  </a:tcPr>
                </a:tc>
                <a:tc>
                  <a:txBody>
                    <a:bodyPr/>
                    <a:lstStyle/>
                    <a:p>
                      <a:pPr marL="180000" lvl="0"/>
                      <a:r>
                        <a:rPr lang="en-US" sz="1200" b="0">
                          <a:solidFill>
                            <a:schemeClr val="tx1"/>
                          </a:solidFill>
                        </a:rPr>
                        <a:t>Scan Data / Schedule Jobs </a:t>
                      </a:r>
                    </a:p>
                  </a:txBody>
                  <a:tcP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noFill/>
                  </a:tcPr>
                </a:tc>
                <a:extLst>
                  <a:ext uri="{0D108BD9-81ED-4DB2-BD59-A6C34878D82A}">
                    <a16:rowId xmlns:a16="http://schemas.microsoft.com/office/drawing/2014/main" val="1895451688"/>
                  </a:ext>
                </a:extLst>
              </a:tr>
              <a:tr h="375361">
                <a:tc>
                  <a:txBody>
                    <a:bodyPr/>
                    <a:lstStyle/>
                    <a:p>
                      <a:pPr marL="180000" marR="0" lvl="0" indent="0" algn="l" defTabSz="609585" rtl="0" eaLnBrk="1" fontAlgn="auto" latinLnBrk="0" hangingPunct="1">
                        <a:lnSpc>
                          <a:spcPct val="100000"/>
                        </a:lnSpc>
                        <a:spcBef>
                          <a:spcPts val="0"/>
                        </a:spcBef>
                        <a:spcAft>
                          <a:spcPts val="0"/>
                        </a:spcAft>
                        <a:buClrTx/>
                        <a:buSzTx/>
                        <a:buFontTx/>
                        <a:buNone/>
                        <a:tabLst/>
                        <a:defRPr/>
                      </a:pPr>
                      <a:endParaRPr lang="en-US" sz="1200" b="0">
                        <a:solidFill>
                          <a:schemeClr val="tx1"/>
                        </a:solidFill>
                      </a:endParaRPr>
                    </a:p>
                  </a:txBody>
                  <a:tcPr>
                    <a:lnR w="6350" cap="flat" cmpd="sng" algn="ctr">
                      <a:noFill/>
                      <a:prstDash val="sysDot"/>
                      <a:round/>
                      <a:headEnd type="none" w="med" len="med"/>
                      <a:tailEnd type="none" w="med" len="med"/>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noFill/>
                  </a:tcPr>
                </a:tc>
                <a:tc>
                  <a:txBody>
                    <a:bodyPr/>
                    <a:lstStyle/>
                    <a:p>
                      <a:pPr marL="180000" lvl="0"/>
                      <a:r>
                        <a:rPr lang="en-US" sz="1200" b="0">
                          <a:solidFill>
                            <a:schemeClr val="tx1"/>
                          </a:solidFill>
                        </a:rPr>
                        <a:t>3.2</a:t>
                      </a:r>
                    </a:p>
                  </a:txBody>
                  <a:tcP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noFill/>
                  </a:tcPr>
                </a:tc>
                <a:tc>
                  <a:txBody>
                    <a:bodyPr/>
                    <a:lstStyle/>
                    <a:p>
                      <a:pPr marL="180000" lvl="0"/>
                      <a:r>
                        <a:rPr kumimoji="0" lang="en-US" sz="1200" b="0" i="0" u="none" strike="noStrike" kern="0" cap="none" spc="0" normalizeH="0" baseline="0" noProof="0">
                          <a:ln>
                            <a:noFill/>
                          </a:ln>
                          <a:solidFill>
                            <a:schemeClr val="tx1"/>
                          </a:solidFill>
                          <a:effectLst/>
                          <a:uLnTx/>
                          <a:uFillTx/>
                        </a:rPr>
                        <a:t>Create Data Product in Data Catalog </a:t>
                      </a:r>
                      <a:endParaRPr lang="en-US" sz="1200" b="0">
                        <a:solidFill>
                          <a:schemeClr val="tx1"/>
                        </a:solidFill>
                      </a:endParaRPr>
                    </a:p>
                  </a:txBody>
                  <a:tcP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noFill/>
                  </a:tcPr>
                </a:tc>
                <a:extLst>
                  <a:ext uri="{0D108BD9-81ED-4DB2-BD59-A6C34878D82A}">
                    <a16:rowId xmlns:a16="http://schemas.microsoft.com/office/drawing/2014/main" val="1617897225"/>
                  </a:ext>
                </a:extLst>
              </a:tr>
              <a:tr h="375361">
                <a:tc>
                  <a:txBody>
                    <a:bodyPr/>
                    <a:lstStyle/>
                    <a:p>
                      <a:pPr marL="180000"/>
                      <a:endParaRPr lang="en-US" sz="1200" b="0">
                        <a:solidFill>
                          <a:schemeClr val="tx1"/>
                        </a:solidFill>
                      </a:endParaRPr>
                    </a:p>
                  </a:txBody>
                  <a:tcPr>
                    <a:lnR w="6350" cap="flat" cmpd="sng" algn="ctr">
                      <a:noFill/>
                      <a:prstDash val="sysDot"/>
                      <a:round/>
                      <a:headEnd type="none" w="med" len="med"/>
                      <a:tailEnd type="none" w="med" len="med"/>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noFill/>
                  </a:tcPr>
                </a:tc>
                <a:tc>
                  <a:txBody>
                    <a:bodyPr/>
                    <a:lstStyle/>
                    <a:p>
                      <a:pPr marL="180000" marR="0" lvl="0" indent="0" algn="l" defTabSz="609585" rtl="0" eaLnBrk="1" fontAlgn="auto" latinLnBrk="0" hangingPunct="1">
                        <a:lnSpc>
                          <a:spcPct val="100000"/>
                        </a:lnSpc>
                        <a:spcBef>
                          <a:spcPts val="0"/>
                        </a:spcBef>
                        <a:spcAft>
                          <a:spcPts val="0"/>
                        </a:spcAft>
                        <a:buClrTx/>
                        <a:buSzTx/>
                        <a:buFontTx/>
                        <a:buNone/>
                        <a:tabLst/>
                        <a:defRPr/>
                      </a:pPr>
                      <a:r>
                        <a:rPr lang="en-US" sz="1200" b="0">
                          <a:solidFill>
                            <a:schemeClr val="tx1"/>
                          </a:solidFill>
                        </a:rPr>
                        <a:t>3.3</a:t>
                      </a:r>
                    </a:p>
                  </a:txBody>
                  <a:tcP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noFill/>
                  </a:tcPr>
                </a:tc>
                <a:tc>
                  <a:txBody>
                    <a:bodyPr/>
                    <a:lstStyle/>
                    <a:p>
                      <a:pPr marL="18000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tx1"/>
                          </a:solidFill>
                          <a:effectLst/>
                          <a:uLnTx/>
                          <a:uFillTx/>
                        </a:rPr>
                        <a:t>Create Data Product in Data Marketplace</a:t>
                      </a:r>
                      <a:endParaRPr lang="en-US" sz="1200" b="0">
                        <a:solidFill>
                          <a:schemeClr val="tx1"/>
                        </a:solidFill>
                      </a:endParaRPr>
                    </a:p>
                  </a:txBody>
                  <a:tcP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noFill/>
                  </a:tcPr>
                </a:tc>
                <a:extLst>
                  <a:ext uri="{0D108BD9-81ED-4DB2-BD59-A6C34878D82A}">
                    <a16:rowId xmlns:a16="http://schemas.microsoft.com/office/drawing/2014/main" val="4206444050"/>
                  </a:ext>
                </a:extLst>
              </a:tr>
              <a:tr h="375361">
                <a:tc>
                  <a:txBody>
                    <a:bodyPr/>
                    <a:lstStyle/>
                    <a:p>
                      <a:pPr marL="180000"/>
                      <a:r>
                        <a:rPr lang="en-US" sz="1200" b="0">
                          <a:solidFill>
                            <a:schemeClr val="tx1"/>
                          </a:solidFill>
                        </a:rPr>
                        <a:t>4</a:t>
                      </a:r>
                    </a:p>
                  </a:txBody>
                  <a:tcPr>
                    <a:lnR w="6350" cap="flat" cmpd="sng" algn="ctr">
                      <a:noFill/>
                      <a:prstDash val="sysDot"/>
                      <a:round/>
                      <a:headEnd type="none" w="med" len="med"/>
                      <a:tailEnd type="none" w="med" len="med"/>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noFill/>
                  </a:tcPr>
                </a:tc>
                <a:tc gridSpan="2">
                  <a:txBody>
                    <a:bodyPr/>
                    <a:lstStyle/>
                    <a:p>
                      <a:pPr marL="180000" marR="0" lvl="0" indent="0" algn="l" defTabSz="609585" rtl="0" eaLnBrk="1" fontAlgn="auto" latinLnBrk="0" hangingPunct="1">
                        <a:lnSpc>
                          <a:spcPct val="100000"/>
                        </a:lnSpc>
                        <a:spcBef>
                          <a:spcPts val="0"/>
                        </a:spcBef>
                        <a:spcAft>
                          <a:spcPts val="0"/>
                        </a:spcAft>
                        <a:buClrTx/>
                        <a:buSzTx/>
                        <a:buFontTx/>
                        <a:buNone/>
                        <a:tabLst/>
                        <a:defRPr/>
                      </a:pPr>
                      <a:r>
                        <a:rPr lang="en-US" sz="1200"/>
                        <a:t>Modify / Create Asset in Data Catalog</a:t>
                      </a:r>
                    </a:p>
                  </a:txBody>
                  <a:tcP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noFill/>
                  </a:tcPr>
                </a:tc>
                <a:tc hMerge="1">
                  <a:txBody>
                    <a:bodyPr/>
                    <a:lstStyle/>
                    <a:p>
                      <a:endParaRPr lang="fr-FR"/>
                    </a:p>
                  </a:txBody>
                  <a:tcPr/>
                </a:tc>
                <a:extLst>
                  <a:ext uri="{0D108BD9-81ED-4DB2-BD59-A6C34878D82A}">
                    <a16:rowId xmlns:a16="http://schemas.microsoft.com/office/drawing/2014/main" val="3838112130"/>
                  </a:ext>
                </a:extLst>
              </a:tr>
              <a:tr h="391929">
                <a:tc>
                  <a:txBody>
                    <a:bodyPr/>
                    <a:lstStyle/>
                    <a:p>
                      <a:pPr marL="180000"/>
                      <a:r>
                        <a:rPr lang="en-US" sz="1200" b="0">
                          <a:solidFill>
                            <a:schemeClr val="tx1"/>
                          </a:solidFill>
                        </a:rPr>
                        <a:t>5</a:t>
                      </a:r>
                    </a:p>
                  </a:txBody>
                  <a:tcPr>
                    <a:lnR w="6350" cap="flat" cmpd="sng" algn="ctr">
                      <a:noFill/>
                      <a:prstDash val="sysDot"/>
                      <a:round/>
                      <a:headEnd type="none" w="med" len="med"/>
                      <a:tailEnd type="none" w="med" len="med"/>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noFill/>
                  </a:tcPr>
                </a:tc>
                <a:tc gridSpan="2">
                  <a:txBody>
                    <a:bodyPr/>
                    <a:lstStyle/>
                    <a:p>
                      <a:pPr marL="180000"/>
                      <a:r>
                        <a:rPr lang="en-US" sz="1200"/>
                        <a:t>Give access to Data Product in Data Marketplace</a:t>
                      </a:r>
                    </a:p>
                  </a:txBody>
                  <a:tcP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noFill/>
                  </a:tcPr>
                </a:tc>
                <a:tc hMerge="1">
                  <a:txBody>
                    <a:bodyPr/>
                    <a:lstStyle/>
                    <a:p>
                      <a:endParaRPr lang="fr-FR"/>
                    </a:p>
                  </a:txBody>
                  <a:tcPr/>
                </a:tc>
                <a:extLst>
                  <a:ext uri="{0D108BD9-81ED-4DB2-BD59-A6C34878D82A}">
                    <a16:rowId xmlns:a16="http://schemas.microsoft.com/office/drawing/2014/main" val="4280878774"/>
                  </a:ext>
                </a:extLst>
              </a:tr>
            </a:tbl>
          </a:graphicData>
        </a:graphic>
      </p:graphicFrame>
      <p:sp>
        <p:nvSpPr>
          <p:cNvPr id="3" name="Rectangle 2">
            <a:extLst>
              <a:ext uri="{FF2B5EF4-FFF2-40B4-BE49-F238E27FC236}">
                <a16:creationId xmlns:a16="http://schemas.microsoft.com/office/drawing/2014/main" id="{7F1EAA10-B204-00E1-9CB4-7F55C200C2E2}"/>
              </a:ext>
            </a:extLst>
          </p:cNvPr>
          <p:cNvSpPr/>
          <p:nvPr/>
        </p:nvSpPr>
        <p:spPr>
          <a:xfrm>
            <a:off x="846899" y="4100053"/>
            <a:ext cx="9668700" cy="1146320"/>
          </a:xfrm>
          <a:prstGeom prst="rect">
            <a:avLst/>
          </a:prstGeom>
          <a:solidFill>
            <a:schemeClr val="bg1">
              <a:lumMod val="95000"/>
              <a:alpha val="50000"/>
            </a:schemeClr>
          </a:solidFill>
          <a:ln w="6350">
            <a:solidFill>
              <a:schemeClr val="accent6"/>
            </a:solid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a:solidFill>
                  <a:sysClr val="windowText" lastClr="000000"/>
                </a:solidFill>
              </a:rPr>
              <a:t>For </a:t>
            </a:r>
            <a:r>
              <a:rPr lang="fr-FR" err="1">
                <a:solidFill>
                  <a:sysClr val="windowText" lastClr="000000"/>
                </a:solidFill>
              </a:rPr>
              <a:t>Later</a:t>
            </a:r>
            <a:r>
              <a:rPr lang="fr-FR">
                <a:solidFill>
                  <a:sysClr val="windowText" lastClr="000000"/>
                </a:solidFill>
              </a:rPr>
              <a:t> Use</a:t>
            </a:r>
          </a:p>
        </p:txBody>
      </p:sp>
      <p:sp>
        <p:nvSpPr>
          <p:cNvPr id="4" name="Rectangle 3">
            <a:extLst>
              <a:ext uri="{FF2B5EF4-FFF2-40B4-BE49-F238E27FC236}">
                <a16:creationId xmlns:a16="http://schemas.microsoft.com/office/drawing/2014/main" id="{E70148E6-F706-E8A7-1D75-DA54BB8C014F}"/>
              </a:ext>
            </a:extLst>
          </p:cNvPr>
          <p:cNvSpPr/>
          <p:nvPr/>
        </p:nvSpPr>
        <p:spPr>
          <a:xfrm>
            <a:off x="918379" y="2184787"/>
            <a:ext cx="9668700" cy="364204"/>
          </a:xfrm>
          <a:prstGeom prst="rect">
            <a:avLst/>
          </a:prstGeom>
          <a:solidFill>
            <a:schemeClr val="bg1">
              <a:lumMod val="95000"/>
              <a:alpha val="50000"/>
            </a:schemeClr>
          </a:solidFill>
          <a:ln w="6350">
            <a:solidFill>
              <a:schemeClr val="accent6"/>
            </a:solid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a:solidFill>
                  <a:sysClr val="windowText" lastClr="000000"/>
                </a:solidFill>
              </a:rPr>
              <a:t>For </a:t>
            </a:r>
            <a:r>
              <a:rPr lang="fr-FR" err="1">
                <a:solidFill>
                  <a:sysClr val="windowText" lastClr="000000"/>
                </a:solidFill>
              </a:rPr>
              <a:t>Later</a:t>
            </a:r>
            <a:r>
              <a:rPr lang="fr-FR">
                <a:solidFill>
                  <a:sysClr val="windowText" lastClr="000000"/>
                </a:solidFill>
              </a:rPr>
              <a:t> Use</a:t>
            </a:r>
          </a:p>
        </p:txBody>
      </p:sp>
    </p:spTree>
    <p:extLst>
      <p:ext uri="{BB962C8B-B14F-4D97-AF65-F5344CB8AC3E}">
        <p14:creationId xmlns:p14="http://schemas.microsoft.com/office/powerpoint/2010/main" val="2459300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6ED77BA-E145-CBB3-133C-758B46CC09CB}"/>
              </a:ext>
            </a:extLst>
          </p:cNvPr>
          <p:cNvSpPr>
            <a:spLocks noGrp="1"/>
          </p:cNvSpPr>
          <p:nvPr>
            <p:ph type="title"/>
          </p:nvPr>
        </p:nvSpPr>
        <p:spPr/>
        <p:txBody>
          <a:bodyPr/>
          <a:lstStyle/>
          <a:p>
            <a:r>
              <a:rPr lang="fr-FR">
                <a:solidFill>
                  <a:schemeClr val="accent2"/>
                </a:solidFill>
              </a:rPr>
              <a:t>Use</a:t>
            </a:r>
            <a:r>
              <a:rPr lang="fr-FR"/>
              <a:t> the data Marketplace</a:t>
            </a:r>
          </a:p>
        </p:txBody>
      </p:sp>
      <p:cxnSp>
        <p:nvCxnSpPr>
          <p:cNvPr id="5" name="Straight Connector 5">
            <a:extLst>
              <a:ext uri="{FF2B5EF4-FFF2-40B4-BE49-F238E27FC236}">
                <a16:creationId xmlns:a16="http://schemas.microsoft.com/office/drawing/2014/main" id="{266CA898-5D4C-29DF-9BF4-6D7AE368706A}"/>
              </a:ext>
            </a:extLst>
          </p:cNvPr>
          <p:cNvCxnSpPr>
            <a:cxnSpLocks/>
          </p:cNvCxnSpPr>
          <p:nvPr/>
        </p:nvCxnSpPr>
        <p:spPr>
          <a:xfrm flipV="1">
            <a:off x="2432857" y="2516973"/>
            <a:ext cx="7493409" cy="2730735"/>
          </a:xfrm>
          <a:prstGeom prst="line">
            <a:avLst/>
          </a:prstGeom>
          <a:solidFill>
            <a:srgbClr val="000000"/>
          </a:solidFill>
          <a:ln w="63500" cap="flat" cmpd="sng" algn="ctr">
            <a:solidFill>
              <a:schemeClr val="accent1"/>
            </a:solidFill>
            <a:prstDash val="solid"/>
          </a:ln>
          <a:effectLst/>
        </p:spPr>
      </p:cxnSp>
      <p:sp>
        <p:nvSpPr>
          <p:cNvPr id="6" name="Oval 33">
            <a:extLst>
              <a:ext uri="{FF2B5EF4-FFF2-40B4-BE49-F238E27FC236}">
                <a16:creationId xmlns:a16="http://schemas.microsoft.com/office/drawing/2014/main" id="{6CF6AD5A-A352-85FC-3F3D-DF3944124AEB}"/>
              </a:ext>
            </a:extLst>
          </p:cNvPr>
          <p:cNvSpPr/>
          <p:nvPr/>
        </p:nvSpPr>
        <p:spPr>
          <a:xfrm>
            <a:off x="2303622" y="5196343"/>
            <a:ext cx="144000" cy="144000"/>
          </a:xfrm>
          <a:prstGeom prst="ellipse">
            <a:avLst/>
          </a:prstGeom>
          <a:noFill/>
          <a:ln w="50800" cap="flat" cmpd="sng" algn="ctr">
            <a:solidFill>
              <a:schemeClr val="accent1"/>
            </a:solidFill>
            <a:prstDash val="solid"/>
          </a:ln>
          <a:effectLst/>
        </p:spPr>
        <p:txBody>
          <a:bodyPr lIns="91428" tIns="45714" rIns="91428" bIns="45714" rtlCol="0" anchor="ctr"/>
          <a:lstStyle/>
          <a:p>
            <a:pPr marL="0" marR="0" lvl="0" indent="0" algn="ctr" defTabSz="815235" rtl="0" eaLnBrk="1" fontAlgn="auto" latinLnBrk="0" hangingPunct="1">
              <a:lnSpc>
                <a:spcPct val="85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grpSp>
        <p:nvGrpSpPr>
          <p:cNvPr id="64" name="Groupe 63">
            <a:extLst>
              <a:ext uri="{FF2B5EF4-FFF2-40B4-BE49-F238E27FC236}">
                <a16:creationId xmlns:a16="http://schemas.microsoft.com/office/drawing/2014/main" id="{99F1C315-3117-CEBD-826E-1469A01802E2}"/>
              </a:ext>
            </a:extLst>
          </p:cNvPr>
          <p:cNvGrpSpPr/>
          <p:nvPr/>
        </p:nvGrpSpPr>
        <p:grpSpPr>
          <a:xfrm>
            <a:off x="1624722" y="4331927"/>
            <a:ext cx="1952833" cy="492863"/>
            <a:chOff x="1624722" y="4331927"/>
            <a:chExt cx="1952833" cy="492863"/>
          </a:xfrm>
          <a:solidFill>
            <a:schemeClr val="bg2">
              <a:lumMod val="60000"/>
              <a:lumOff val="40000"/>
            </a:schemeClr>
          </a:solidFill>
        </p:grpSpPr>
        <p:cxnSp>
          <p:nvCxnSpPr>
            <p:cNvPr id="25" name="Straight Connector 93">
              <a:extLst>
                <a:ext uri="{FF2B5EF4-FFF2-40B4-BE49-F238E27FC236}">
                  <a16:creationId xmlns:a16="http://schemas.microsoft.com/office/drawing/2014/main" id="{ED0D7439-BFAD-C2B9-48B6-4355C4ECD5CB}"/>
                </a:ext>
              </a:extLst>
            </p:cNvPr>
            <p:cNvCxnSpPr/>
            <p:nvPr/>
          </p:nvCxnSpPr>
          <p:spPr>
            <a:xfrm>
              <a:off x="2360907" y="4427177"/>
              <a:ext cx="1216648" cy="397613"/>
            </a:xfrm>
            <a:prstGeom prst="line">
              <a:avLst/>
            </a:prstGeom>
            <a:grpFill/>
            <a:ln w="12700">
              <a:solidFill>
                <a:schemeClr val="bg2">
                  <a:lumMod val="60000"/>
                  <a:lumOff val="40000"/>
                </a:schemeClr>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26" name="Straight Connector 94">
              <a:extLst>
                <a:ext uri="{FF2B5EF4-FFF2-40B4-BE49-F238E27FC236}">
                  <a16:creationId xmlns:a16="http://schemas.microsoft.com/office/drawing/2014/main" id="{FE29A29B-4363-4E54-BB81-98B882CB7C33}"/>
                </a:ext>
              </a:extLst>
            </p:cNvPr>
            <p:cNvCxnSpPr/>
            <p:nvPr/>
          </p:nvCxnSpPr>
          <p:spPr>
            <a:xfrm flipV="1">
              <a:off x="1802142" y="4427177"/>
              <a:ext cx="558765" cy="907"/>
            </a:xfrm>
            <a:prstGeom prst="line">
              <a:avLst/>
            </a:prstGeom>
            <a:grpFill/>
            <a:ln w="1270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4" name="Oval 92">
              <a:extLst>
                <a:ext uri="{FF2B5EF4-FFF2-40B4-BE49-F238E27FC236}">
                  <a16:creationId xmlns:a16="http://schemas.microsoft.com/office/drawing/2014/main" id="{282BF428-E937-FF8D-1AB0-22BE03AB1407}"/>
                </a:ext>
              </a:extLst>
            </p:cNvPr>
            <p:cNvSpPr/>
            <p:nvPr/>
          </p:nvSpPr>
          <p:spPr>
            <a:xfrm flipH="1">
              <a:off x="1624722" y="4331927"/>
              <a:ext cx="190500" cy="190500"/>
            </a:xfrm>
            <a:prstGeom prst="ellipse">
              <a:avLst/>
            </a:prstGeom>
            <a:grp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Segoe UI Light" charset="0"/>
                <a:ea typeface="Segoe UI Light" charset="0"/>
                <a:cs typeface="Segoe UI Light" charset="0"/>
              </a:endParaRPr>
            </a:p>
          </p:txBody>
        </p:sp>
      </p:grpSp>
      <p:sp>
        <p:nvSpPr>
          <p:cNvPr id="27" name="ZoneTexte 26">
            <a:extLst>
              <a:ext uri="{FF2B5EF4-FFF2-40B4-BE49-F238E27FC236}">
                <a16:creationId xmlns:a16="http://schemas.microsoft.com/office/drawing/2014/main" id="{64B303D9-F2B3-56D4-16E8-8267842C2CE2}"/>
              </a:ext>
            </a:extLst>
          </p:cNvPr>
          <p:cNvSpPr txBox="1"/>
          <p:nvPr/>
        </p:nvSpPr>
        <p:spPr>
          <a:xfrm>
            <a:off x="3999250" y="5947112"/>
            <a:ext cx="4453706" cy="338554"/>
          </a:xfrm>
          <a:prstGeom prst="rect">
            <a:avLst/>
          </a:prstGeom>
          <a:noFill/>
        </p:spPr>
        <p:txBody>
          <a:bodyPr wrap="square" rtlCol="0">
            <a:spAutoFit/>
          </a:bodyPr>
          <a:lstStyle/>
          <a:p>
            <a:pPr algn="ctr"/>
            <a:r>
              <a:rPr lang="en-US" sz="1600" b="1"/>
              <a:t>Exploring the platform and metadata</a:t>
            </a:r>
            <a:endParaRPr lang="fr-FR" sz="1600" b="1"/>
          </a:p>
        </p:txBody>
      </p:sp>
      <p:sp>
        <p:nvSpPr>
          <p:cNvPr id="28" name="Flèche : droite 27">
            <a:extLst>
              <a:ext uri="{FF2B5EF4-FFF2-40B4-BE49-F238E27FC236}">
                <a16:creationId xmlns:a16="http://schemas.microsoft.com/office/drawing/2014/main" id="{224EE2D7-C390-751B-DAF5-7AA0BEDC8E5E}"/>
              </a:ext>
            </a:extLst>
          </p:cNvPr>
          <p:cNvSpPr/>
          <p:nvPr/>
        </p:nvSpPr>
        <p:spPr>
          <a:xfrm>
            <a:off x="3032020" y="5486644"/>
            <a:ext cx="6014837" cy="403080"/>
          </a:xfrm>
          <a:prstGeom prst="rightArrow">
            <a:avLst/>
          </a:prstGeom>
          <a:solidFill>
            <a:schemeClr val="bg2">
              <a:lumMod val="20000"/>
              <a:lumOff val="80000"/>
            </a:schemeClr>
          </a:solidFill>
          <a:ln w="6350">
            <a:solidFill>
              <a:schemeClr val="accent6"/>
            </a:solid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fr-FR"/>
          </a:p>
        </p:txBody>
      </p:sp>
      <p:sp>
        <p:nvSpPr>
          <p:cNvPr id="29" name="ZoneTexte 28">
            <a:extLst>
              <a:ext uri="{FF2B5EF4-FFF2-40B4-BE49-F238E27FC236}">
                <a16:creationId xmlns:a16="http://schemas.microsoft.com/office/drawing/2014/main" id="{C0D17D4B-1DB1-EFAF-9412-BB0A73FCD01D}"/>
              </a:ext>
            </a:extLst>
          </p:cNvPr>
          <p:cNvSpPr txBox="1"/>
          <p:nvPr/>
        </p:nvSpPr>
        <p:spPr>
          <a:xfrm rot="16200000">
            <a:off x="9644982" y="3686640"/>
            <a:ext cx="2687215" cy="338554"/>
          </a:xfrm>
          <a:prstGeom prst="rect">
            <a:avLst/>
          </a:prstGeom>
          <a:noFill/>
        </p:spPr>
        <p:txBody>
          <a:bodyPr wrap="square" rtlCol="0">
            <a:spAutoFit/>
          </a:bodyPr>
          <a:lstStyle/>
          <a:p>
            <a:pPr algn="ctr"/>
            <a:r>
              <a:rPr lang="fr-FR" sz="1600" b="1"/>
              <a:t>Data </a:t>
            </a:r>
            <a:r>
              <a:rPr lang="fr-FR" sz="1600" b="1" err="1"/>
              <a:t>knowledge</a:t>
            </a:r>
            <a:endParaRPr lang="fr-FR" sz="1600" b="1"/>
          </a:p>
        </p:txBody>
      </p:sp>
      <p:sp>
        <p:nvSpPr>
          <p:cNvPr id="30" name="Flèche : droite 29">
            <a:extLst>
              <a:ext uri="{FF2B5EF4-FFF2-40B4-BE49-F238E27FC236}">
                <a16:creationId xmlns:a16="http://schemas.microsoft.com/office/drawing/2014/main" id="{A924D3B3-4559-54E3-A269-95588EFDDCFB}"/>
              </a:ext>
            </a:extLst>
          </p:cNvPr>
          <p:cNvSpPr/>
          <p:nvPr/>
        </p:nvSpPr>
        <p:spPr>
          <a:xfrm rot="16200000">
            <a:off x="8712041" y="3521062"/>
            <a:ext cx="3611669" cy="403080"/>
          </a:xfrm>
          <a:prstGeom prst="rightArrow">
            <a:avLst/>
          </a:prstGeom>
          <a:solidFill>
            <a:schemeClr val="bg2">
              <a:lumMod val="20000"/>
              <a:lumOff val="80000"/>
            </a:schemeClr>
          </a:solidFill>
          <a:ln w="6350">
            <a:solidFill>
              <a:schemeClr val="accent6"/>
            </a:solid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fr-FR"/>
          </a:p>
        </p:txBody>
      </p:sp>
      <p:sp>
        <p:nvSpPr>
          <p:cNvPr id="31" name="Google Shape;371;p9">
            <a:extLst>
              <a:ext uri="{FF2B5EF4-FFF2-40B4-BE49-F238E27FC236}">
                <a16:creationId xmlns:a16="http://schemas.microsoft.com/office/drawing/2014/main" id="{33223D9F-F6D3-0878-3AAF-2236EB58CDBE}"/>
              </a:ext>
            </a:extLst>
          </p:cNvPr>
          <p:cNvSpPr txBox="1"/>
          <p:nvPr/>
        </p:nvSpPr>
        <p:spPr>
          <a:xfrm>
            <a:off x="869959" y="3870948"/>
            <a:ext cx="1700025" cy="292368"/>
          </a:xfrm>
          <a:prstGeom prst="rect">
            <a:avLst/>
          </a:prstGeom>
          <a:noFill/>
          <a:ln>
            <a:noFill/>
          </a:ln>
        </p:spPr>
        <p:txBody>
          <a:bodyPr spcFirstLastPara="1" wrap="square" lIns="45713" tIns="22850" rIns="45713" bIns="22850" anchor="ctr" anchorCtr="0">
            <a:spAutoFit/>
          </a:bodyPr>
          <a:lstStyle/>
          <a:p>
            <a:pPr algn="ctr" defTabSz="457200">
              <a:buClr>
                <a:srgbClr val="000000"/>
              </a:buClr>
            </a:pPr>
            <a:r>
              <a:rPr lang="fr-FR" sz="1600" b="1" kern="0" err="1">
                <a:solidFill>
                  <a:schemeClr val="bg2">
                    <a:lumMod val="75000"/>
                  </a:schemeClr>
                </a:solidFill>
                <a:ea typeface="Poppins"/>
                <a:cs typeface="Poppins"/>
                <a:sym typeface="Poppins"/>
              </a:rPr>
              <a:t>Find</a:t>
            </a:r>
            <a:r>
              <a:rPr lang="fr-FR" sz="1600" b="1" kern="0">
                <a:solidFill>
                  <a:schemeClr val="bg2">
                    <a:lumMod val="75000"/>
                  </a:schemeClr>
                </a:solidFill>
                <a:ea typeface="Poppins"/>
                <a:cs typeface="Poppins"/>
                <a:sym typeface="Poppins"/>
              </a:rPr>
              <a:t> informations</a:t>
            </a:r>
            <a:endParaRPr lang="fr-FR" sz="1600" kern="0">
              <a:solidFill>
                <a:schemeClr val="bg2">
                  <a:lumMod val="75000"/>
                </a:schemeClr>
              </a:solidFill>
              <a:cs typeface="Arial"/>
              <a:sym typeface="Arial"/>
            </a:endParaRPr>
          </a:p>
        </p:txBody>
      </p:sp>
      <p:sp>
        <p:nvSpPr>
          <p:cNvPr id="32" name="Google Shape;371;p9">
            <a:extLst>
              <a:ext uri="{FF2B5EF4-FFF2-40B4-BE49-F238E27FC236}">
                <a16:creationId xmlns:a16="http://schemas.microsoft.com/office/drawing/2014/main" id="{DCD5CC16-5BDF-B5AA-C2E4-83F32F9D8B76}"/>
              </a:ext>
            </a:extLst>
          </p:cNvPr>
          <p:cNvSpPr txBox="1"/>
          <p:nvPr/>
        </p:nvSpPr>
        <p:spPr>
          <a:xfrm>
            <a:off x="2325966" y="3160674"/>
            <a:ext cx="1700025" cy="538589"/>
          </a:xfrm>
          <a:prstGeom prst="rect">
            <a:avLst/>
          </a:prstGeom>
          <a:noFill/>
          <a:ln>
            <a:noFill/>
          </a:ln>
        </p:spPr>
        <p:txBody>
          <a:bodyPr spcFirstLastPara="1" wrap="square" lIns="45713" tIns="22850" rIns="45713" bIns="22850" anchor="ctr" anchorCtr="0">
            <a:spAutoFit/>
          </a:bodyPr>
          <a:lstStyle/>
          <a:p>
            <a:pPr algn="ctr" defTabSz="457200">
              <a:buClr>
                <a:srgbClr val="000000"/>
              </a:buClr>
            </a:pPr>
            <a:r>
              <a:rPr lang="fr-FR" sz="1600" b="1" kern="0">
                <a:solidFill>
                  <a:schemeClr val="bg2">
                    <a:lumMod val="75000"/>
                  </a:schemeClr>
                </a:solidFill>
                <a:ea typeface="Poppins"/>
                <a:cs typeface="Poppins"/>
                <a:sym typeface="Poppins"/>
              </a:rPr>
              <a:t>Discover Data Product</a:t>
            </a:r>
            <a:endParaRPr lang="fr-FR" sz="1600" kern="0">
              <a:solidFill>
                <a:schemeClr val="bg2">
                  <a:lumMod val="75000"/>
                </a:schemeClr>
              </a:solidFill>
              <a:cs typeface="Arial"/>
              <a:sym typeface="Arial"/>
            </a:endParaRPr>
          </a:p>
        </p:txBody>
      </p:sp>
      <p:grpSp>
        <p:nvGrpSpPr>
          <p:cNvPr id="33" name="Group 90">
            <a:extLst>
              <a:ext uri="{FF2B5EF4-FFF2-40B4-BE49-F238E27FC236}">
                <a16:creationId xmlns:a16="http://schemas.microsoft.com/office/drawing/2014/main" id="{13D8A179-7BC0-13D7-6E9A-A6BB54BE55F7}"/>
              </a:ext>
            </a:extLst>
          </p:cNvPr>
          <p:cNvGrpSpPr/>
          <p:nvPr/>
        </p:nvGrpSpPr>
        <p:grpSpPr>
          <a:xfrm flipH="1">
            <a:off x="3073507" y="3803716"/>
            <a:ext cx="1952833" cy="492863"/>
            <a:chOff x="2756450" y="2662215"/>
            <a:chExt cx="1952833" cy="492863"/>
          </a:xfrm>
          <a:solidFill>
            <a:schemeClr val="bg2">
              <a:lumMod val="60000"/>
              <a:lumOff val="40000"/>
            </a:schemeClr>
          </a:solidFill>
        </p:grpSpPr>
        <p:grpSp>
          <p:nvGrpSpPr>
            <p:cNvPr id="34" name="Group 91">
              <a:extLst>
                <a:ext uri="{FF2B5EF4-FFF2-40B4-BE49-F238E27FC236}">
                  <a16:creationId xmlns:a16="http://schemas.microsoft.com/office/drawing/2014/main" id="{AFDFB079-CF41-1210-2AD0-806941B9CCCF}"/>
                </a:ext>
              </a:extLst>
            </p:cNvPr>
            <p:cNvGrpSpPr/>
            <p:nvPr/>
          </p:nvGrpSpPr>
          <p:grpSpPr>
            <a:xfrm>
              <a:off x="2756450" y="2757465"/>
              <a:ext cx="1775413" cy="397613"/>
              <a:chOff x="2756450" y="2757465"/>
              <a:chExt cx="1775413" cy="397613"/>
            </a:xfrm>
            <a:grpFill/>
          </p:grpSpPr>
          <p:cxnSp>
            <p:nvCxnSpPr>
              <p:cNvPr id="36" name="Straight Connector 93">
                <a:extLst>
                  <a:ext uri="{FF2B5EF4-FFF2-40B4-BE49-F238E27FC236}">
                    <a16:creationId xmlns:a16="http://schemas.microsoft.com/office/drawing/2014/main" id="{65DA8F17-A22F-C38B-0B47-D4072144CEDD}"/>
                  </a:ext>
                </a:extLst>
              </p:cNvPr>
              <p:cNvCxnSpPr/>
              <p:nvPr/>
            </p:nvCxnSpPr>
            <p:spPr>
              <a:xfrm flipH="1">
                <a:off x="2756450" y="2757465"/>
                <a:ext cx="1216648" cy="397613"/>
              </a:xfrm>
              <a:prstGeom prst="line">
                <a:avLst/>
              </a:prstGeom>
              <a:grpFill/>
              <a:ln w="12700">
                <a:solidFill>
                  <a:schemeClr val="bg2">
                    <a:lumMod val="60000"/>
                    <a:lumOff val="40000"/>
                  </a:schemeClr>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7" name="Straight Connector 94">
                <a:extLst>
                  <a:ext uri="{FF2B5EF4-FFF2-40B4-BE49-F238E27FC236}">
                    <a16:creationId xmlns:a16="http://schemas.microsoft.com/office/drawing/2014/main" id="{6B811271-DCAC-630B-4F05-D69E097AB9F9}"/>
                  </a:ext>
                </a:extLst>
              </p:cNvPr>
              <p:cNvCxnSpPr/>
              <p:nvPr/>
            </p:nvCxnSpPr>
            <p:spPr>
              <a:xfrm flipH="1" flipV="1">
                <a:off x="3973098" y="2757465"/>
                <a:ext cx="558765" cy="907"/>
              </a:xfrm>
              <a:prstGeom prst="line">
                <a:avLst/>
              </a:prstGeom>
              <a:grpFill/>
              <a:ln w="1270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grpSp>
        <p:sp>
          <p:nvSpPr>
            <p:cNvPr id="35" name="Oval 92">
              <a:extLst>
                <a:ext uri="{FF2B5EF4-FFF2-40B4-BE49-F238E27FC236}">
                  <a16:creationId xmlns:a16="http://schemas.microsoft.com/office/drawing/2014/main" id="{2EB0C14B-B444-3C77-676A-1D87333C4823}"/>
                </a:ext>
              </a:extLst>
            </p:cNvPr>
            <p:cNvSpPr/>
            <p:nvPr/>
          </p:nvSpPr>
          <p:spPr>
            <a:xfrm>
              <a:off x="4518783" y="2662215"/>
              <a:ext cx="190500" cy="190500"/>
            </a:xfrm>
            <a:prstGeom prst="ellipse">
              <a:avLst/>
            </a:prstGeom>
            <a:grp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Segoe UI Light" charset="0"/>
                <a:ea typeface="Segoe UI Light" charset="0"/>
                <a:cs typeface="Segoe UI Light" charset="0"/>
              </a:endParaRPr>
            </a:p>
          </p:txBody>
        </p:sp>
      </p:grpSp>
      <p:grpSp>
        <p:nvGrpSpPr>
          <p:cNvPr id="43" name="Group 90">
            <a:extLst>
              <a:ext uri="{FF2B5EF4-FFF2-40B4-BE49-F238E27FC236}">
                <a16:creationId xmlns:a16="http://schemas.microsoft.com/office/drawing/2014/main" id="{3A88012C-5D9A-B130-1390-05D34CC8A7AD}"/>
              </a:ext>
            </a:extLst>
          </p:cNvPr>
          <p:cNvGrpSpPr/>
          <p:nvPr/>
        </p:nvGrpSpPr>
        <p:grpSpPr>
          <a:xfrm flipH="1">
            <a:off x="4522292" y="3275505"/>
            <a:ext cx="1952833" cy="492863"/>
            <a:chOff x="2756450" y="2662215"/>
            <a:chExt cx="1952833" cy="492863"/>
          </a:xfrm>
          <a:solidFill>
            <a:schemeClr val="bg2">
              <a:lumMod val="60000"/>
              <a:lumOff val="40000"/>
            </a:schemeClr>
          </a:solidFill>
        </p:grpSpPr>
        <p:grpSp>
          <p:nvGrpSpPr>
            <p:cNvPr id="44" name="Group 91">
              <a:extLst>
                <a:ext uri="{FF2B5EF4-FFF2-40B4-BE49-F238E27FC236}">
                  <a16:creationId xmlns:a16="http://schemas.microsoft.com/office/drawing/2014/main" id="{6AD44710-E71D-0213-F69A-CC2E5C6BC439}"/>
                </a:ext>
              </a:extLst>
            </p:cNvPr>
            <p:cNvGrpSpPr/>
            <p:nvPr/>
          </p:nvGrpSpPr>
          <p:grpSpPr>
            <a:xfrm>
              <a:off x="2756450" y="2757465"/>
              <a:ext cx="1775413" cy="397613"/>
              <a:chOff x="2756450" y="2757465"/>
              <a:chExt cx="1775413" cy="397613"/>
            </a:xfrm>
            <a:grpFill/>
          </p:grpSpPr>
          <p:cxnSp>
            <p:nvCxnSpPr>
              <p:cNvPr id="46" name="Straight Connector 93">
                <a:extLst>
                  <a:ext uri="{FF2B5EF4-FFF2-40B4-BE49-F238E27FC236}">
                    <a16:creationId xmlns:a16="http://schemas.microsoft.com/office/drawing/2014/main" id="{DC8AB66C-DB2E-543E-D925-0B0EC1308189}"/>
                  </a:ext>
                </a:extLst>
              </p:cNvPr>
              <p:cNvCxnSpPr/>
              <p:nvPr/>
            </p:nvCxnSpPr>
            <p:spPr>
              <a:xfrm flipH="1">
                <a:off x="2756450" y="2757465"/>
                <a:ext cx="1216648" cy="397613"/>
              </a:xfrm>
              <a:prstGeom prst="line">
                <a:avLst/>
              </a:prstGeom>
              <a:grpFill/>
              <a:ln w="12700">
                <a:solidFill>
                  <a:schemeClr val="bg2">
                    <a:lumMod val="60000"/>
                    <a:lumOff val="40000"/>
                  </a:schemeClr>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47" name="Straight Connector 94">
                <a:extLst>
                  <a:ext uri="{FF2B5EF4-FFF2-40B4-BE49-F238E27FC236}">
                    <a16:creationId xmlns:a16="http://schemas.microsoft.com/office/drawing/2014/main" id="{9C7C1854-69D9-2855-14C3-F174F525EAFA}"/>
                  </a:ext>
                </a:extLst>
              </p:cNvPr>
              <p:cNvCxnSpPr/>
              <p:nvPr/>
            </p:nvCxnSpPr>
            <p:spPr>
              <a:xfrm flipH="1" flipV="1">
                <a:off x="3973098" y="2757465"/>
                <a:ext cx="558765" cy="907"/>
              </a:xfrm>
              <a:prstGeom prst="line">
                <a:avLst/>
              </a:prstGeom>
              <a:grpFill/>
              <a:ln w="1270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grpSp>
        <p:sp>
          <p:nvSpPr>
            <p:cNvPr id="45" name="Oval 92">
              <a:extLst>
                <a:ext uri="{FF2B5EF4-FFF2-40B4-BE49-F238E27FC236}">
                  <a16:creationId xmlns:a16="http://schemas.microsoft.com/office/drawing/2014/main" id="{BB1A8E2F-7200-791A-44F4-F4836371FC16}"/>
                </a:ext>
              </a:extLst>
            </p:cNvPr>
            <p:cNvSpPr/>
            <p:nvPr/>
          </p:nvSpPr>
          <p:spPr>
            <a:xfrm>
              <a:off x="4518783" y="2662215"/>
              <a:ext cx="190500" cy="190500"/>
            </a:xfrm>
            <a:prstGeom prst="ellipse">
              <a:avLst/>
            </a:prstGeom>
            <a:grp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Segoe UI Light" charset="0"/>
                <a:ea typeface="Segoe UI Light" charset="0"/>
                <a:cs typeface="Segoe UI Light" charset="0"/>
              </a:endParaRPr>
            </a:p>
          </p:txBody>
        </p:sp>
      </p:grpSp>
      <p:sp>
        <p:nvSpPr>
          <p:cNvPr id="48" name="Google Shape;371;p9">
            <a:extLst>
              <a:ext uri="{FF2B5EF4-FFF2-40B4-BE49-F238E27FC236}">
                <a16:creationId xmlns:a16="http://schemas.microsoft.com/office/drawing/2014/main" id="{5AB5A820-0619-5773-E4F3-F4E9525E8F82}"/>
              </a:ext>
            </a:extLst>
          </p:cNvPr>
          <p:cNvSpPr txBox="1"/>
          <p:nvPr/>
        </p:nvSpPr>
        <p:spPr>
          <a:xfrm>
            <a:off x="3761885" y="2551883"/>
            <a:ext cx="1700025" cy="538589"/>
          </a:xfrm>
          <a:prstGeom prst="rect">
            <a:avLst/>
          </a:prstGeom>
          <a:noFill/>
          <a:ln>
            <a:noFill/>
          </a:ln>
        </p:spPr>
        <p:txBody>
          <a:bodyPr spcFirstLastPara="1" wrap="square" lIns="45713" tIns="22850" rIns="45713" bIns="22850" anchor="ctr" anchorCtr="0">
            <a:spAutoFit/>
          </a:bodyPr>
          <a:lstStyle/>
          <a:p>
            <a:pPr algn="ctr" defTabSz="457200">
              <a:buClr>
                <a:srgbClr val="000000"/>
              </a:buClr>
            </a:pPr>
            <a:r>
              <a:rPr lang="fr-FR" sz="1600" b="1" kern="0" err="1">
                <a:solidFill>
                  <a:schemeClr val="bg2">
                    <a:lumMod val="75000"/>
                  </a:schemeClr>
                </a:solidFill>
                <a:ea typeface="Poppins"/>
                <a:cs typeface="Poppins"/>
                <a:sym typeface="Poppins"/>
              </a:rPr>
              <a:t>Identify</a:t>
            </a:r>
            <a:r>
              <a:rPr lang="fr-FR" sz="1600" b="1" kern="0">
                <a:solidFill>
                  <a:schemeClr val="bg2">
                    <a:lumMod val="75000"/>
                  </a:schemeClr>
                </a:solidFill>
                <a:ea typeface="Poppins"/>
                <a:cs typeface="Poppins"/>
                <a:sym typeface="Poppins"/>
              </a:rPr>
              <a:t> the </a:t>
            </a:r>
            <a:r>
              <a:rPr lang="fr-FR" sz="1600" b="1" kern="0" err="1">
                <a:solidFill>
                  <a:schemeClr val="bg2">
                    <a:lumMod val="75000"/>
                  </a:schemeClr>
                </a:solidFill>
                <a:ea typeface="Poppins"/>
                <a:cs typeface="Poppins"/>
                <a:sym typeface="Poppins"/>
              </a:rPr>
              <a:t>necessary</a:t>
            </a:r>
            <a:r>
              <a:rPr lang="fr-FR" sz="1600" b="1" kern="0">
                <a:solidFill>
                  <a:schemeClr val="bg2">
                    <a:lumMod val="75000"/>
                  </a:schemeClr>
                </a:solidFill>
                <a:ea typeface="Poppins"/>
                <a:cs typeface="Poppins"/>
                <a:sym typeface="Poppins"/>
              </a:rPr>
              <a:t> data</a:t>
            </a:r>
            <a:endParaRPr lang="fr-FR" sz="1600" kern="0">
              <a:solidFill>
                <a:schemeClr val="bg2">
                  <a:lumMod val="75000"/>
                </a:schemeClr>
              </a:solidFill>
              <a:cs typeface="Arial"/>
              <a:sym typeface="Arial"/>
            </a:endParaRPr>
          </a:p>
        </p:txBody>
      </p:sp>
      <p:grpSp>
        <p:nvGrpSpPr>
          <p:cNvPr id="49" name="Group 90">
            <a:extLst>
              <a:ext uri="{FF2B5EF4-FFF2-40B4-BE49-F238E27FC236}">
                <a16:creationId xmlns:a16="http://schemas.microsoft.com/office/drawing/2014/main" id="{28D9A4D3-F4DC-17B3-E8D2-3F4B87C1440E}"/>
              </a:ext>
            </a:extLst>
          </p:cNvPr>
          <p:cNvGrpSpPr/>
          <p:nvPr/>
        </p:nvGrpSpPr>
        <p:grpSpPr>
          <a:xfrm flipH="1">
            <a:off x="5971077" y="2747294"/>
            <a:ext cx="1952833" cy="492863"/>
            <a:chOff x="2756450" y="2662215"/>
            <a:chExt cx="1952833" cy="492863"/>
          </a:xfrm>
          <a:solidFill>
            <a:schemeClr val="bg2">
              <a:lumMod val="60000"/>
              <a:lumOff val="40000"/>
            </a:schemeClr>
          </a:solidFill>
        </p:grpSpPr>
        <p:grpSp>
          <p:nvGrpSpPr>
            <p:cNvPr id="50" name="Group 91">
              <a:extLst>
                <a:ext uri="{FF2B5EF4-FFF2-40B4-BE49-F238E27FC236}">
                  <a16:creationId xmlns:a16="http://schemas.microsoft.com/office/drawing/2014/main" id="{F2E61F5A-78FD-3361-B40A-AABC2EFEFC8A}"/>
                </a:ext>
              </a:extLst>
            </p:cNvPr>
            <p:cNvGrpSpPr/>
            <p:nvPr/>
          </p:nvGrpSpPr>
          <p:grpSpPr>
            <a:xfrm>
              <a:off x="2756450" y="2757465"/>
              <a:ext cx="1775413" cy="397613"/>
              <a:chOff x="2756450" y="2757465"/>
              <a:chExt cx="1775413" cy="397613"/>
            </a:xfrm>
            <a:grpFill/>
          </p:grpSpPr>
          <p:cxnSp>
            <p:nvCxnSpPr>
              <p:cNvPr id="52" name="Straight Connector 93">
                <a:extLst>
                  <a:ext uri="{FF2B5EF4-FFF2-40B4-BE49-F238E27FC236}">
                    <a16:creationId xmlns:a16="http://schemas.microsoft.com/office/drawing/2014/main" id="{FD2174F9-2A2C-C019-B102-91CACE5A4935}"/>
                  </a:ext>
                </a:extLst>
              </p:cNvPr>
              <p:cNvCxnSpPr/>
              <p:nvPr/>
            </p:nvCxnSpPr>
            <p:spPr>
              <a:xfrm flipH="1">
                <a:off x="2756450" y="2757465"/>
                <a:ext cx="1216648" cy="397613"/>
              </a:xfrm>
              <a:prstGeom prst="line">
                <a:avLst/>
              </a:prstGeom>
              <a:grpFill/>
              <a:ln w="12700">
                <a:solidFill>
                  <a:schemeClr val="bg2">
                    <a:lumMod val="60000"/>
                    <a:lumOff val="40000"/>
                  </a:schemeClr>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53" name="Straight Connector 94">
                <a:extLst>
                  <a:ext uri="{FF2B5EF4-FFF2-40B4-BE49-F238E27FC236}">
                    <a16:creationId xmlns:a16="http://schemas.microsoft.com/office/drawing/2014/main" id="{7F3C323B-FE86-4E8E-04C3-1939B0F94DC5}"/>
                  </a:ext>
                </a:extLst>
              </p:cNvPr>
              <p:cNvCxnSpPr/>
              <p:nvPr/>
            </p:nvCxnSpPr>
            <p:spPr>
              <a:xfrm flipH="1" flipV="1">
                <a:off x="3973098" y="2757465"/>
                <a:ext cx="558765" cy="907"/>
              </a:xfrm>
              <a:prstGeom prst="line">
                <a:avLst/>
              </a:prstGeom>
              <a:grpFill/>
              <a:ln w="1270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grpSp>
        <p:sp>
          <p:nvSpPr>
            <p:cNvPr id="51" name="Oval 92">
              <a:extLst>
                <a:ext uri="{FF2B5EF4-FFF2-40B4-BE49-F238E27FC236}">
                  <a16:creationId xmlns:a16="http://schemas.microsoft.com/office/drawing/2014/main" id="{8535A17C-09AE-E9D4-B505-C6390D726ECE}"/>
                </a:ext>
              </a:extLst>
            </p:cNvPr>
            <p:cNvSpPr/>
            <p:nvPr/>
          </p:nvSpPr>
          <p:spPr>
            <a:xfrm>
              <a:off x="4518783" y="2662215"/>
              <a:ext cx="190500" cy="190500"/>
            </a:xfrm>
            <a:prstGeom prst="ellipse">
              <a:avLst/>
            </a:prstGeom>
            <a:grp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Segoe UI Light" charset="0"/>
                <a:ea typeface="Segoe UI Light" charset="0"/>
                <a:cs typeface="Segoe UI Light" charset="0"/>
              </a:endParaRPr>
            </a:p>
          </p:txBody>
        </p:sp>
      </p:grpSp>
      <p:sp>
        <p:nvSpPr>
          <p:cNvPr id="54" name="Google Shape;371;p9">
            <a:extLst>
              <a:ext uri="{FF2B5EF4-FFF2-40B4-BE49-F238E27FC236}">
                <a16:creationId xmlns:a16="http://schemas.microsoft.com/office/drawing/2014/main" id="{EE778CB8-42E3-E37C-6439-69730D0969EE}"/>
              </a:ext>
            </a:extLst>
          </p:cNvPr>
          <p:cNvSpPr txBox="1"/>
          <p:nvPr/>
        </p:nvSpPr>
        <p:spPr>
          <a:xfrm>
            <a:off x="5210670" y="2309253"/>
            <a:ext cx="1700025" cy="292368"/>
          </a:xfrm>
          <a:prstGeom prst="rect">
            <a:avLst/>
          </a:prstGeom>
          <a:noFill/>
          <a:ln>
            <a:noFill/>
          </a:ln>
        </p:spPr>
        <p:txBody>
          <a:bodyPr spcFirstLastPara="1" wrap="square" lIns="45713" tIns="22850" rIns="45713" bIns="22850" anchor="ctr" anchorCtr="0">
            <a:spAutoFit/>
          </a:bodyPr>
          <a:lstStyle/>
          <a:p>
            <a:pPr algn="ctr" defTabSz="457200">
              <a:buClr>
                <a:srgbClr val="000000"/>
              </a:buClr>
            </a:pPr>
            <a:r>
              <a:rPr lang="fr-FR" sz="1600" b="1" kern="0" err="1">
                <a:solidFill>
                  <a:schemeClr val="bg2">
                    <a:lumMod val="75000"/>
                  </a:schemeClr>
                </a:solidFill>
                <a:ea typeface="Poppins"/>
                <a:cs typeface="Poppins"/>
                <a:sym typeface="Poppins"/>
              </a:rPr>
              <a:t>Request</a:t>
            </a:r>
            <a:r>
              <a:rPr lang="fr-FR" sz="1600" b="1" kern="0">
                <a:solidFill>
                  <a:schemeClr val="bg2">
                    <a:lumMod val="75000"/>
                  </a:schemeClr>
                </a:solidFill>
                <a:ea typeface="Poppins"/>
                <a:cs typeface="Poppins"/>
                <a:sym typeface="Poppins"/>
              </a:rPr>
              <a:t> </a:t>
            </a:r>
            <a:r>
              <a:rPr lang="fr-FR" sz="1600" b="1" kern="0" err="1">
                <a:solidFill>
                  <a:schemeClr val="bg2">
                    <a:lumMod val="75000"/>
                  </a:schemeClr>
                </a:solidFill>
                <a:ea typeface="Poppins"/>
                <a:cs typeface="Poppins"/>
                <a:sym typeface="Poppins"/>
              </a:rPr>
              <a:t>access</a:t>
            </a:r>
            <a:endParaRPr lang="fr-FR" sz="1600" kern="0">
              <a:solidFill>
                <a:schemeClr val="bg2">
                  <a:lumMod val="75000"/>
                </a:schemeClr>
              </a:solidFill>
              <a:cs typeface="Arial"/>
              <a:sym typeface="Arial"/>
            </a:endParaRPr>
          </a:p>
        </p:txBody>
      </p:sp>
      <p:sp>
        <p:nvSpPr>
          <p:cNvPr id="55" name="Google Shape;371;p9">
            <a:extLst>
              <a:ext uri="{FF2B5EF4-FFF2-40B4-BE49-F238E27FC236}">
                <a16:creationId xmlns:a16="http://schemas.microsoft.com/office/drawing/2014/main" id="{FB50B16E-08E4-B3ED-DFC5-55072D0187A9}"/>
              </a:ext>
            </a:extLst>
          </p:cNvPr>
          <p:cNvSpPr txBox="1"/>
          <p:nvPr/>
        </p:nvSpPr>
        <p:spPr>
          <a:xfrm>
            <a:off x="6665099" y="1725679"/>
            <a:ext cx="1700025" cy="292368"/>
          </a:xfrm>
          <a:prstGeom prst="rect">
            <a:avLst/>
          </a:prstGeom>
          <a:noFill/>
          <a:ln>
            <a:noFill/>
          </a:ln>
        </p:spPr>
        <p:txBody>
          <a:bodyPr spcFirstLastPara="1" wrap="square" lIns="45713" tIns="22850" rIns="45713" bIns="22850" anchor="ctr" anchorCtr="0">
            <a:spAutoFit/>
          </a:bodyPr>
          <a:lstStyle/>
          <a:p>
            <a:pPr algn="ctr" defTabSz="457200">
              <a:buClr>
                <a:srgbClr val="000000"/>
              </a:buClr>
            </a:pPr>
            <a:r>
              <a:rPr lang="fr-FR" sz="1600" b="1" kern="0" err="1">
                <a:solidFill>
                  <a:schemeClr val="bg2">
                    <a:lumMod val="75000"/>
                  </a:schemeClr>
                </a:solidFill>
                <a:ea typeface="Poppins"/>
                <a:cs typeface="Poppins"/>
                <a:sym typeface="Poppins"/>
              </a:rPr>
              <a:t>Request</a:t>
            </a:r>
            <a:r>
              <a:rPr lang="fr-FR" sz="1600" b="1" kern="0">
                <a:solidFill>
                  <a:schemeClr val="bg2">
                    <a:lumMod val="75000"/>
                  </a:schemeClr>
                </a:solidFill>
                <a:ea typeface="Poppins"/>
                <a:cs typeface="Poppins"/>
                <a:sym typeface="Poppins"/>
              </a:rPr>
              <a:t> an upgrade</a:t>
            </a:r>
            <a:endParaRPr lang="fr-FR" sz="1600" kern="0">
              <a:solidFill>
                <a:schemeClr val="bg2">
                  <a:lumMod val="75000"/>
                </a:schemeClr>
              </a:solidFill>
              <a:cs typeface="Arial"/>
              <a:sym typeface="Arial"/>
            </a:endParaRPr>
          </a:p>
        </p:txBody>
      </p:sp>
      <p:grpSp>
        <p:nvGrpSpPr>
          <p:cNvPr id="62" name="Groupe 61">
            <a:extLst>
              <a:ext uri="{FF2B5EF4-FFF2-40B4-BE49-F238E27FC236}">
                <a16:creationId xmlns:a16="http://schemas.microsoft.com/office/drawing/2014/main" id="{371DFEE4-5075-B159-1239-65A2B6AFB01F}"/>
              </a:ext>
            </a:extLst>
          </p:cNvPr>
          <p:cNvGrpSpPr/>
          <p:nvPr/>
        </p:nvGrpSpPr>
        <p:grpSpPr>
          <a:xfrm>
            <a:off x="7419862" y="2219083"/>
            <a:ext cx="1952833" cy="492863"/>
            <a:chOff x="7419862" y="2219083"/>
            <a:chExt cx="1952833" cy="492863"/>
          </a:xfrm>
          <a:solidFill>
            <a:schemeClr val="bg2">
              <a:lumMod val="60000"/>
              <a:lumOff val="40000"/>
            </a:schemeClr>
          </a:solidFill>
        </p:grpSpPr>
        <p:grpSp>
          <p:nvGrpSpPr>
            <p:cNvPr id="57" name="Group 91">
              <a:extLst>
                <a:ext uri="{FF2B5EF4-FFF2-40B4-BE49-F238E27FC236}">
                  <a16:creationId xmlns:a16="http://schemas.microsoft.com/office/drawing/2014/main" id="{72D5BA86-0959-A335-CA1D-70360CD57F15}"/>
                </a:ext>
              </a:extLst>
            </p:cNvPr>
            <p:cNvGrpSpPr/>
            <p:nvPr/>
          </p:nvGrpSpPr>
          <p:grpSpPr>
            <a:xfrm flipH="1">
              <a:off x="7597282" y="2314333"/>
              <a:ext cx="1775413" cy="397613"/>
              <a:chOff x="2756450" y="2757465"/>
              <a:chExt cx="1775413" cy="397613"/>
            </a:xfrm>
            <a:grpFill/>
          </p:grpSpPr>
          <p:cxnSp>
            <p:nvCxnSpPr>
              <p:cNvPr id="59" name="Straight Connector 93">
                <a:extLst>
                  <a:ext uri="{FF2B5EF4-FFF2-40B4-BE49-F238E27FC236}">
                    <a16:creationId xmlns:a16="http://schemas.microsoft.com/office/drawing/2014/main" id="{6372B816-F8C1-DF98-4348-FACB1E402E3C}"/>
                  </a:ext>
                </a:extLst>
              </p:cNvPr>
              <p:cNvCxnSpPr/>
              <p:nvPr/>
            </p:nvCxnSpPr>
            <p:spPr>
              <a:xfrm flipH="1">
                <a:off x="2756450" y="2757465"/>
                <a:ext cx="1216648" cy="397613"/>
              </a:xfrm>
              <a:prstGeom prst="line">
                <a:avLst/>
              </a:prstGeom>
              <a:grpFill/>
              <a:ln w="12700">
                <a:solidFill>
                  <a:schemeClr val="bg2">
                    <a:lumMod val="60000"/>
                    <a:lumOff val="40000"/>
                  </a:schemeClr>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60" name="Straight Connector 94">
                <a:extLst>
                  <a:ext uri="{FF2B5EF4-FFF2-40B4-BE49-F238E27FC236}">
                    <a16:creationId xmlns:a16="http://schemas.microsoft.com/office/drawing/2014/main" id="{08FA2A8B-E0C4-9A86-DABD-9E99ECE9792B}"/>
                  </a:ext>
                </a:extLst>
              </p:cNvPr>
              <p:cNvCxnSpPr/>
              <p:nvPr/>
            </p:nvCxnSpPr>
            <p:spPr>
              <a:xfrm flipH="1" flipV="1">
                <a:off x="3973098" y="2757465"/>
                <a:ext cx="558765" cy="907"/>
              </a:xfrm>
              <a:prstGeom prst="line">
                <a:avLst/>
              </a:prstGeom>
              <a:grpFill/>
              <a:ln w="1270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grpSp>
        <p:sp>
          <p:nvSpPr>
            <p:cNvPr id="58" name="Oval 92">
              <a:extLst>
                <a:ext uri="{FF2B5EF4-FFF2-40B4-BE49-F238E27FC236}">
                  <a16:creationId xmlns:a16="http://schemas.microsoft.com/office/drawing/2014/main" id="{EFDC9024-7625-466A-E190-EBAFAC28050E}"/>
                </a:ext>
              </a:extLst>
            </p:cNvPr>
            <p:cNvSpPr/>
            <p:nvPr/>
          </p:nvSpPr>
          <p:spPr>
            <a:xfrm flipH="1">
              <a:off x="7419862" y="2219083"/>
              <a:ext cx="190500" cy="190500"/>
            </a:xfrm>
            <a:prstGeom prst="ellipse">
              <a:avLst/>
            </a:prstGeom>
            <a:grp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Segoe UI Light" charset="0"/>
                <a:ea typeface="Segoe UI Light" charset="0"/>
                <a:cs typeface="Segoe UI Light" charset="0"/>
              </a:endParaRPr>
            </a:p>
          </p:txBody>
        </p:sp>
      </p:grpSp>
      <p:sp>
        <p:nvSpPr>
          <p:cNvPr id="63" name="Oval 33">
            <a:extLst>
              <a:ext uri="{FF2B5EF4-FFF2-40B4-BE49-F238E27FC236}">
                <a16:creationId xmlns:a16="http://schemas.microsoft.com/office/drawing/2014/main" id="{D957805D-3027-7E1A-626D-DB9E86211964}"/>
              </a:ext>
            </a:extLst>
          </p:cNvPr>
          <p:cNvSpPr/>
          <p:nvPr/>
        </p:nvSpPr>
        <p:spPr>
          <a:xfrm>
            <a:off x="9933690" y="2417114"/>
            <a:ext cx="144000" cy="144000"/>
          </a:xfrm>
          <a:prstGeom prst="ellipse">
            <a:avLst/>
          </a:prstGeom>
          <a:noFill/>
          <a:ln w="50800" cap="flat" cmpd="sng" algn="ctr">
            <a:solidFill>
              <a:schemeClr val="accent1"/>
            </a:solidFill>
            <a:prstDash val="solid"/>
          </a:ln>
          <a:effectLst/>
        </p:spPr>
        <p:txBody>
          <a:bodyPr lIns="91428" tIns="45714" rIns="91428" bIns="45714" rtlCol="0" anchor="ctr"/>
          <a:lstStyle/>
          <a:p>
            <a:pPr marL="0" marR="0" lvl="0" indent="0" algn="ctr" defTabSz="815235" rtl="0" eaLnBrk="1" fontAlgn="auto" latinLnBrk="0" hangingPunct="1">
              <a:lnSpc>
                <a:spcPct val="85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7" name="Espace réservé du texte 6">
            <a:extLst>
              <a:ext uri="{FF2B5EF4-FFF2-40B4-BE49-F238E27FC236}">
                <a16:creationId xmlns:a16="http://schemas.microsoft.com/office/drawing/2014/main" id="{8F65599D-9AFE-20D0-BBCD-744A9BDE53C1}"/>
              </a:ext>
            </a:extLst>
          </p:cNvPr>
          <p:cNvSpPr>
            <a:spLocks noGrp="1"/>
          </p:cNvSpPr>
          <p:nvPr>
            <p:ph type="body" idx="1"/>
          </p:nvPr>
        </p:nvSpPr>
        <p:spPr/>
        <p:txBody>
          <a:bodyPr/>
          <a:lstStyle/>
          <a:p>
            <a:endParaRPr lang="fr-FR"/>
          </a:p>
        </p:txBody>
      </p:sp>
      <p:grpSp>
        <p:nvGrpSpPr>
          <p:cNvPr id="8" name="Groupe 7">
            <a:extLst>
              <a:ext uri="{FF2B5EF4-FFF2-40B4-BE49-F238E27FC236}">
                <a16:creationId xmlns:a16="http://schemas.microsoft.com/office/drawing/2014/main" id="{7A80ED30-9303-799C-B6D7-5AC5EAFFD79F}"/>
              </a:ext>
            </a:extLst>
          </p:cNvPr>
          <p:cNvGrpSpPr/>
          <p:nvPr/>
        </p:nvGrpSpPr>
        <p:grpSpPr>
          <a:xfrm>
            <a:off x="1378229" y="4976553"/>
            <a:ext cx="873985" cy="1205444"/>
            <a:chOff x="402786" y="3436341"/>
            <a:chExt cx="551420" cy="760547"/>
          </a:xfrm>
        </p:grpSpPr>
        <p:sp>
          <p:nvSpPr>
            <p:cNvPr id="9" name="TextBox 67">
              <a:extLst>
                <a:ext uri="{FF2B5EF4-FFF2-40B4-BE49-F238E27FC236}">
                  <a16:creationId xmlns:a16="http://schemas.microsoft.com/office/drawing/2014/main" id="{6F9AC32B-3C4F-D4CC-76C8-08D8C8582282}"/>
                </a:ext>
              </a:extLst>
            </p:cNvPr>
            <p:cNvSpPr txBox="1"/>
            <p:nvPr/>
          </p:nvSpPr>
          <p:spPr>
            <a:xfrm>
              <a:off x="402786" y="3889664"/>
              <a:ext cx="551420" cy="307224"/>
            </a:xfrm>
            <a:prstGeom prst="rect">
              <a:avLst/>
            </a:prstGeom>
            <a:noFill/>
          </p:spPr>
          <p:txBody>
            <a:bodyPr wrap="square" lIns="0" tIns="0" rIns="0" bIns="0" rtlCol="0">
              <a:no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Data consumer</a:t>
              </a:r>
            </a:p>
          </p:txBody>
        </p:sp>
        <p:grpSp>
          <p:nvGrpSpPr>
            <p:cNvPr id="10" name="Groupe 9">
              <a:extLst>
                <a:ext uri="{FF2B5EF4-FFF2-40B4-BE49-F238E27FC236}">
                  <a16:creationId xmlns:a16="http://schemas.microsoft.com/office/drawing/2014/main" id="{F9A2B9E6-D0B7-DC4B-5FF8-75AFCBB61D01}"/>
                </a:ext>
              </a:extLst>
            </p:cNvPr>
            <p:cNvGrpSpPr/>
            <p:nvPr/>
          </p:nvGrpSpPr>
          <p:grpSpPr>
            <a:xfrm>
              <a:off x="491999" y="3436341"/>
              <a:ext cx="396094" cy="396094"/>
              <a:chOff x="2685967" y="2338691"/>
              <a:chExt cx="644441" cy="644441"/>
            </a:xfrm>
          </p:grpSpPr>
          <p:sp>
            <p:nvSpPr>
              <p:cNvPr id="11" name="Ellipse 10">
                <a:extLst>
                  <a:ext uri="{FF2B5EF4-FFF2-40B4-BE49-F238E27FC236}">
                    <a16:creationId xmlns:a16="http://schemas.microsoft.com/office/drawing/2014/main" id="{4ABFFECC-CF64-53B6-96AC-FF693DE26B0B}"/>
                  </a:ext>
                </a:extLst>
              </p:cNvPr>
              <p:cNvSpPr/>
              <p:nvPr/>
            </p:nvSpPr>
            <p:spPr>
              <a:xfrm>
                <a:off x="2685967" y="2338691"/>
                <a:ext cx="644441" cy="644441"/>
              </a:xfrm>
              <a:prstGeom prst="ellipse">
                <a:avLst/>
              </a:prstGeom>
              <a:solidFill>
                <a:srgbClr val="86D5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Graphik" panose="020B0503030202060203" pitchFamily="34" charset="0"/>
                  <a:ea typeface="+mn-ea"/>
                  <a:cs typeface="+mn-cs"/>
                </a:endParaRPr>
              </a:p>
            </p:txBody>
          </p:sp>
          <p:pic>
            <p:nvPicPr>
              <p:cNvPr id="12" name="Image 11">
                <a:extLst>
                  <a:ext uri="{FF2B5EF4-FFF2-40B4-BE49-F238E27FC236}">
                    <a16:creationId xmlns:a16="http://schemas.microsoft.com/office/drawing/2014/main" id="{3EAD082D-2EB3-B4DE-8558-A79BA2E42953}"/>
                  </a:ext>
                </a:extLst>
              </p:cNvPr>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2738187" y="2390911"/>
                <a:ext cx="540000" cy="540000"/>
              </a:xfrm>
              <a:prstGeom prst="rect">
                <a:avLst/>
              </a:prstGeom>
            </p:spPr>
          </p:pic>
        </p:grpSp>
      </p:grpSp>
      <p:sp>
        <p:nvSpPr>
          <p:cNvPr id="13" name="Google Shape;365;g10b5a1f877b_0_194">
            <a:extLst>
              <a:ext uri="{FF2B5EF4-FFF2-40B4-BE49-F238E27FC236}">
                <a16:creationId xmlns:a16="http://schemas.microsoft.com/office/drawing/2014/main" id="{705C7931-1ADF-ECE5-5BA5-3A8B6B2DA2D8}"/>
              </a:ext>
            </a:extLst>
          </p:cNvPr>
          <p:cNvSpPr/>
          <p:nvPr/>
        </p:nvSpPr>
        <p:spPr>
          <a:xfrm>
            <a:off x="121882" y="4613998"/>
            <a:ext cx="1329295" cy="676452"/>
          </a:xfrm>
          <a:prstGeom prst="wedgeEllipseCallout">
            <a:avLst>
              <a:gd name="adj1" fmla="val 53003"/>
              <a:gd name="adj2" fmla="val 33014"/>
            </a:avLst>
          </a:prstGeom>
          <a:solidFill>
            <a:srgbClr val="FFFFFF"/>
          </a:solidFill>
          <a:ln>
            <a:noFill/>
          </a:ln>
          <a:effectLst>
            <a:outerShdw blurRad="63500" sx="102000" sy="102000" algn="ctr" rotWithShape="0">
              <a:srgbClr val="000000">
                <a:alpha val="40000"/>
              </a:srgbClr>
            </a:outerShdw>
          </a:effectLst>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100" b="0" i="0" u="none" strike="noStrike" kern="1200" cap="none" spc="0" normalizeH="0" baseline="0" noProof="0">
                <a:ln>
                  <a:noFill/>
                </a:ln>
                <a:solidFill>
                  <a:srgbClr val="000000"/>
                </a:solidFill>
                <a:effectLst/>
                <a:uLnTx/>
                <a:uFillTx/>
                <a:latin typeface="Vinci Sans Light"/>
                <a:ea typeface="Arial"/>
                <a:cs typeface="Arial"/>
                <a:sym typeface="Arial"/>
              </a:rPr>
              <a:t>Does the data exist to answer my business question?</a:t>
            </a:r>
            <a:endParaRPr kumimoji="0" lang="en-US" sz="1100" b="0" i="0" u="none" strike="noStrike" kern="1200" cap="none" spc="0" normalizeH="0" baseline="0" noProof="0">
              <a:ln>
                <a:noFill/>
              </a:ln>
              <a:solidFill>
                <a:srgbClr val="3F3F3F"/>
              </a:solidFill>
              <a:effectLst/>
              <a:uLnTx/>
              <a:uFillTx/>
              <a:latin typeface="Vinci Sans Light"/>
              <a:ea typeface="+mn-ea"/>
              <a:cs typeface="+mn-cs"/>
            </a:endParaRPr>
          </a:p>
        </p:txBody>
      </p:sp>
      <p:grpSp>
        <p:nvGrpSpPr>
          <p:cNvPr id="3" name="Groupe 2">
            <a:extLst>
              <a:ext uri="{FF2B5EF4-FFF2-40B4-BE49-F238E27FC236}">
                <a16:creationId xmlns:a16="http://schemas.microsoft.com/office/drawing/2014/main" id="{3B2C83E6-091B-2D90-DBEB-0AEBDF794643}"/>
              </a:ext>
            </a:extLst>
          </p:cNvPr>
          <p:cNvGrpSpPr/>
          <p:nvPr/>
        </p:nvGrpSpPr>
        <p:grpSpPr>
          <a:xfrm>
            <a:off x="9606" y="53478"/>
            <a:ext cx="552948" cy="421043"/>
            <a:chOff x="1007542" y="176192"/>
            <a:chExt cx="552948" cy="421043"/>
          </a:xfrm>
        </p:grpSpPr>
        <p:sp>
          <p:nvSpPr>
            <p:cNvPr id="4" name="Ellipse 3">
              <a:extLst>
                <a:ext uri="{FF2B5EF4-FFF2-40B4-BE49-F238E27FC236}">
                  <a16:creationId xmlns:a16="http://schemas.microsoft.com/office/drawing/2014/main" id="{52F48061-00E0-9A80-32DF-235BC60E1E82}"/>
                </a:ext>
              </a:extLst>
            </p:cNvPr>
            <p:cNvSpPr/>
            <p:nvPr/>
          </p:nvSpPr>
          <p:spPr>
            <a:xfrm>
              <a:off x="1073495" y="176192"/>
              <a:ext cx="421043" cy="421043"/>
            </a:xfrm>
            <a:prstGeom prst="ellipse">
              <a:avLst/>
            </a:prstGeom>
            <a:solidFill>
              <a:schemeClr val="accent1"/>
            </a:solidFill>
            <a:ln w="6350">
              <a:solidFill>
                <a:schemeClr val="accent6"/>
              </a:solid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ZoneTexte 13">
              <a:extLst>
                <a:ext uri="{FF2B5EF4-FFF2-40B4-BE49-F238E27FC236}">
                  <a16:creationId xmlns:a16="http://schemas.microsoft.com/office/drawing/2014/main" id="{C26888D7-66D0-A8A6-B410-D9932C90B9FA}"/>
                </a:ext>
              </a:extLst>
            </p:cNvPr>
            <p:cNvSpPr txBox="1"/>
            <p:nvPr/>
          </p:nvSpPr>
          <p:spPr>
            <a:xfrm>
              <a:off x="1007542" y="202047"/>
              <a:ext cx="552948" cy="369332"/>
            </a:xfrm>
            <a:prstGeom prst="rect">
              <a:avLst/>
            </a:prstGeom>
            <a:noFill/>
          </p:spPr>
          <p:txBody>
            <a:bodyPr wrap="square" rtlCol="0">
              <a:spAutoFit/>
            </a:bodyPr>
            <a:lstStyle/>
            <a:p>
              <a:pPr algn="ctr"/>
              <a:r>
                <a:rPr lang="fr-FR">
                  <a:solidFill>
                    <a:schemeClr val="bg1"/>
                  </a:solidFill>
                </a:rPr>
                <a:t>1</a:t>
              </a:r>
            </a:p>
          </p:txBody>
        </p:sp>
      </p:grpSp>
      <p:sp>
        <p:nvSpPr>
          <p:cNvPr id="15" name="Rectangle 14">
            <a:extLst>
              <a:ext uri="{FF2B5EF4-FFF2-40B4-BE49-F238E27FC236}">
                <a16:creationId xmlns:a16="http://schemas.microsoft.com/office/drawing/2014/main" id="{25BAB69D-890B-682C-70C1-9447037FF8AA}"/>
              </a:ext>
            </a:extLst>
          </p:cNvPr>
          <p:cNvSpPr/>
          <p:nvPr/>
        </p:nvSpPr>
        <p:spPr>
          <a:xfrm>
            <a:off x="0" y="0"/>
            <a:ext cx="12182394" cy="6858000"/>
          </a:xfrm>
          <a:prstGeom prst="rect">
            <a:avLst/>
          </a:prstGeom>
          <a:solidFill>
            <a:schemeClr val="bg1">
              <a:lumMod val="95000"/>
              <a:alpha val="50000"/>
            </a:schemeClr>
          </a:solidFill>
          <a:ln w="6350">
            <a:solidFill>
              <a:schemeClr val="accent6"/>
            </a:solid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a:solidFill>
                  <a:sysClr val="windowText" lastClr="000000"/>
                </a:solidFill>
              </a:rPr>
              <a:t>For </a:t>
            </a:r>
            <a:r>
              <a:rPr lang="fr-FR" err="1">
                <a:solidFill>
                  <a:sysClr val="windowText" lastClr="000000"/>
                </a:solidFill>
              </a:rPr>
              <a:t>Later</a:t>
            </a:r>
            <a:r>
              <a:rPr lang="fr-FR">
                <a:solidFill>
                  <a:sysClr val="windowText" lastClr="000000"/>
                </a:solidFill>
              </a:rPr>
              <a:t> Use</a:t>
            </a:r>
          </a:p>
        </p:txBody>
      </p:sp>
    </p:spTree>
    <p:extLst>
      <p:ext uri="{BB962C8B-B14F-4D97-AF65-F5344CB8AC3E}">
        <p14:creationId xmlns:p14="http://schemas.microsoft.com/office/powerpoint/2010/main" val="3510959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7F3EE3B5-83B6-B09B-DF50-71723C71793B}"/>
              </a:ext>
            </a:extLst>
          </p:cNvPr>
          <p:cNvSpPr>
            <a:spLocks noGrp="1"/>
          </p:cNvSpPr>
          <p:nvPr>
            <p:ph type="title"/>
          </p:nvPr>
        </p:nvSpPr>
        <p:spPr>
          <a:prstGeom prst="rect">
            <a:avLst/>
          </a:prstGeom>
        </p:spPr>
        <p:txBody>
          <a:bodyPr/>
          <a:lstStyle/>
          <a:p>
            <a:r>
              <a:rPr lang="fr-FR" err="1">
                <a:solidFill>
                  <a:schemeClr val="tx2"/>
                </a:solidFill>
              </a:rPr>
              <a:t>Onboard</a:t>
            </a:r>
            <a:r>
              <a:rPr lang="fr-FR">
                <a:solidFill>
                  <a:schemeClr val="tx2"/>
                </a:solidFill>
              </a:rPr>
              <a:t> </a:t>
            </a:r>
            <a:r>
              <a:rPr lang="fr-FR"/>
              <a:t>data </a:t>
            </a:r>
            <a:r>
              <a:rPr lang="fr-FR" err="1"/>
              <a:t>producers</a:t>
            </a:r>
            <a:endParaRPr lang="fr-FR"/>
          </a:p>
        </p:txBody>
      </p:sp>
      <p:sp>
        <p:nvSpPr>
          <p:cNvPr id="57" name="Flowchart: Alternate Process 84">
            <a:extLst>
              <a:ext uri="{FF2B5EF4-FFF2-40B4-BE49-F238E27FC236}">
                <a16:creationId xmlns:a16="http://schemas.microsoft.com/office/drawing/2014/main" id="{69A423E6-35F2-61AB-69DC-0724F949D798}"/>
              </a:ext>
            </a:extLst>
          </p:cNvPr>
          <p:cNvSpPr/>
          <p:nvPr/>
        </p:nvSpPr>
        <p:spPr>
          <a:xfrm>
            <a:off x="1887452" y="3420165"/>
            <a:ext cx="1198864" cy="720000"/>
          </a:xfrm>
          <a:prstGeom prst="flowChartAlternateProcess">
            <a:avLst/>
          </a:prstGeom>
          <a:solidFill>
            <a:srgbClr val="7FD2D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a:solidFill>
                  <a:srgbClr val="FFFFFF"/>
                </a:solidFill>
                <a:latin typeface="Graphik"/>
              </a:rPr>
              <a:t>Send an onboarding request to the data office</a:t>
            </a:r>
          </a:p>
        </p:txBody>
      </p:sp>
      <p:cxnSp>
        <p:nvCxnSpPr>
          <p:cNvPr id="117" name="Straight Connector 127">
            <a:extLst>
              <a:ext uri="{FF2B5EF4-FFF2-40B4-BE49-F238E27FC236}">
                <a16:creationId xmlns:a16="http://schemas.microsoft.com/office/drawing/2014/main" id="{5B6614ED-66C2-D8A5-EF8E-9B3150B81DB5}"/>
              </a:ext>
            </a:extLst>
          </p:cNvPr>
          <p:cNvCxnSpPr/>
          <p:nvPr/>
        </p:nvCxnSpPr>
        <p:spPr>
          <a:xfrm>
            <a:off x="1026990" y="3112652"/>
            <a:ext cx="10836525"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27" name="Groupe 126">
            <a:extLst>
              <a:ext uri="{FF2B5EF4-FFF2-40B4-BE49-F238E27FC236}">
                <a16:creationId xmlns:a16="http://schemas.microsoft.com/office/drawing/2014/main" id="{08091DB1-4248-BC17-E80E-588A28BC11BC}"/>
              </a:ext>
            </a:extLst>
          </p:cNvPr>
          <p:cNvGrpSpPr/>
          <p:nvPr/>
        </p:nvGrpSpPr>
        <p:grpSpPr>
          <a:xfrm>
            <a:off x="318056" y="2378528"/>
            <a:ext cx="701950" cy="726244"/>
            <a:chOff x="174112" y="3456060"/>
            <a:chExt cx="701950" cy="726244"/>
          </a:xfrm>
        </p:grpSpPr>
        <p:grpSp>
          <p:nvGrpSpPr>
            <p:cNvPr id="192" name="Groupe 191">
              <a:extLst>
                <a:ext uri="{FF2B5EF4-FFF2-40B4-BE49-F238E27FC236}">
                  <a16:creationId xmlns:a16="http://schemas.microsoft.com/office/drawing/2014/main" id="{F8C8F6B1-F090-0DB2-849C-D7EB3EF253A5}"/>
                </a:ext>
              </a:extLst>
            </p:cNvPr>
            <p:cNvGrpSpPr/>
            <p:nvPr/>
          </p:nvGrpSpPr>
          <p:grpSpPr>
            <a:xfrm>
              <a:off x="323404" y="3456060"/>
              <a:ext cx="396000" cy="396000"/>
              <a:chOff x="728400" y="1697531"/>
              <a:chExt cx="810000" cy="810000"/>
            </a:xfrm>
          </p:grpSpPr>
          <p:sp>
            <p:nvSpPr>
              <p:cNvPr id="194" name="Ellipse 193">
                <a:extLst>
                  <a:ext uri="{FF2B5EF4-FFF2-40B4-BE49-F238E27FC236}">
                    <a16:creationId xmlns:a16="http://schemas.microsoft.com/office/drawing/2014/main" id="{C388DDBC-91FB-E398-57F7-73FBEE7A938F}"/>
                  </a:ext>
                </a:extLst>
              </p:cNvPr>
              <p:cNvSpPr/>
              <p:nvPr/>
            </p:nvSpPr>
            <p:spPr>
              <a:xfrm>
                <a:off x="728400" y="1697531"/>
                <a:ext cx="810000" cy="810000"/>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latin typeface="Graphik" panose="020B0503030202060203" pitchFamily="34" charset="0"/>
                </a:endParaRPr>
              </a:p>
            </p:txBody>
          </p:sp>
          <p:pic>
            <p:nvPicPr>
              <p:cNvPr id="195" name="Picture 74" descr="A picture containing vector graphics&#10;&#10;Description automatically generated">
                <a:extLst>
                  <a:ext uri="{FF2B5EF4-FFF2-40B4-BE49-F238E27FC236}">
                    <a16:creationId xmlns:a16="http://schemas.microsoft.com/office/drawing/2014/main" id="{5BD1D060-DFAD-EAC9-61D2-45CE2669B70B}"/>
                  </a:ext>
                </a:extLst>
              </p:cNvPr>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93200" y="1762331"/>
                <a:ext cx="680400" cy="680400"/>
              </a:xfrm>
              <a:prstGeom prst="rect">
                <a:avLst/>
              </a:prstGeom>
            </p:spPr>
          </p:pic>
        </p:grpSp>
        <p:sp>
          <p:nvSpPr>
            <p:cNvPr id="193" name="TextBox 28">
              <a:extLst>
                <a:ext uri="{FF2B5EF4-FFF2-40B4-BE49-F238E27FC236}">
                  <a16:creationId xmlns:a16="http://schemas.microsoft.com/office/drawing/2014/main" id="{93A44A7A-8500-BD3A-9FD1-99C03CB224E6}"/>
                </a:ext>
              </a:extLst>
            </p:cNvPr>
            <p:cNvSpPr txBox="1"/>
            <p:nvPr/>
          </p:nvSpPr>
          <p:spPr>
            <a:xfrm>
              <a:off x="174112" y="3854804"/>
              <a:ext cx="701950" cy="327500"/>
            </a:xfrm>
            <a:prstGeom prst="rect">
              <a:avLst/>
            </a:prstGeom>
            <a:noFill/>
          </p:spPr>
          <p:txBody>
            <a:bodyPr wrap="square" lIns="0" tIns="0" rIns="0" bIns="0" rtlCol="0">
              <a:no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Data</a:t>
              </a:r>
            </a:p>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Office</a:t>
              </a:r>
            </a:p>
          </p:txBody>
        </p:sp>
      </p:grpSp>
      <p:grpSp>
        <p:nvGrpSpPr>
          <p:cNvPr id="6" name="Groupe 5">
            <a:extLst>
              <a:ext uri="{FF2B5EF4-FFF2-40B4-BE49-F238E27FC236}">
                <a16:creationId xmlns:a16="http://schemas.microsoft.com/office/drawing/2014/main" id="{8A504EFC-322F-6A8C-08A1-25167357C665}"/>
              </a:ext>
            </a:extLst>
          </p:cNvPr>
          <p:cNvGrpSpPr/>
          <p:nvPr/>
        </p:nvGrpSpPr>
        <p:grpSpPr>
          <a:xfrm>
            <a:off x="9606" y="53478"/>
            <a:ext cx="552948" cy="421043"/>
            <a:chOff x="1007542" y="176192"/>
            <a:chExt cx="552948" cy="421043"/>
          </a:xfrm>
        </p:grpSpPr>
        <p:sp>
          <p:nvSpPr>
            <p:cNvPr id="7" name="Ellipse 6">
              <a:extLst>
                <a:ext uri="{FF2B5EF4-FFF2-40B4-BE49-F238E27FC236}">
                  <a16:creationId xmlns:a16="http://schemas.microsoft.com/office/drawing/2014/main" id="{D5AB50E3-815B-FCC0-9FBF-3B9CAB4D79ED}"/>
                </a:ext>
              </a:extLst>
            </p:cNvPr>
            <p:cNvSpPr/>
            <p:nvPr/>
          </p:nvSpPr>
          <p:spPr>
            <a:xfrm>
              <a:off x="1073495" y="176192"/>
              <a:ext cx="421043" cy="421043"/>
            </a:xfrm>
            <a:prstGeom prst="ellipse">
              <a:avLst/>
            </a:prstGeom>
            <a:solidFill>
              <a:schemeClr val="accent1"/>
            </a:solidFill>
            <a:ln w="6350">
              <a:solidFill>
                <a:schemeClr val="accent6"/>
              </a:solid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ZoneTexte 8">
              <a:extLst>
                <a:ext uri="{FF2B5EF4-FFF2-40B4-BE49-F238E27FC236}">
                  <a16:creationId xmlns:a16="http://schemas.microsoft.com/office/drawing/2014/main" id="{5D61ED2D-1C5B-5FCA-C64C-128A65E574E5}"/>
                </a:ext>
              </a:extLst>
            </p:cNvPr>
            <p:cNvSpPr txBox="1"/>
            <p:nvPr/>
          </p:nvSpPr>
          <p:spPr>
            <a:xfrm>
              <a:off x="1007542" y="202047"/>
              <a:ext cx="552948" cy="369332"/>
            </a:xfrm>
            <a:prstGeom prst="rect">
              <a:avLst/>
            </a:prstGeom>
            <a:noFill/>
          </p:spPr>
          <p:txBody>
            <a:bodyPr wrap="square" rtlCol="0">
              <a:spAutoFit/>
            </a:bodyPr>
            <a:lstStyle/>
            <a:p>
              <a:pPr algn="ctr"/>
              <a:r>
                <a:rPr lang="fr-FR">
                  <a:solidFill>
                    <a:schemeClr val="bg1"/>
                  </a:solidFill>
                </a:rPr>
                <a:t>2</a:t>
              </a:r>
            </a:p>
          </p:txBody>
        </p:sp>
      </p:grpSp>
      <p:grpSp>
        <p:nvGrpSpPr>
          <p:cNvPr id="240" name="Groupe 239">
            <a:extLst>
              <a:ext uri="{FF2B5EF4-FFF2-40B4-BE49-F238E27FC236}">
                <a16:creationId xmlns:a16="http://schemas.microsoft.com/office/drawing/2014/main" id="{FABF986F-84C2-FE87-06A9-959D450B718D}"/>
              </a:ext>
            </a:extLst>
          </p:cNvPr>
          <p:cNvGrpSpPr/>
          <p:nvPr/>
        </p:nvGrpSpPr>
        <p:grpSpPr>
          <a:xfrm>
            <a:off x="73237" y="4050726"/>
            <a:ext cx="1179576" cy="723594"/>
            <a:chOff x="100258" y="2427470"/>
            <a:chExt cx="1179576" cy="723594"/>
          </a:xfrm>
        </p:grpSpPr>
        <p:sp>
          <p:nvSpPr>
            <p:cNvPr id="241" name="TextBox 28">
              <a:extLst>
                <a:ext uri="{FF2B5EF4-FFF2-40B4-BE49-F238E27FC236}">
                  <a16:creationId xmlns:a16="http://schemas.microsoft.com/office/drawing/2014/main" id="{A23AAB25-137A-4E0E-2021-C4ABCB4211D6}"/>
                </a:ext>
              </a:extLst>
            </p:cNvPr>
            <p:cNvSpPr txBox="1"/>
            <p:nvPr/>
          </p:nvSpPr>
          <p:spPr>
            <a:xfrm>
              <a:off x="100258" y="2823564"/>
              <a:ext cx="1179576" cy="327500"/>
            </a:xfrm>
            <a:prstGeom prst="rect">
              <a:avLst/>
            </a:prstGeom>
            <a:noFill/>
          </p:spPr>
          <p:txBody>
            <a:bodyPr wrap="square" lIns="0" tIns="0" rIns="0" bIns="0" rtlCol="0">
              <a:no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Data</a:t>
              </a:r>
            </a:p>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Steward</a:t>
              </a:r>
            </a:p>
          </p:txBody>
        </p:sp>
        <p:grpSp>
          <p:nvGrpSpPr>
            <p:cNvPr id="242" name="Groupe 241">
              <a:extLst>
                <a:ext uri="{FF2B5EF4-FFF2-40B4-BE49-F238E27FC236}">
                  <a16:creationId xmlns:a16="http://schemas.microsoft.com/office/drawing/2014/main" id="{558E2635-F148-AE6D-27D8-204D0DBC1734}"/>
                </a:ext>
              </a:extLst>
            </p:cNvPr>
            <p:cNvGrpSpPr/>
            <p:nvPr/>
          </p:nvGrpSpPr>
          <p:grpSpPr>
            <a:xfrm>
              <a:off x="491999" y="2427470"/>
              <a:ext cx="396094" cy="396094"/>
              <a:chOff x="4118929" y="4914966"/>
              <a:chExt cx="644441" cy="644441"/>
            </a:xfrm>
          </p:grpSpPr>
          <p:sp>
            <p:nvSpPr>
              <p:cNvPr id="243" name="Ellipse 242">
                <a:extLst>
                  <a:ext uri="{FF2B5EF4-FFF2-40B4-BE49-F238E27FC236}">
                    <a16:creationId xmlns:a16="http://schemas.microsoft.com/office/drawing/2014/main" id="{E9400AA7-8C6E-5420-C283-E7E63F81BB36}"/>
                  </a:ext>
                </a:extLst>
              </p:cNvPr>
              <p:cNvSpPr/>
              <p:nvPr/>
            </p:nvSpPr>
            <p:spPr>
              <a:xfrm>
                <a:off x="4118929" y="4914966"/>
                <a:ext cx="644441" cy="644441"/>
              </a:xfrm>
              <a:prstGeom prst="ellipse">
                <a:avLst/>
              </a:prstGeom>
              <a:solidFill>
                <a:srgbClr val="00B0AD">
                  <a:alpha val="5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latin typeface="Graphik" panose="020B0503030202060203" pitchFamily="34" charset="0"/>
                </a:endParaRPr>
              </a:p>
            </p:txBody>
          </p:sp>
          <p:pic>
            <p:nvPicPr>
              <p:cNvPr id="244" name="Image 243">
                <a:extLst>
                  <a:ext uri="{FF2B5EF4-FFF2-40B4-BE49-F238E27FC236}">
                    <a16:creationId xmlns:a16="http://schemas.microsoft.com/office/drawing/2014/main" id="{6F0B3353-C130-9EFA-5317-6699D1D59A3D}"/>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171150" y="4969307"/>
                <a:ext cx="540000" cy="535756"/>
              </a:xfrm>
              <a:prstGeom prst="rect">
                <a:avLst/>
              </a:prstGeom>
            </p:spPr>
          </p:pic>
        </p:grpSp>
      </p:grpSp>
      <p:grpSp>
        <p:nvGrpSpPr>
          <p:cNvPr id="245" name="Groupe 244">
            <a:extLst>
              <a:ext uri="{FF2B5EF4-FFF2-40B4-BE49-F238E27FC236}">
                <a16:creationId xmlns:a16="http://schemas.microsoft.com/office/drawing/2014/main" id="{706F851B-5FEA-C222-DF2D-33D7168AFF0F}"/>
              </a:ext>
            </a:extLst>
          </p:cNvPr>
          <p:cNvGrpSpPr/>
          <p:nvPr/>
        </p:nvGrpSpPr>
        <p:grpSpPr>
          <a:xfrm>
            <a:off x="75561" y="3330296"/>
            <a:ext cx="1179574" cy="703318"/>
            <a:chOff x="100259" y="1498738"/>
            <a:chExt cx="1179574" cy="703318"/>
          </a:xfrm>
        </p:grpSpPr>
        <p:sp>
          <p:nvSpPr>
            <p:cNvPr id="246" name="TextBox 103">
              <a:extLst>
                <a:ext uri="{FF2B5EF4-FFF2-40B4-BE49-F238E27FC236}">
                  <a16:creationId xmlns:a16="http://schemas.microsoft.com/office/drawing/2014/main" id="{A22E98A9-036D-E116-F1AD-9C0F251AA2FF}"/>
                </a:ext>
              </a:extLst>
            </p:cNvPr>
            <p:cNvSpPr txBox="1"/>
            <p:nvPr/>
          </p:nvSpPr>
          <p:spPr>
            <a:xfrm>
              <a:off x="100259" y="1894832"/>
              <a:ext cx="1179574" cy="307224"/>
            </a:xfrm>
            <a:prstGeom prst="rect">
              <a:avLst/>
            </a:prstGeom>
            <a:noFill/>
          </p:spPr>
          <p:txBody>
            <a:bodyPr wrap="square" lIns="0" tIns="0" rIns="0" bIns="0" rtlCol="0">
              <a:no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Data</a:t>
              </a:r>
            </a:p>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Owner</a:t>
              </a:r>
            </a:p>
          </p:txBody>
        </p:sp>
        <p:grpSp>
          <p:nvGrpSpPr>
            <p:cNvPr id="247" name="Groupe 246">
              <a:extLst>
                <a:ext uri="{FF2B5EF4-FFF2-40B4-BE49-F238E27FC236}">
                  <a16:creationId xmlns:a16="http://schemas.microsoft.com/office/drawing/2014/main" id="{3AA86345-DB74-017A-70CE-1367ACCB09A5}"/>
                </a:ext>
              </a:extLst>
            </p:cNvPr>
            <p:cNvGrpSpPr/>
            <p:nvPr/>
          </p:nvGrpSpPr>
          <p:grpSpPr>
            <a:xfrm>
              <a:off x="491999" y="1498738"/>
              <a:ext cx="396094" cy="396094"/>
              <a:chOff x="3111683" y="3774648"/>
              <a:chExt cx="644441" cy="644441"/>
            </a:xfrm>
          </p:grpSpPr>
          <p:sp>
            <p:nvSpPr>
              <p:cNvPr id="248" name="Ellipse 247">
                <a:extLst>
                  <a:ext uri="{FF2B5EF4-FFF2-40B4-BE49-F238E27FC236}">
                    <a16:creationId xmlns:a16="http://schemas.microsoft.com/office/drawing/2014/main" id="{4A7C6E8B-E647-C90C-A08A-51D911F7572D}"/>
                  </a:ext>
                </a:extLst>
              </p:cNvPr>
              <p:cNvSpPr/>
              <p:nvPr/>
            </p:nvSpPr>
            <p:spPr>
              <a:xfrm>
                <a:off x="3111683" y="3774648"/>
                <a:ext cx="644441" cy="644441"/>
              </a:xfrm>
              <a:prstGeom prst="ellipse">
                <a:avLst/>
              </a:prstGeom>
              <a:solidFill>
                <a:srgbClr val="00B0AD">
                  <a:alpha val="5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latin typeface="Graphik" panose="020B0503030202060203" pitchFamily="34" charset="0"/>
                </a:endParaRPr>
              </a:p>
            </p:txBody>
          </p:sp>
          <p:pic>
            <p:nvPicPr>
              <p:cNvPr id="249" name="Picture 29" descr="A picture containing clipart&#10;&#10;Description automatically generated">
                <a:extLst>
                  <a:ext uri="{FF2B5EF4-FFF2-40B4-BE49-F238E27FC236}">
                    <a16:creationId xmlns:a16="http://schemas.microsoft.com/office/drawing/2014/main" id="{11F7EB37-B24D-E6D4-B1D0-FF4CA392A2B9}"/>
                  </a:ext>
                </a:extLst>
              </p:cNvPr>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163903" y="3826868"/>
                <a:ext cx="540000" cy="540000"/>
              </a:xfrm>
              <a:prstGeom prst="rect">
                <a:avLst/>
              </a:prstGeom>
            </p:spPr>
          </p:pic>
        </p:grpSp>
      </p:grpSp>
      <p:sp>
        <p:nvSpPr>
          <p:cNvPr id="16" name="Flowchart: Alternate Process 84">
            <a:extLst>
              <a:ext uri="{FF2B5EF4-FFF2-40B4-BE49-F238E27FC236}">
                <a16:creationId xmlns:a16="http://schemas.microsoft.com/office/drawing/2014/main" id="{2FD53C59-5766-9F3E-27DA-43BCE97DE80B}"/>
              </a:ext>
            </a:extLst>
          </p:cNvPr>
          <p:cNvSpPr/>
          <p:nvPr/>
        </p:nvSpPr>
        <p:spPr>
          <a:xfrm>
            <a:off x="3783854" y="2288722"/>
            <a:ext cx="900000" cy="720000"/>
          </a:xfrm>
          <a:prstGeom prst="flowChartAlternateProcess">
            <a:avLst/>
          </a:prstGeom>
          <a:solidFill>
            <a:srgbClr val="FF8DA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a:solidFill>
                  <a:srgbClr val="FFFFFF"/>
                </a:solidFill>
                <a:latin typeface="Graphik"/>
              </a:rPr>
              <a:t>Review request</a:t>
            </a:r>
          </a:p>
        </p:txBody>
      </p:sp>
      <p:sp>
        <p:nvSpPr>
          <p:cNvPr id="17" name="Flowchart: Alternate Process 84">
            <a:extLst>
              <a:ext uri="{FF2B5EF4-FFF2-40B4-BE49-F238E27FC236}">
                <a16:creationId xmlns:a16="http://schemas.microsoft.com/office/drawing/2014/main" id="{B22C7EA4-5946-E783-25EF-ADE1D465E401}"/>
              </a:ext>
            </a:extLst>
          </p:cNvPr>
          <p:cNvSpPr/>
          <p:nvPr/>
        </p:nvSpPr>
        <p:spPr>
          <a:xfrm>
            <a:off x="6929308" y="2288722"/>
            <a:ext cx="900000" cy="720000"/>
          </a:xfrm>
          <a:prstGeom prst="flowChartAlternateProcess">
            <a:avLst/>
          </a:prstGeom>
          <a:solidFill>
            <a:srgbClr val="FF8DA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a:solidFill>
                  <a:srgbClr val="FFFFFF"/>
                </a:solidFill>
                <a:latin typeface="Graphik"/>
              </a:rPr>
              <a:t>Create/Add requester to the right group</a:t>
            </a:r>
          </a:p>
        </p:txBody>
      </p:sp>
      <p:sp>
        <p:nvSpPr>
          <p:cNvPr id="20" name="Flowchart: Alternate Process 84">
            <a:extLst>
              <a:ext uri="{FF2B5EF4-FFF2-40B4-BE49-F238E27FC236}">
                <a16:creationId xmlns:a16="http://schemas.microsoft.com/office/drawing/2014/main" id="{9BF1AB2C-D550-021E-2278-1E93D74198A2}"/>
              </a:ext>
            </a:extLst>
          </p:cNvPr>
          <p:cNvSpPr/>
          <p:nvPr/>
        </p:nvSpPr>
        <p:spPr>
          <a:xfrm>
            <a:off x="5356581" y="2739553"/>
            <a:ext cx="900000" cy="720000"/>
          </a:xfrm>
          <a:prstGeom prst="flowChartAlternateProcess">
            <a:avLst/>
          </a:prstGeom>
          <a:solidFill>
            <a:srgbClr val="FF8DA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a:solidFill>
                  <a:srgbClr val="FFFFFF"/>
                </a:solidFill>
                <a:latin typeface="Graphik"/>
              </a:rPr>
              <a:t>Onboarding meeting</a:t>
            </a:r>
          </a:p>
        </p:txBody>
      </p:sp>
      <p:sp>
        <p:nvSpPr>
          <p:cNvPr id="21" name="Flowchart: Alternate Process 84">
            <a:extLst>
              <a:ext uri="{FF2B5EF4-FFF2-40B4-BE49-F238E27FC236}">
                <a16:creationId xmlns:a16="http://schemas.microsoft.com/office/drawing/2014/main" id="{0CF11713-19D4-BE1C-5EB0-D7A030A8163F}"/>
              </a:ext>
            </a:extLst>
          </p:cNvPr>
          <p:cNvSpPr/>
          <p:nvPr/>
        </p:nvSpPr>
        <p:spPr>
          <a:xfrm>
            <a:off x="8724762" y="2288722"/>
            <a:ext cx="900000" cy="719998"/>
          </a:xfrm>
          <a:prstGeom prst="flowChartAlternateProcess">
            <a:avLst/>
          </a:prstGeom>
          <a:solidFill>
            <a:srgbClr val="FF8DA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a:solidFill>
                  <a:srgbClr val="FFFFFF"/>
                </a:solidFill>
                <a:latin typeface="Graphik"/>
              </a:rPr>
              <a:t>Notify requester</a:t>
            </a:r>
          </a:p>
        </p:txBody>
      </p:sp>
      <p:cxnSp>
        <p:nvCxnSpPr>
          <p:cNvPr id="37" name="Connector: Elbow 18">
            <a:extLst>
              <a:ext uri="{FF2B5EF4-FFF2-40B4-BE49-F238E27FC236}">
                <a16:creationId xmlns:a16="http://schemas.microsoft.com/office/drawing/2014/main" id="{654904B7-1CFC-72D8-4DF3-CF0EE04FEF74}"/>
              </a:ext>
            </a:extLst>
          </p:cNvPr>
          <p:cNvCxnSpPr>
            <a:cxnSpLocks/>
            <a:stCxn id="57" idx="3"/>
            <a:endCxn id="16" idx="1"/>
          </p:cNvCxnSpPr>
          <p:nvPr/>
        </p:nvCxnSpPr>
        <p:spPr>
          <a:xfrm flipV="1">
            <a:off x="3086316" y="2648722"/>
            <a:ext cx="697538" cy="1131443"/>
          </a:xfrm>
          <a:prstGeom prst="bentConnector3">
            <a:avLst>
              <a:gd name="adj1" fmla="val 50000"/>
            </a:avLst>
          </a:prstGeom>
          <a:ln w="12700">
            <a:solidFill>
              <a:schemeClr val="accent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43" name="Connector: Elbow 18">
            <a:extLst>
              <a:ext uri="{FF2B5EF4-FFF2-40B4-BE49-F238E27FC236}">
                <a16:creationId xmlns:a16="http://schemas.microsoft.com/office/drawing/2014/main" id="{7DE04A24-2C12-D5F4-178B-FDC27A8505E8}"/>
              </a:ext>
            </a:extLst>
          </p:cNvPr>
          <p:cNvCxnSpPr>
            <a:cxnSpLocks/>
            <a:stCxn id="16" idx="3"/>
            <a:endCxn id="20" idx="1"/>
          </p:cNvCxnSpPr>
          <p:nvPr/>
        </p:nvCxnSpPr>
        <p:spPr>
          <a:xfrm>
            <a:off x="4683854" y="2648722"/>
            <a:ext cx="672727" cy="450831"/>
          </a:xfrm>
          <a:prstGeom prst="bentConnector3">
            <a:avLst>
              <a:gd name="adj1" fmla="val 50000"/>
            </a:avLst>
          </a:prstGeom>
          <a:ln w="12700">
            <a:solidFill>
              <a:schemeClr val="accent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49" name="Connector: Elbow 18">
            <a:extLst>
              <a:ext uri="{FF2B5EF4-FFF2-40B4-BE49-F238E27FC236}">
                <a16:creationId xmlns:a16="http://schemas.microsoft.com/office/drawing/2014/main" id="{1FCF29BC-4E85-0C67-F58C-C59CF5840423}"/>
              </a:ext>
            </a:extLst>
          </p:cNvPr>
          <p:cNvCxnSpPr>
            <a:cxnSpLocks/>
            <a:stCxn id="20" idx="3"/>
            <a:endCxn id="17" idx="1"/>
          </p:cNvCxnSpPr>
          <p:nvPr/>
        </p:nvCxnSpPr>
        <p:spPr>
          <a:xfrm flipV="1">
            <a:off x="6256581" y="2648722"/>
            <a:ext cx="672727" cy="450831"/>
          </a:xfrm>
          <a:prstGeom prst="bentConnector3">
            <a:avLst>
              <a:gd name="adj1" fmla="val 50000"/>
            </a:avLst>
          </a:prstGeom>
          <a:ln w="12700">
            <a:solidFill>
              <a:schemeClr val="accent1"/>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85" name="Groupe 84">
            <a:extLst>
              <a:ext uri="{FF2B5EF4-FFF2-40B4-BE49-F238E27FC236}">
                <a16:creationId xmlns:a16="http://schemas.microsoft.com/office/drawing/2014/main" id="{9052249C-54DF-DDD9-2EC5-F67EE95279DC}"/>
              </a:ext>
            </a:extLst>
          </p:cNvPr>
          <p:cNvGrpSpPr/>
          <p:nvPr/>
        </p:nvGrpSpPr>
        <p:grpSpPr>
          <a:xfrm>
            <a:off x="861072" y="6286498"/>
            <a:ext cx="1417408" cy="494551"/>
            <a:chOff x="80233" y="5624489"/>
            <a:chExt cx="1417408" cy="494551"/>
          </a:xfrm>
        </p:grpSpPr>
        <p:sp>
          <p:nvSpPr>
            <p:cNvPr id="86" name="Rectangle: Rounded Corners 58">
              <a:extLst>
                <a:ext uri="{FF2B5EF4-FFF2-40B4-BE49-F238E27FC236}">
                  <a16:creationId xmlns:a16="http://schemas.microsoft.com/office/drawing/2014/main" id="{A0D4FAAB-1808-94F6-8440-C5F5531D75A9}"/>
                </a:ext>
              </a:extLst>
            </p:cNvPr>
            <p:cNvSpPr/>
            <p:nvPr/>
          </p:nvSpPr>
          <p:spPr>
            <a:xfrm>
              <a:off x="80233" y="5624489"/>
              <a:ext cx="1417408" cy="494551"/>
            </a:xfrm>
            <a:prstGeom prst="roundRect">
              <a:avLst>
                <a:gd name="adj" fmla="val 5346"/>
              </a:avLst>
            </a:prstGeom>
            <a:solidFill>
              <a:schemeClr val="bg1"/>
            </a:solidFill>
            <a:ln w="6350">
              <a:solidFill>
                <a:schemeClr val="tx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tIns="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E20025"/>
                  </a:solidFill>
                  <a:effectLst/>
                  <a:uLnTx/>
                  <a:uFillTx/>
                  <a:latin typeface="Vinci Sans Light"/>
                  <a:ea typeface="+mn-ea"/>
                  <a:cs typeface="+mn-cs"/>
                </a:rPr>
                <a:t>Legend</a:t>
              </a:r>
              <a:endParaRPr kumimoji="0" lang="en-US" sz="1050" b="1" i="0" u="none" strike="noStrike" kern="1200" cap="none" spc="0" normalizeH="0" baseline="0" noProof="0">
                <a:ln>
                  <a:noFill/>
                </a:ln>
                <a:solidFill>
                  <a:srgbClr val="E20025"/>
                </a:solidFill>
                <a:effectLst/>
                <a:uLnTx/>
                <a:uFillTx/>
                <a:latin typeface="Vinci Sans Light"/>
                <a:ea typeface="+mn-ea"/>
                <a:cs typeface="+mn-cs"/>
              </a:endParaRPr>
            </a:p>
          </p:txBody>
        </p:sp>
        <p:sp>
          <p:nvSpPr>
            <p:cNvPr id="87" name="Flowchart: Alternate Process 92">
              <a:extLst>
                <a:ext uri="{FF2B5EF4-FFF2-40B4-BE49-F238E27FC236}">
                  <a16:creationId xmlns:a16="http://schemas.microsoft.com/office/drawing/2014/main" id="{26336A81-004F-312B-F930-B69B4E1D3041}"/>
                </a:ext>
              </a:extLst>
            </p:cNvPr>
            <p:cNvSpPr/>
            <p:nvPr/>
          </p:nvSpPr>
          <p:spPr>
            <a:xfrm>
              <a:off x="161716" y="5843847"/>
              <a:ext cx="598716" cy="145321"/>
            </a:xfrm>
            <a:prstGeom prst="flowChartAlternateProcess">
              <a:avLst/>
            </a:prstGeom>
            <a:solidFill>
              <a:srgbClr val="7FD2D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Vinci Sans Light"/>
                  <a:ea typeface="+mn-ea"/>
                  <a:cs typeface="+mn-cs"/>
                </a:rPr>
                <a:t>Process Step</a:t>
              </a:r>
            </a:p>
          </p:txBody>
        </p:sp>
        <p:sp>
          <p:nvSpPr>
            <p:cNvPr id="89" name="Flowchart: Decision 96">
              <a:extLst>
                <a:ext uri="{FF2B5EF4-FFF2-40B4-BE49-F238E27FC236}">
                  <a16:creationId xmlns:a16="http://schemas.microsoft.com/office/drawing/2014/main" id="{57876D7F-F7FD-E19B-B83A-A32E9900E500}"/>
                </a:ext>
              </a:extLst>
            </p:cNvPr>
            <p:cNvSpPr/>
            <p:nvPr/>
          </p:nvSpPr>
          <p:spPr>
            <a:xfrm>
              <a:off x="841916" y="5779400"/>
              <a:ext cx="549751" cy="274214"/>
            </a:xfrm>
            <a:prstGeom prst="flowChartDecision">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Vinci Sans Light"/>
                  <a:ea typeface="+mn-ea"/>
                  <a:cs typeface="+mn-cs"/>
                </a:rPr>
                <a:t>Process Decision </a:t>
              </a:r>
            </a:p>
          </p:txBody>
        </p:sp>
      </p:grpSp>
      <p:cxnSp>
        <p:nvCxnSpPr>
          <p:cNvPr id="26" name="Connecteur droit avec flèche 25">
            <a:extLst>
              <a:ext uri="{FF2B5EF4-FFF2-40B4-BE49-F238E27FC236}">
                <a16:creationId xmlns:a16="http://schemas.microsoft.com/office/drawing/2014/main" id="{8C9FA2BE-9550-CDAB-4E7A-DBCA24F1D469}"/>
              </a:ext>
            </a:extLst>
          </p:cNvPr>
          <p:cNvCxnSpPr>
            <a:stCxn id="17" idx="3"/>
            <a:endCxn id="21" idx="1"/>
          </p:cNvCxnSpPr>
          <p:nvPr/>
        </p:nvCxnSpPr>
        <p:spPr>
          <a:xfrm flipV="1">
            <a:off x="7829308" y="2648721"/>
            <a:ext cx="893345" cy="1"/>
          </a:xfrm>
          <a:prstGeom prst="straightConnector1">
            <a:avLst/>
          </a:prstGeom>
          <a:ln w="12700">
            <a:solidFill>
              <a:schemeClr val="accent1"/>
            </a:solidFill>
            <a:prstDash val="solid"/>
            <a:tailEnd type="triangle"/>
          </a:ln>
        </p:spPr>
        <p:style>
          <a:lnRef idx="1">
            <a:schemeClr val="accent1"/>
          </a:lnRef>
          <a:fillRef idx="0">
            <a:schemeClr val="accent1"/>
          </a:fillRef>
          <a:effectRef idx="0">
            <a:schemeClr val="accent1"/>
          </a:effectRef>
          <a:fontRef idx="minor">
            <a:schemeClr val="tx1"/>
          </a:fontRef>
        </p:style>
      </p:cxnSp>
      <p:pic>
        <p:nvPicPr>
          <p:cNvPr id="2" name="Picture 2">
            <a:extLst>
              <a:ext uri="{FF2B5EF4-FFF2-40B4-BE49-F238E27FC236}">
                <a16:creationId xmlns:a16="http://schemas.microsoft.com/office/drawing/2014/main" id="{8DBB8A00-D452-2F99-2AFA-23425792FCA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28475" y="2836103"/>
            <a:ext cx="257925" cy="270000"/>
          </a:xfrm>
          <a:prstGeom prst="rect">
            <a:avLst/>
          </a:prstGeom>
          <a:noFill/>
          <a:extLst>
            <a:ext uri="{909E8E84-426E-40DD-AFC4-6F175D3DCCD1}">
              <a14:hiddenFill xmlns:a14="http://schemas.microsoft.com/office/drawing/2010/main">
                <a:solidFill>
                  <a:srgbClr val="FFFFFF"/>
                </a:solidFill>
              </a14:hiddenFill>
            </a:ext>
          </a:extLst>
        </p:spPr>
      </p:pic>
      <p:sp>
        <p:nvSpPr>
          <p:cNvPr id="4" name="ZoneTexte 7">
            <a:extLst>
              <a:ext uri="{FF2B5EF4-FFF2-40B4-BE49-F238E27FC236}">
                <a16:creationId xmlns:a16="http://schemas.microsoft.com/office/drawing/2014/main" id="{9F94DCA5-60B2-4035-5CF7-0B13439554DE}"/>
              </a:ext>
            </a:extLst>
          </p:cNvPr>
          <p:cNvSpPr txBox="1"/>
          <p:nvPr/>
        </p:nvSpPr>
        <p:spPr>
          <a:xfrm>
            <a:off x="4199410" y="3114740"/>
            <a:ext cx="934278" cy="230832"/>
          </a:xfrm>
          <a:prstGeom prst="rect">
            <a:avLst/>
          </a:prstGeom>
          <a:noFill/>
        </p:spPr>
        <p:txBody>
          <a:bodyPr wrap="square" rtlCol="0">
            <a:spAutoFit/>
          </a:bodyPr>
          <a:lstStyle/>
          <a:p>
            <a:pPr algn="ctr"/>
            <a:r>
              <a:rPr lang="fr-FR" sz="900" b="1" err="1"/>
              <a:t>MySupport</a:t>
            </a:r>
            <a:endParaRPr lang="fr-FR" sz="1000" b="1"/>
          </a:p>
        </p:txBody>
      </p:sp>
      <p:pic>
        <p:nvPicPr>
          <p:cNvPr id="10" name="Picture 2">
            <a:extLst>
              <a:ext uri="{FF2B5EF4-FFF2-40B4-BE49-F238E27FC236}">
                <a16:creationId xmlns:a16="http://schemas.microsoft.com/office/drawing/2014/main" id="{413BD10E-82DE-1271-152B-3CF557676E9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27536" y="3974095"/>
            <a:ext cx="257925" cy="270000"/>
          </a:xfrm>
          <a:prstGeom prst="rect">
            <a:avLst/>
          </a:prstGeom>
          <a:noFill/>
          <a:extLst>
            <a:ext uri="{909E8E84-426E-40DD-AFC4-6F175D3DCCD1}">
              <a14:hiddenFill xmlns:a14="http://schemas.microsoft.com/office/drawing/2010/main">
                <a:solidFill>
                  <a:srgbClr val="FFFFFF"/>
                </a:solidFill>
              </a14:hiddenFill>
            </a:ext>
          </a:extLst>
        </p:spPr>
      </p:pic>
      <p:sp>
        <p:nvSpPr>
          <p:cNvPr id="11" name="ZoneTexte 7">
            <a:extLst>
              <a:ext uri="{FF2B5EF4-FFF2-40B4-BE49-F238E27FC236}">
                <a16:creationId xmlns:a16="http://schemas.microsoft.com/office/drawing/2014/main" id="{462FD764-E036-BA73-75EF-C4744195E7A8}"/>
              </a:ext>
            </a:extLst>
          </p:cNvPr>
          <p:cNvSpPr txBox="1"/>
          <p:nvPr/>
        </p:nvSpPr>
        <p:spPr>
          <a:xfrm>
            <a:off x="2598471" y="4252732"/>
            <a:ext cx="934278" cy="230832"/>
          </a:xfrm>
          <a:prstGeom prst="rect">
            <a:avLst/>
          </a:prstGeom>
          <a:noFill/>
        </p:spPr>
        <p:txBody>
          <a:bodyPr wrap="square" rtlCol="0">
            <a:spAutoFit/>
          </a:bodyPr>
          <a:lstStyle/>
          <a:p>
            <a:pPr algn="ctr"/>
            <a:r>
              <a:rPr lang="fr-FR" sz="900" b="1" err="1"/>
              <a:t>MySupport</a:t>
            </a:r>
            <a:endParaRPr lang="fr-FR" sz="1000" b="1"/>
          </a:p>
        </p:txBody>
      </p:sp>
      <p:pic>
        <p:nvPicPr>
          <p:cNvPr id="18" name="Graphique 17">
            <a:extLst>
              <a:ext uri="{FF2B5EF4-FFF2-40B4-BE49-F238E27FC236}">
                <a16:creationId xmlns:a16="http://schemas.microsoft.com/office/drawing/2014/main" id="{CA2B4230-C7C2-3F46-9E19-D3168E3BA18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32805" y="2788411"/>
            <a:ext cx="270000" cy="270000"/>
          </a:xfrm>
          <a:prstGeom prst="ellipse">
            <a:avLst/>
          </a:prstGeom>
        </p:spPr>
      </p:pic>
      <p:sp>
        <p:nvSpPr>
          <p:cNvPr id="25" name="ZoneTexte 24">
            <a:extLst>
              <a:ext uri="{FF2B5EF4-FFF2-40B4-BE49-F238E27FC236}">
                <a16:creationId xmlns:a16="http://schemas.microsoft.com/office/drawing/2014/main" id="{31261BE8-CF39-6DBF-5D22-1A493D49FF28}"/>
              </a:ext>
            </a:extLst>
          </p:cNvPr>
          <p:cNvSpPr txBox="1"/>
          <p:nvPr/>
        </p:nvSpPr>
        <p:spPr>
          <a:xfrm>
            <a:off x="7300666" y="3099464"/>
            <a:ext cx="934278" cy="230832"/>
          </a:xfrm>
          <a:prstGeom prst="rect">
            <a:avLst/>
          </a:prstGeom>
          <a:noFill/>
        </p:spPr>
        <p:txBody>
          <a:bodyPr wrap="square" rtlCol="0">
            <a:spAutoFit/>
          </a:bodyPr>
          <a:lstStyle/>
          <a:p>
            <a:pPr algn="ctr"/>
            <a:r>
              <a:rPr lang="fr-FR" sz="900" b="1" err="1"/>
              <a:t>Administrator</a:t>
            </a:r>
            <a:endParaRPr lang="fr-FR" sz="900" b="1"/>
          </a:p>
        </p:txBody>
      </p:sp>
      <p:pic>
        <p:nvPicPr>
          <p:cNvPr id="27" name="Picture 2">
            <a:extLst>
              <a:ext uri="{FF2B5EF4-FFF2-40B4-BE49-F238E27FC236}">
                <a16:creationId xmlns:a16="http://schemas.microsoft.com/office/drawing/2014/main" id="{44C957DC-5A7B-1A7D-E024-6D433446C45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461586" y="2839418"/>
            <a:ext cx="257925" cy="270000"/>
          </a:xfrm>
          <a:prstGeom prst="rect">
            <a:avLst/>
          </a:prstGeom>
          <a:noFill/>
          <a:extLst>
            <a:ext uri="{909E8E84-426E-40DD-AFC4-6F175D3DCCD1}">
              <a14:hiddenFill xmlns:a14="http://schemas.microsoft.com/office/drawing/2010/main">
                <a:solidFill>
                  <a:srgbClr val="FFFFFF"/>
                </a:solidFill>
              </a14:hiddenFill>
            </a:ext>
          </a:extLst>
        </p:spPr>
      </p:pic>
      <p:sp>
        <p:nvSpPr>
          <p:cNvPr id="28" name="ZoneTexte 7">
            <a:extLst>
              <a:ext uri="{FF2B5EF4-FFF2-40B4-BE49-F238E27FC236}">
                <a16:creationId xmlns:a16="http://schemas.microsoft.com/office/drawing/2014/main" id="{269C6374-7811-4F0A-4D5E-A588032E1434}"/>
              </a:ext>
            </a:extLst>
          </p:cNvPr>
          <p:cNvSpPr txBox="1"/>
          <p:nvPr/>
        </p:nvSpPr>
        <p:spPr>
          <a:xfrm>
            <a:off x="9132521" y="3118055"/>
            <a:ext cx="934278" cy="230832"/>
          </a:xfrm>
          <a:prstGeom prst="rect">
            <a:avLst/>
          </a:prstGeom>
          <a:noFill/>
        </p:spPr>
        <p:txBody>
          <a:bodyPr wrap="square" rtlCol="0">
            <a:spAutoFit/>
          </a:bodyPr>
          <a:lstStyle/>
          <a:p>
            <a:pPr algn="ctr"/>
            <a:r>
              <a:rPr lang="fr-FR" sz="900" b="1" err="1"/>
              <a:t>MySupport</a:t>
            </a:r>
            <a:endParaRPr lang="fr-FR" sz="1000" b="1"/>
          </a:p>
        </p:txBody>
      </p:sp>
    </p:spTree>
    <p:extLst>
      <p:ext uri="{BB962C8B-B14F-4D97-AF65-F5344CB8AC3E}">
        <p14:creationId xmlns:p14="http://schemas.microsoft.com/office/powerpoint/2010/main" val="3302271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7F3EE3B5-83B6-B09B-DF50-71723C71793B}"/>
              </a:ext>
            </a:extLst>
          </p:cNvPr>
          <p:cNvSpPr>
            <a:spLocks noGrp="1"/>
          </p:cNvSpPr>
          <p:nvPr>
            <p:ph type="title"/>
          </p:nvPr>
        </p:nvSpPr>
        <p:spPr>
          <a:prstGeom prst="rect">
            <a:avLst/>
          </a:prstGeom>
        </p:spPr>
        <p:txBody>
          <a:bodyPr/>
          <a:lstStyle/>
          <a:p>
            <a:pPr>
              <a:spcAft>
                <a:spcPts val="600"/>
              </a:spcAft>
            </a:pPr>
            <a:r>
              <a:rPr lang="en-US">
                <a:solidFill>
                  <a:schemeClr val="tx2"/>
                </a:solidFill>
              </a:rPr>
              <a:t>Scan</a:t>
            </a:r>
            <a:r>
              <a:rPr lang="en-US"/>
              <a:t> Data Sources / Schedule Jobs</a:t>
            </a:r>
          </a:p>
        </p:txBody>
      </p:sp>
      <p:cxnSp>
        <p:nvCxnSpPr>
          <p:cNvPr id="44" name="Straight Connector 139">
            <a:extLst>
              <a:ext uri="{FF2B5EF4-FFF2-40B4-BE49-F238E27FC236}">
                <a16:creationId xmlns:a16="http://schemas.microsoft.com/office/drawing/2014/main" id="{EE18F534-3757-8435-80D7-B7CFA0740906}"/>
              </a:ext>
            </a:extLst>
          </p:cNvPr>
          <p:cNvCxnSpPr/>
          <p:nvPr/>
        </p:nvCxnSpPr>
        <p:spPr>
          <a:xfrm>
            <a:off x="907943" y="3199896"/>
            <a:ext cx="10836525"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63" name="Groupe 62">
            <a:extLst>
              <a:ext uri="{FF2B5EF4-FFF2-40B4-BE49-F238E27FC236}">
                <a16:creationId xmlns:a16="http://schemas.microsoft.com/office/drawing/2014/main" id="{5F44EEAC-240E-0B02-0033-81AEFDE3B5D9}"/>
              </a:ext>
            </a:extLst>
          </p:cNvPr>
          <p:cNvGrpSpPr/>
          <p:nvPr/>
        </p:nvGrpSpPr>
        <p:grpSpPr>
          <a:xfrm>
            <a:off x="323404" y="3456060"/>
            <a:ext cx="396000" cy="396000"/>
            <a:chOff x="728400" y="1697531"/>
            <a:chExt cx="810000" cy="810000"/>
          </a:xfrm>
        </p:grpSpPr>
        <p:sp>
          <p:nvSpPr>
            <p:cNvPr id="65" name="Ellipse 64">
              <a:extLst>
                <a:ext uri="{FF2B5EF4-FFF2-40B4-BE49-F238E27FC236}">
                  <a16:creationId xmlns:a16="http://schemas.microsoft.com/office/drawing/2014/main" id="{676ED51E-EE00-6295-7092-5B0FAC5F60EE}"/>
                </a:ext>
              </a:extLst>
            </p:cNvPr>
            <p:cNvSpPr/>
            <p:nvPr/>
          </p:nvSpPr>
          <p:spPr>
            <a:xfrm>
              <a:off x="728400" y="1697531"/>
              <a:ext cx="810000" cy="810000"/>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latin typeface="Graphik" panose="020B0503030202060203" pitchFamily="34" charset="0"/>
              </a:endParaRPr>
            </a:p>
          </p:txBody>
        </p:sp>
        <p:pic>
          <p:nvPicPr>
            <p:cNvPr id="66" name="Picture 74" descr="A picture containing vector graphics&#10;&#10;Description automatically generated">
              <a:extLst>
                <a:ext uri="{FF2B5EF4-FFF2-40B4-BE49-F238E27FC236}">
                  <a16:creationId xmlns:a16="http://schemas.microsoft.com/office/drawing/2014/main" id="{3ED03130-0484-7F78-F6E0-31004CC8EC12}"/>
                </a:ext>
              </a:extLst>
            </p:cNvPr>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93200" y="1762331"/>
              <a:ext cx="680400" cy="680400"/>
            </a:xfrm>
            <a:prstGeom prst="rect">
              <a:avLst/>
            </a:prstGeom>
          </p:spPr>
        </p:pic>
      </p:grpSp>
      <p:sp>
        <p:nvSpPr>
          <p:cNvPr id="67" name="TextBox 28">
            <a:extLst>
              <a:ext uri="{FF2B5EF4-FFF2-40B4-BE49-F238E27FC236}">
                <a16:creationId xmlns:a16="http://schemas.microsoft.com/office/drawing/2014/main" id="{725FB370-3D0C-BD2E-2CBB-D06919AEC098}"/>
              </a:ext>
            </a:extLst>
          </p:cNvPr>
          <p:cNvSpPr txBox="1"/>
          <p:nvPr/>
        </p:nvSpPr>
        <p:spPr>
          <a:xfrm>
            <a:off x="-77348" y="3854804"/>
            <a:ext cx="1179576" cy="327500"/>
          </a:xfrm>
          <a:prstGeom prst="rect">
            <a:avLst/>
          </a:prstGeom>
          <a:noFill/>
        </p:spPr>
        <p:txBody>
          <a:bodyPr wrap="square" lIns="0" tIns="0" rIns="0" bIns="0" rtlCol="0">
            <a:no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Data</a:t>
            </a:r>
          </a:p>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Office</a:t>
            </a:r>
          </a:p>
        </p:txBody>
      </p:sp>
      <p:sp>
        <p:nvSpPr>
          <p:cNvPr id="2" name="Flowchart: Alternate Process 85">
            <a:extLst>
              <a:ext uri="{FF2B5EF4-FFF2-40B4-BE49-F238E27FC236}">
                <a16:creationId xmlns:a16="http://schemas.microsoft.com/office/drawing/2014/main" id="{C7D07F73-9F97-76BA-E9CC-F4A33CFDEE80}"/>
              </a:ext>
            </a:extLst>
          </p:cNvPr>
          <p:cNvSpPr/>
          <p:nvPr/>
        </p:nvSpPr>
        <p:spPr>
          <a:xfrm>
            <a:off x="1094019" y="2359506"/>
            <a:ext cx="900000" cy="720000"/>
          </a:xfrm>
          <a:prstGeom prst="flowChartAlternateProcess">
            <a:avLst/>
          </a:prstGeom>
          <a:solidFill>
            <a:srgbClr val="7FD2D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rgbClr val="FFFFFF"/>
                </a:solidFill>
                <a:latin typeface="Graphik"/>
              </a:rPr>
              <a:t>Request a new data source</a:t>
            </a:r>
            <a:endParaRPr kumimoji="0" lang="en-US" sz="900" b="0" i="0" u="none" strike="noStrike" kern="1200" cap="none" spc="0" normalizeH="0" baseline="0" noProof="0">
              <a:ln>
                <a:noFill/>
              </a:ln>
              <a:solidFill>
                <a:srgbClr val="FFFFFF"/>
              </a:solidFill>
              <a:effectLst/>
              <a:uLnTx/>
              <a:uFillTx/>
              <a:latin typeface="Graphik"/>
              <a:ea typeface="+mn-ea"/>
              <a:cs typeface="+mn-cs"/>
            </a:endParaRPr>
          </a:p>
        </p:txBody>
      </p:sp>
      <p:sp>
        <p:nvSpPr>
          <p:cNvPr id="7" name="Flowchart: Alternate Process 85">
            <a:extLst>
              <a:ext uri="{FF2B5EF4-FFF2-40B4-BE49-F238E27FC236}">
                <a16:creationId xmlns:a16="http://schemas.microsoft.com/office/drawing/2014/main" id="{3FFF9B45-661A-507D-CBBC-66A2C5792FFF}"/>
              </a:ext>
            </a:extLst>
          </p:cNvPr>
          <p:cNvSpPr/>
          <p:nvPr/>
        </p:nvSpPr>
        <p:spPr>
          <a:xfrm>
            <a:off x="1721456" y="3398853"/>
            <a:ext cx="900000" cy="720000"/>
          </a:xfrm>
          <a:prstGeom prst="flowChartAlternateProcess">
            <a:avLst/>
          </a:prstGeom>
          <a:solidFill>
            <a:srgbClr val="FF8DA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rgbClr val="FFFFFF"/>
                </a:solidFill>
                <a:latin typeface="Graphik"/>
              </a:rPr>
              <a:t>Transmission of a list of prerequisites</a:t>
            </a:r>
            <a:endParaRPr kumimoji="0" lang="en-US" sz="900" b="0" i="0" u="none" strike="noStrike" kern="1200" cap="none" spc="0" normalizeH="0" baseline="0" noProof="0">
              <a:ln>
                <a:noFill/>
              </a:ln>
              <a:solidFill>
                <a:srgbClr val="FFFFFF"/>
              </a:solidFill>
              <a:effectLst/>
              <a:uLnTx/>
              <a:uFillTx/>
              <a:latin typeface="Graphik"/>
              <a:ea typeface="+mn-ea"/>
              <a:cs typeface="+mn-cs"/>
            </a:endParaRPr>
          </a:p>
        </p:txBody>
      </p:sp>
      <p:cxnSp>
        <p:nvCxnSpPr>
          <p:cNvPr id="9" name="Connector: Elbow 18">
            <a:extLst>
              <a:ext uri="{FF2B5EF4-FFF2-40B4-BE49-F238E27FC236}">
                <a16:creationId xmlns:a16="http://schemas.microsoft.com/office/drawing/2014/main" id="{082B2AF3-D357-A307-B48B-F0A29C37B4F6}"/>
              </a:ext>
            </a:extLst>
          </p:cNvPr>
          <p:cNvCxnSpPr>
            <a:cxnSpLocks/>
            <a:stCxn id="2" idx="2"/>
            <a:endCxn id="7" idx="1"/>
          </p:cNvCxnSpPr>
          <p:nvPr/>
        </p:nvCxnSpPr>
        <p:spPr>
          <a:xfrm rot="16200000" flipH="1">
            <a:off x="1293064" y="3330460"/>
            <a:ext cx="679347" cy="177437"/>
          </a:xfrm>
          <a:prstGeom prst="bentConnector2">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0" name="Flowchart: Alternate Process 85">
            <a:extLst>
              <a:ext uri="{FF2B5EF4-FFF2-40B4-BE49-F238E27FC236}">
                <a16:creationId xmlns:a16="http://schemas.microsoft.com/office/drawing/2014/main" id="{B99F769A-F75A-92C5-B46D-08BA0F2A504A}"/>
              </a:ext>
            </a:extLst>
          </p:cNvPr>
          <p:cNvSpPr/>
          <p:nvPr/>
        </p:nvSpPr>
        <p:spPr>
          <a:xfrm>
            <a:off x="2388636" y="2358498"/>
            <a:ext cx="900000" cy="720000"/>
          </a:xfrm>
          <a:prstGeom prst="flowChartAlternateProcess">
            <a:avLst/>
          </a:prstGeom>
          <a:solidFill>
            <a:srgbClr val="7FD2D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rgbClr val="FFFFFF"/>
                </a:solidFill>
                <a:latin typeface="Graphik"/>
              </a:rPr>
              <a:t>Complete the list of prerequisites</a:t>
            </a:r>
            <a:endParaRPr kumimoji="0" lang="en-US" sz="900" b="0" i="0" u="none" strike="noStrike" kern="1200" cap="none" spc="0" normalizeH="0" baseline="0" noProof="0">
              <a:ln>
                <a:noFill/>
              </a:ln>
              <a:solidFill>
                <a:srgbClr val="FFFFFF"/>
              </a:solidFill>
              <a:effectLst/>
              <a:uLnTx/>
              <a:uFillTx/>
              <a:latin typeface="Graphik"/>
              <a:ea typeface="+mn-ea"/>
              <a:cs typeface="+mn-cs"/>
            </a:endParaRPr>
          </a:p>
        </p:txBody>
      </p:sp>
      <p:cxnSp>
        <p:nvCxnSpPr>
          <p:cNvPr id="21" name="Connector: Elbow 18">
            <a:extLst>
              <a:ext uri="{FF2B5EF4-FFF2-40B4-BE49-F238E27FC236}">
                <a16:creationId xmlns:a16="http://schemas.microsoft.com/office/drawing/2014/main" id="{ED51D4A3-CD94-3EB7-11F8-C63B9B01A4C5}"/>
              </a:ext>
            </a:extLst>
          </p:cNvPr>
          <p:cNvCxnSpPr>
            <a:cxnSpLocks/>
            <a:stCxn id="7" idx="3"/>
            <a:endCxn id="20" idx="2"/>
          </p:cNvCxnSpPr>
          <p:nvPr/>
        </p:nvCxnSpPr>
        <p:spPr>
          <a:xfrm flipV="1">
            <a:off x="2621456" y="3078498"/>
            <a:ext cx="217180" cy="680355"/>
          </a:xfrm>
          <a:prstGeom prst="bentConnector2">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3" name="Flowchart: Alternate Process 85">
            <a:extLst>
              <a:ext uri="{FF2B5EF4-FFF2-40B4-BE49-F238E27FC236}">
                <a16:creationId xmlns:a16="http://schemas.microsoft.com/office/drawing/2014/main" id="{D6D032A1-614D-F8AD-694F-25CE7F696FBA}"/>
              </a:ext>
            </a:extLst>
          </p:cNvPr>
          <p:cNvSpPr/>
          <p:nvPr/>
        </p:nvSpPr>
        <p:spPr>
          <a:xfrm>
            <a:off x="3221535" y="3398853"/>
            <a:ext cx="900000" cy="720000"/>
          </a:xfrm>
          <a:prstGeom prst="flowChartAlternateProcess">
            <a:avLst/>
          </a:prstGeom>
          <a:solidFill>
            <a:srgbClr val="FF8DA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rgbClr val="FFFFFF"/>
                </a:solidFill>
                <a:latin typeface="Graphik"/>
              </a:rPr>
              <a:t>Create Connectors and new data source </a:t>
            </a:r>
            <a:endParaRPr kumimoji="0" lang="en-US" sz="900" b="0" i="0" u="none" strike="noStrike" kern="1200" cap="none" spc="0" normalizeH="0" baseline="0" noProof="0">
              <a:ln>
                <a:noFill/>
              </a:ln>
              <a:solidFill>
                <a:srgbClr val="FFFFFF"/>
              </a:solidFill>
              <a:effectLst/>
              <a:uLnTx/>
              <a:uFillTx/>
              <a:latin typeface="Graphik"/>
              <a:ea typeface="+mn-ea"/>
              <a:cs typeface="+mn-cs"/>
            </a:endParaRPr>
          </a:p>
        </p:txBody>
      </p:sp>
      <p:sp>
        <p:nvSpPr>
          <p:cNvPr id="34" name="Flowchart: Alternate Process 85">
            <a:extLst>
              <a:ext uri="{FF2B5EF4-FFF2-40B4-BE49-F238E27FC236}">
                <a16:creationId xmlns:a16="http://schemas.microsoft.com/office/drawing/2014/main" id="{D1C5135F-46F1-B0A7-085A-368AAA219E9E}"/>
              </a:ext>
            </a:extLst>
          </p:cNvPr>
          <p:cNvSpPr/>
          <p:nvPr/>
        </p:nvSpPr>
        <p:spPr>
          <a:xfrm>
            <a:off x="4391239" y="3398853"/>
            <a:ext cx="900000" cy="720000"/>
          </a:xfrm>
          <a:prstGeom prst="flowChartAlternateProcess">
            <a:avLst/>
          </a:prstGeom>
          <a:solidFill>
            <a:srgbClr val="FF8DA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rgbClr val="FFFFFF"/>
                </a:solidFill>
                <a:latin typeface="Graphik"/>
              </a:rPr>
              <a:t>Scan Metadata</a:t>
            </a:r>
            <a:endParaRPr kumimoji="0" lang="en-US" sz="900" b="0" i="0" u="none" strike="noStrike" kern="1200" cap="none" spc="0" normalizeH="0" baseline="0" noProof="0">
              <a:ln>
                <a:noFill/>
              </a:ln>
              <a:solidFill>
                <a:srgbClr val="FFFFFF"/>
              </a:solidFill>
              <a:effectLst/>
              <a:uLnTx/>
              <a:uFillTx/>
              <a:latin typeface="Graphik"/>
              <a:ea typeface="+mn-ea"/>
              <a:cs typeface="+mn-cs"/>
            </a:endParaRPr>
          </a:p>
        </p:txBody>
      </p:sp>
      <p:sp>
        <p:nvSpPr>
          <p:cNvPr id="36" name="Flowchart: Alternate Process 85">
            <a:extLst>
              <a:ext uri="{FF2B5EF4-FFF2-40B4-BE49-F238E27FC236}">
                <a16:creationId xmlns:a16="http://schemas.microsoft.com/office/drawing/2014/main" id="{0BDFA150-4CB5-0CE8-10B2-8C055E7F9188}"/>
              </a:ext>
            </a:extLst>
          </p:cNvPr>
          <p:cNvSpPr/>
          <p:nvPr/>
        </p:nvSpPr>
        <p:spPr>
          <a:xfrm>
            <a:off x="6119190" y="3398852"/>
            <a:ext cx="900000" cy="933571"/>
          </a:xfrm>
          <a:prstGeom prst="flowChartAlternateProcess">
            <a:avLst/>
          </a:prstGeom>
          <a:solidFill>
            <a:srgbClr val="FF8DA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rgbClr val="FFFFFF"/>
                </a:solidFill>
                <a:latin typeface="Graphik"/>
              </a:rPr>
              <a:t>Run Data Classification + glossary association Jobs</a:t>
            </a:r>
            <a:endParaRPr kumimoji="0" lang="en-US" sz="900" b="0" i="0" u="none" strike="noStrike" kern="1200" cap="none" spc="0" normalizeH="0" baseline="0" noProof="0">
              <a:ln>
                <a:noFill/>
              </a:ln>
              <a:solidFill>
                <a:srgbClr val="FFFFFF"/>
              </a:solidFill>
              <a:effectLst/>
              <a:uLnTx/>
              <a:uFillTx/>
              <a:latin typeface="Graphik"/>
              <a:ea typeface="+mn-ea"/>
              <a:cs typeface="+mn-cs"/>
            </a:endParaRPr>
          </a:p>
        </p:txBody>
      </p:sp>
      <p:sp>
        <p:nvSpPr>
          <p:cNvPr id="38" name="Flowchart: Alternate Process 85">
            <a:extLst>
              <a:ext uri="{FF2B5EF4-FFF2-40B4-BE49-F238E27FC236}">
                <a16:creationId xmlns:a16="http://schemas.microsoft.com/office/drawing/2014/main" id="{834AD6CB-9492-E71D-0C82-51122395C3CB}"/>
              </a:ext>
            </a:extLst>
          </p:cNvPr>
          <p:cNvSpPr/>
          <p:nvPr/>
        </p:nvSpPr>
        <p:spPr>
          <a:xfrm>
            <a:off x="10866115" y="3480133"/>
            <a:ext cx="900000" cy="720000"/>
          </a:xfrm>
          <a:prstGeom prst="flowChartAlternateProcess">
            <a:avLst/>
          </a:prstGeom>
          <a:solidFill>
            <a:srgbClr val="FF8DA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rgbClr val="FFFFFF"/>
                </a:solidFill>
                <a:latin typeface="Graphik"/>
              </a:rPr>
              <a:t>Schedule Jobs (optional)*</a:t>
            </a:r>
            <a:endParaRPr kumimoji="0" lang="en-US" sz="900" b="0" i="0" u="none" strike="noStrike" kern="1200" cap="none" spc="0" normalizeH="0" baseline="0" noProof="0">
              <a:ln>
                <a:noFill/>
              </a:ln>
              <a:solidFill>
                <a:srgbClr val="FFFFFF"/>
              </a:solidFill>
              <a:effectLst/>
              <a:uLnTx/>
              <a:uFillTx/>
              <a:latin typeface="Graphik"/>
              <a:ea typeface="+mn-ea"/>
              <a:cs typeface="+mn-cs"/>
            </a:endParaRPr>
          </a:p>
        </p:txBody>
      </p:sp>
      <p:cxnSp>
        <p:nvCxnSpPr>
          <p:cNvPr id="41" name="Connector: Elbow 18">
            <a:extLst>
              <a:ext uri="{FF2B5EF4-FFF2-40B4-BE49-F238E27FC236}">
                <a16:creationId xmlns:a16="http://schemas.microsoft.com/office/drawing/2014/main" id="{D78A3D1F-B076-7DFF-29C0-AAD8C315F774}"/>
              </a:ext>
            </a:extLst>
          </p:cNvPr>
          <p:cNvCxnSpPr>
            <a:cxnSpLocks/>
            <a:stCxn id="20" idx="3"/>
            <a:endCxn id="33" idx="0"/>
          </p:cNvCxnSpPr>
          <p:nvPr/>
        </p:nvCxnSpPr>
        <p:spPr>
          <a:xfrm>
            <a:off x="3288636" y="2718498"/>
            <a:ext cx="382899" cy="680355"/>
          </a:xfrm>
          <a:prstGeom prst="bentConnector2">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Connector: Elbow 37">
            <a:extLst>
              <a:ext uri="{FF2B5EF4-FFF2-40B4-BE49-F238E27FC236}">
                <a16:creationId xmlns:a16="http://schemas.microsoft.com/office/drawing/2014/main" id="{326CD0C4-4B6B-B6FF-19FE-DD3E56DB0D49}"/>
              </a:ext>
            </a:extLst>
          </p:cNvPr>
          <p:cNvCxnSpPr>
            <a:cxnSpLocks/>
            <a:stCxn id="33" idx="3"/>
            <a:endCxn id="34" idx="1"/>
          </p:cNvCxnSpPr>
          <p:nvPr/>
        </p:nvCxnSpPr>
        <p:spPr>
          <a:xfrm>
            <a:off x="4121535" y="3758853"/>
            <a:ext cx="269704" cy="0"/>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Connector: Elbow 37">
            <a:extLst>
              <a:ext uri="{FF2B5EF4-FFF2-40B4-BE49-F238E27FC236}">
                <a16:creationId xmlns:a16="http://schemas.microsoft.com/office/drawing/2014/main" id="{B92859DF-FD54-B6F1-2C0B-6B888E1F1EC0}"/>
              </a:ext>
            </a:extLst>
          </p:cNvPr>
          <p:cNvCxnSpPr>
            <a:cxnSpLocks/>
            <a:stCxn id="36" idx="3"/>
            <a:endCxn id="210" idx="1"/>
          </p:cNvCxnSpPr>
          <p:nvPr/>
        </p:nvCxnSpPr>
        <p:spPr>
          <a:xfrm flipV="1">
            <a:off x="7019190" y="3865637"/>
            <a:ext cx="258598" cy="1"/>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nvGrpSpPr>
          <p:cNvPr id="196" name="Groupe 195">
            <a:extLst>
              <a:ext uri="{FF2B5EF4-FFF2-40B4-BE49-F238E27FC236}">
                <a16:creationId xmlns:a16="http://schemas.microsoft.com/office/drawing/2014/main" id="{C10D8C42-2CFA-4CEA-E4B7-E79C278CD4B8}"/>
              </a:ext>
            </a:extLst>
          </p:cNvPr>
          <p:cNvGrpSpPr/>
          <p:nvPr/>
        </p:nvGrpSpPr>
        <p:grpSpPr>
          <a:xfrm>
            <a:off x="-72268" y="2427470"/>
            <a:ext cx="1179576" cy="723594"/>
            <a:chOff x="100258" y="2427470"/>
            <a:chExt cx="1179576" cy="723594"/>
          </a:xfrm>
        </p:grpSpPr>
        <p:sp>
          <p:nvSpPr>
            <p:cNvPr id="197" name="TextBox 28">
              <a:extLst>
                <a:ext uri="{FF2B5EF4-FFF2-40B4-BE49-F238E27FC236}">
                  <a16:creationId xmlns:a16="http://schemas.microsoft.com/office/drawing/2014/main" id="{3F105D98-6221-DE92-F202-D0559CE93185}"/>
                </a:ext>
              </a:extLst>
            </p:cNvPr>
            <p:cNvSpPr txBox="1"/>
            <p:nvPr/>
          </p:nvSpPr>
          <p:spPr>
            <a:xfrm>
              <a:off x="100258" y="2823564"/>
              <a:ext cx="1179576" cy="327500"/>
            </a:xfrm>
            <a:prstGeom prst="rect">
              <a:avLst/>
            </a:prstGeom>
            <a:noFill/>
          </p:spPr>
          <p:txBody>
            <a:bodyPr wrap="square" lIns="0" tIns="0" rIns="0" bIns="0" rtlCol="0">
              <a:no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Data</a:t>
              </a:r>
            </a:p>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Steward</a:t>
              </a:r>
            </a:p>
          </p:txBody>
        </p:sp>
        <p:grpSp>
          <p:nvGrpSpPr>
            <p:cNvPr id="198" name="Groupe 197">
              <a:extLst>
                <a:ext uri="{FF2B5EF4-FFF2-40B4-BE49-F238E27FC236}">
                  <a16:creationId xmlns:a16="http://schemas.microsoft.com/office/drawing/2014/main" id="{FE27DB25-0288-94F8-AE61-820C826B9317}"/>
                </a:ext>
              </a:extLst>
            </p:cNvPr>
            <p:cNvGrpSpPr/>
            <p:nvPr/>
          </p:nvGrpSpPr>
          <p:grpSpPr>
            <a:xfrm>
              <a:off x="491999" y="2427470"/>
              <a:ext cx="396094" cy="396094"/>
              <a:chOff x="4118929" y="4914966"/>
              <a:chExt cx="644441" cy="644441"/>
            </a:xfrm>
          </p:grpSpPr>
          <p:sp>
            <p:nvSpPr>
              <p:cNvPr id="199" name="Ellipse 198">
                <a:extLst>
                  <a:ext uri="{FF2B5EF4-FFF2-40B4-BE49-F238E27FC236}">
                    <a16:creationId xmlns:a16="http://schemas.microsoft.com/office/drawing/2014/main" id="{70C86FEA-3984-A34E-15C5-2EE7DE1E0E3F}"/>
                  </a:ext>
                </a:extLst>
              </p:cNvPr>
              <p:cNvSpPr/>
              <p:nvPr/>
            </p:nvSpPr>
            <p:spPr>
              <a:xfrm>
                <a:off x="4118929" y="4914966"/>
                <a:ext cx="644441" cy="644441"/>
              </a:xfrm>
              <a:prstGeom prst="ellipse">
                <a:avLst/>
              </a:prstGeom>
              <a:solidFill>
                <a:srgbClr val="00B0AD">
                  <a:alpha val="5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latin typeface="Graphik" panose="020B0503030202060203" pitchFamily="34" charset="0"/>
                </a:endParaRPr>
              </a:p>
            </p:txBody>
          </p:sp>
          <p:pic>
            <p:nvPicPr>
              <p:cNvPr id="200" name="Image 199">
                <a:extLst>
                  <a:ext uri="{FF2B5EF4-FFF2-40B4-BE49-F238E27FC236}">
                    <a16:creationId xmlns:a16="http://schemas.microsoft.com/office/drawing/2014/main" id="{E0222A14-2E77-9469-1983-65BA3C5B6356}"/>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171150" y="4969307"/>
                <a:ext cx="540000" cy="535756"/>
              </a:xfrm>
              <a:prstGeom prst="rect">
                <a:avLst/>
              </a:prstGeom>
            </p:spPr>
          </p:pic>
        </p:grpSp>
      </p:grpSp>
      <p:grpSp>
        <p:nvGrpSpPr>
          <p:cNvPr id="8" name="Groupe 7">
            <a:extLst>
              <a:ext uri="{FF2B5EF4-FFF2-40B4-BE49-F238E27FC236}">
                <a16:creationId xmlns:a16="http://schemas.microsoft.com/office/drawing/2014/main" id="{FE4C0BBC-CCED-28C1-E7BD-620C633DDC3D}"/>
              </a:ext>
            </a:extLst>
          </p:cNvPr>
          <p:cNvGrpSpPr/>
          <p:nvPr/>
        </p:nvGrpSpPr>
        <p:grpSpPr>
          <a:xfrm>
            <a:off x="9606" y="53478"/>
            <a:ext cx="552948" cy="421043"/>
            <a:chOff x="1007542" y="176192"/>
            <a:chExt cx="552948" cy="421043"/>
          </a:xfrm>
        </p:grpSpPr>
        <p:sp>
          <p:nvSpPr>
            <p:cNvPr id="4" name="Ellipse 3">
              <a:extLst>
                <a:ext uri="{FF2B5EF4-FFF2-40B4-BE49-F238E27FC236}">
                  <a16:creationId xmlns:a16="http://schemas.microsoft.com/office/drawing/2014/main" id="{8E01A599-1FB0-4D81-A63C-B50AA743DCB0}"/>
                </a:ext>
              </a:extLst>
            </p:cNvPr>
            <p:cNvSpPr/>
            <p:nvPr/>
          </p:nvSpPr>
          <p:spPr>
            <a:xfrm>
              <a:off x="1073495" y="176192"/>
              <a:ext cx="421043" cy="421043"/>
            </a:xfrm>
            <a:prstGeom prst="ellipse">
              <a:avLst/>
            </a:prstGeom>
            <a:solidFill>
              <a:schemeClr val="accent1"/>
            </a:solidFill>
            <a:ln w="6350">
              <a:solidFill>
                <a:schemeClr val="accent6"/>
              </a:solid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ZoneTexte 5">
              <a:extLst>
                <a:ext uri="{FF2B5EF4-FFF2-40B4-BE49-F238E27FC236}">
                  <a16:creationId xmlns:a16="http://schemas.microsoft.com/office/drawing/2014/main" id="{A0961673-A260-C2A5-87DD-605973FA6C6C}"/>
                </a:ext>
              </a:extLst>
            </p:cNvPr>
            <p:cNvSpPr txBox="1"/>
            <p:nvPr/>
          </p:nvSpPr>
          <p:spPr>
            <a:xfrm>
              <a:off x="1007542" y="202047"/>
              <a:ext cx="552948" cy="369332"/>
            </a:xfrm>
            <a:prstGeom prst="rect">
              <a:avLst/>
            </a:prstGeom>
            <a:noFill/>
          </p:spPr>
          <p:txBody>
            <a:bodyPr wrap="square" rtlCol="0">
              <a:spAutoFit/>
            </a:bodyPr>
            <a:lstStyle/>
            <a:p>
              <a:pPr algn="ctr"/>
              <a:r>
                <a:rPr lang="fr-FR">
                  <a:solidFill>
                    <a:schemeClr val="bg1"/>
                  </a:solidFill>
                </a:rPr>
                <a:t>3.1</a:t>
              </a:r>
            </a:p>
          </p:txBody>
        </p:sp>
      </p:grpSp>
      <p:sp>
        <p:nvSpPr>
          <p:cNvPr id="49" name="Flowchart: Alternate Process 85">
            <a:extLst>
              <a:ext uri="{FF2B5EF4-FFF2-40B4-BE49-F238E27FC236}">
                <a16:creationId xmlns:a16="http://schemas.microsoft.com/office/drawing/2014/main" id="{1C74F8EC-24C1-C23B-2A81-0B7E0C8C7321}"/>
              </a:ext>
            </a:extLst>
          </p:cNvPr>
          <p:cNvSpPr/>
          <p:nvPr/>
        </p:nvSpPr>
        <p:spPr>
          <a:xfrm>
            <a:off x="9738992" y="3486826"/>
            <a:ext cx="969566" cy="713308"/>
          </a:xfrm>
          <a:prstGeom prst="flowChartAlternateProcess">
            <a:avLst/>
          </a:prstGeom>
          <a:solidFill>
            <a:srgbClr val="FF8DA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rgbClr val="FFFFFF"/>
                </a:solidFill>
                <a:latin typeface="Graphik"/>
              </a:rPr>
              <a:t>Assign data producers' authorizations</a:t>
            </a:r>
            <a:endParaRPr kumimoji="0" lang="en-US" sz="900" b="0" i="0" u="none" strike="noStrike" kern="1200" cap="none" spc="0" normalizeH="0" baseline="0" noProof="0">
              <a:ln>
                <a:noFill/>
              </a:ln>
              <a:solidFill>
                <a:srgbClr val="FFFFFF"/>
              </a:solidFill>
              <a:effectLst/>
              <a:uLnTx/>
              <a:uFillTx/>
              <a:latin typeface="Graphik"/>
              <a:ea typeface="+mn-ea"/>
              <a:cs typeface="+mn-cs"/>
            </a:endParaRPr>
          </a:p>
        </p:txBody>
      </p:sp>
      <p:sp>
        <p:nvSpPr>
          <p:cNvPr id="53" name="Flowchart: Alternate Process 85">
            <a:extLst>
              <a:ext uri="{FF2B5EF4-FFF2-40B4-BE49-F238E27FC236}">
                <a16:creationId xmlns:a16="http://schemas.microsoft.com/office/drawing/2014/main" id="{682AD7D2-3AA0-C084-56F5-630620D9AE58}"/>
              </a:ext>
            </a:extLst>
          </p:cNvPr>
          <p:cNvSpPr/>
          <p:nvPr/>
        </p:nvSpPr>
        <p:spPr>
          <a:xfrm>
            <a:off x="5317388" y="2358498"/>
            <a:ext cx="900000" cy="720000"/>
          </a:xfrm>
          <a:prstGeom prst="flowChartAlternateProcess">
            <a:avLst/>
          </a:prstGeom>
          <a:solidFill>
            <a:srgbClr val="7FD2D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rgbClr val="FFFFFF"/>
                </a:solidFill>
                <a:latin typeface="Graphik"/>
              </a:rPr>
              <a:t>Validate Metadata scan</a:t>
            </a:r>
            <a:endParaRPr kumimoji="0" lang="en-US" sz="900" b="0" i="0" u="none" strike="noStrike" kern="1200" cap="none" spc="0" normalizeH="0" baseline="0" noProof="0">
              <a:ln>
                <a:noFill/>
              </a:ln>
              <a:solidFill>
                <a:srgbClr val="FFFFFF"/>
              </a:solidFill>
              <a:effectLst/>
              <a:uLnTx/>
              <a:uFillTx/>
              <a:latin typeface="Graphik"/>
              <a:ea typeface="+mn-ea"/>
              <a:cs typeface="+mn-cs"/>
            </a:endParaRPr>
          </a:p>
        </p:txBody>
      </p:sp>
      <p:cxnSp>
        <p:nvCxnSpPr>
          <p:cNvPr id="54" name="Connector: Elbow 18">
            <a:extLst>
              <a:ext uri="{FF2B5EF4-FFF2-40B4-BE49-F238E27FC236}">
                <a16:creationId xmlns:a16="http://schemas.microsoft.com/office/drawing/2014/main" id="{A2CA968D-2628-4BA4-1D5F-2AC10C253CD3}"/>
              </a:ext>
            </a:extLst>
          </p:cNvPr>
          <p:cNvCxnSpPr>
            <a:cxnSpLocks/>
            <a:stCxn id="34" idx="0"/>
            <a:endCxn id="53" idx="1"/>
          </p:cNvCxnSpPr>
          <p:nvPr/>
        </p:nvCxnSpPr>
        <p:spPr>
          <a:xfrm rot="5400000" flipH="1" flipV="1">
            <a:off x="4739136" y="2820602"/>
            <a:ext cx="680355" cy="476149"/>
          </a:xfrm>
          <a:prstGeom prst="bentConnector2">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Connector: Elbow 18">
            <a:extLst>
              <a:ext uri="{FF2B5EF4-FFF2-40B4-BE49-F238E27FC236}">
                <a16:creationId xmlns:a16="http://schemas.microsoft.com/office/drawing/2014/main" id="{F166C53A-62CE-813C-C9FB-6A021D9FF7F9}"/>
              </a:ext>
            </a:extLst>
          </p:cNvPr>
          <p:cNvCxnSpPr>
            <a:cxnSpLocks/>
            <a:stCxn id="53" idx="3"/>
            <a:endCxn id="36" idx="0"/>
          </p:cNvCxnSpPr>
          <p:nvPr/>
        </p:nvCxnSpPr>
        <p:spPr>
          <a:xfrm>
            <a:off x="6217388" y="2718498"/>
            <a:ext cx="351802" cy="680354"/>
          </a:xfrm>
          <a:prstGeom prst="bentConnector2">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10" name="Flowchart: Alternate Process 85">
            <a:extLst>
              <a:ext uri="{FF2B5EF4-FFF2-40B4-BE49-F238E27FC236}">
                <a16:creationId xmlns:a16="http://schemas.microsoft.com/office/drawing/2014/main" id="{8E135388-C5F1-EF2D-903A-8D95DAC95C05}"/>
              </a:ext>
            </a:extLst>
          </p:cNvPr>
          <p:cNvSpPr/>
          <p:nvPr/>
        </p:nvSpPr>
        <p:spPr>
          <a:xfrm>
            <a:off x="7277788" y="3398852"/>
            <a:ext cx="900000" cy="933569"/>
          </a:xfrm>
          <a:prstGeom prst="flowChartAlternateProcess">
            <a:avLst/>
          </a:prstGeom>
          <a:solidFill>
            <a:srgbClr val="FF8DA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rgbClr val="FFFFFF"/>
                </a:solidFill>
                <a:latin typeface="Graphik"/>
              </a:rPr>
              <a:t>Test quality &amp; profiling jobs (on a sample)</a:t>
            </a:r>
            <a:endParaRPr kumimoji="0" lang="en-US" sz="900" b="0" i="0" u="none" strike="noStrike" kern="1200" cap="none" spc="0" normalizeH="0" baseline="0" noProof="0">
              <a:ln>
                <a:noFill/>
              </a:ln>
              <a:solidFill>
                <a:srgbClr val="FFFFFF"/>
              </a:solidFill>
              <a:effectLst/>
              <a:uLnTx/>
              <a:uFillTx/>
              <a:latin typeface="Graphik"/>
              <a:ea typeface="+mn-ea"/>
              <a:cs typeface="+mn-cs"/>
            </a:endParaRPr>
          </a:p>
        </p:txBody>
      </p:sp>
      <p:sp>
        <p:nvSpPr>
          <p:cNvPr id="222" name="Flowchart: Alternate Process 85">
            <a:extLst>
              <a:ext uri="{FF2B5EF4-FFF2-40B4-BE49-F238E27FC236}">
                <a16:creationId xmlns:a16="http://schemas.microsoft.com/office/drawing/2014/main" id="{CF07CB6B-6B46-3337-E1EE-47E72DFAD13A}"/>
              </a:ext>
            </a:extLst>
          </p:cNvPr>
          <p:cNvSpPr/>
          <p:nvPr/>
        </p:nvSpPr>
        <p:spPr>
          <a:xfrm>
            <a:off x="8689128" y="3480133"/>
            <a:ext cx="900000" cy="720000"/>
          </a:xfrm>
          <a:prstGeom prst="flowChartAlternateProcess">
            <a:avLst/>
          </a:prstGeom>
          <a:solidFill>
            <a:srgbClr val="FF8DA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rgbClr val="FFFFFF"/>
                </a:solidFill>
                <a:latin typeface="Graphik"/>
              </a:rPr>
              <a:t>Run Jobs  quality &amp; profiling (full)</a:t>
            </a:r>
            <a:endParaRPr kumimoji="0" lang="en-US" sz="900" b="0" i="0" u="none" strike="noStrike" kern="1200" cap="none" spc="0" normalizeH="0" baseline="0" noProof="0">
              <a:ln>
                <a:noFill/>
              </a:ln>
              <a:solidFill>
                <a:srgbClr val="FFFFFF"/>
              </a:solidFill>
              <a:effectLst/>
              <a:uLnTx/>
              <a:uFillTx/>
              <a:latin typeface="Graphik"/>
              <a:ea typeface="+mn-ea"/>
              <a:cs typeface="+mn-cs"/>
            </a:endParaRPr>
          </a:p>
        </p:txBody>
      </p:sp>
      <p:cxnSp>
        <p:nvCxnSpPr>
          <p:cNvPr id="263" name="Connector: Elbow 37">
            <a:extLst>
              <a:ext uri="{FF2B5EF4-FFF2-40B4-BE49-F238E27FC236}">
                <a16:creationId xmlns:a16="http://schemas.microsoft.com/office/drawing/2014/main" id="{4544FB25-135F-2013-87FE-0898A04D01C2}"/>
              </a:ext>
            </a:extLst>
          </p:cNvPr>
          <p:cNvCxnSpPr>
            <a:cxnSpLocks/>
            <a:stCxn id="222" idx="3"/>
            <a:endCxn id="49" idx="1"/>
          </p:cNvCxnSpPr>
          <p:nvPr/>
        </p:nvCxnSpPr>
        <p:spPr>
          <a:xfrm>
            <a:off x="9589128" y="3840133"/>
            <a:ext cx="149864" cy="3347"/>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68" name="Flowchart: Alternate Process 85">
            <a:extLst>
              <a:ext uri="{FF2B5EF4-FFF2-40B4-BE49-F238E27FC236}">
                <a16:creationId xmlns:a16="http://schemas.microsoft.com/office/drawing/2014/main" id="{3CAD45E2-4AD2-BDF6-D605-FA5AFF62CC01}"/>
              </a:ext>
            </a:extLst>
          </p:cNvPr>
          <p:cNvSpPr/>
          <p:nvPr/>
        </p:nvSpPr>
        <p:spPr>
          <a:xfrm>
            <a:off x="8051930" y="2358498"/>
            <a:ext cx="900000" cy="720000"/>
          </a:xfrm>
          <a:prstGeom prst="flowChartAlternateProcess">
            <a:avLst/>
          </a:prstGeom>
          <a:solidFill>
            <a:srgbClr val="7FD2D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rgbClr val="FFFFFF"/>
                </a:solidFill>
                <a:latin typeface="Graphik"/>
              </a:rPr>
              <a:t>Validate quality rules &amp; perf impacts</a:t>
            </a:r>
            <a:endParaRPr kumimoji="0" lang="en-US" sz="900" b="0" i="0" u="none" strike="noStrike" kern="1200" cap="none" spc="0" normalizeH="0" baseline="0" noProof="0">
              <a:ln>
                <a:noFill/>
              </a:ln>
              <a:solidFill>
                <a:srgbClr val="FFFFFF"/>
              </a:solidFill>
              <a:effectLst/>
              <a:uLnTx/>
              <a:uFillTx/>
              <a:latin typeface="Graphik"/>
              <a:ea typeface="+mn-ea"/>
              <a:cs typeface="+mn-cs"/>
            </a:endParaRPr>
          </a:p>
        </p:txBody>
      </p:sp>
      <p:cxnSp>
        <p:nvCxnSpPr>
          <p:cNvPr id="269" name="Connector: Elbow 18">
            <a:extLst>
              <a:ext uri="{FF2B5EF4-FFF2-40B4-BE49-F238E27FC236}">
                <a16:creationId xmlns:a16="http://schemas.microsoft.com/office/drawing/2014/main" id="{D2C5CDEA-989E-D790-617A-CE384BE9A07E}"/>
              </a:ext>
            </a:extLst>
          </p:cNvPr>
          <p:cNvCxnSpPr>
            <a:cxnSpLocks/>
            <a:stCxn id="210" idx="0"/>
            <a:endCxn id="268" idx="1"/>
          </p:cNvCxnSpPr>
          <p:nvPr/>
        </p:nvCxnSpPr>
        <p:spPr>
          <a:xfrm rot="5400000" flipH="1" flipV="1">
            <a:off x="7549682" y="2896604"/>
            <a:ext cx="680354" cy="324142"/>
          </a:xfrm>
          <a:prstGeom prst="bentConnector2">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72" name="Connector: Elbow 18">
            <a:extLst>
              <a:ext uri="{FF2B5EF4-FFF2-40B4-BE49-F238E27FC236}">
                <a16:creationId xmlns:a16="http://schemas.microsoft.com/office/drawing/2014/main" id="{68F2B5E1-FDAC-7B62-B76D-07A7BE736C2B}"/>
              </a:ext>
            </a:extLst>
          </p:cNvPr>
          <p:cNvCxnSpPr>
            <a:cxnSpLocks/>
            <a:stCxn id="268" idx="3"/>
            <a:endCxn id="222" idx="0"/>
          </p:cNvCxnSpPr>
          <p:nvPr/>
        </p:nvCxnSpPr>
        <p:spPr>
          <a:xfrm>
            <a:off x="8951930" y="2718498"/>
            <a:ext cx="187198" cy="761635"/>
          </a:xfrm>
          <a:prstGeom prst="bentConnector2">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83" name="Connector: Elbow 37">
            <a:extLst>
              <a:ext uri="{FF2B5EF4-FFF2-40B4-BE49-F238E27FC236}">
                <a16:creationId xmlns:a16="http://schemas.microsoft.com/office/drawing/2014/main" id="{217D3C4A-5C70-ECD9-0531-324D71547EEC}"/>
              </a:ext>
            </a:extLst>
          </p:cNvPr>
          <p:cNvCxnSpPr>
            <a:cxnSpLocks/>
            <a:stCxn id="49" idx="3"/>
            <a:endCxn id="38" idx="1"/>
          </p:cNvCxnSpPr>
          <p:nvPr/>
        </p:nvCxnSpPr>
        <p:spPr>
          <a:xfrm flipV="1">
            <a:off x="10708558" y="3840133"/>
            <a:ext cx="157557" cy="3347"/>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1" name="ZoneTexte 10">
            <a:extLst>
              <a:ext uri="{FF2B5EF4-FFF2-40B4-BE49-F238E27FC236}">
                <a16:creationId xmlns:a16="http://schemas.microsoft.com/office/drawing/2014/main" id="{5F4855A8-4FE1-3D9E-71FB-7B4BD4C654A1}"/>
              </a:ext>
            </a:extLst>
          </p:cNvPr>
          <p:cNvSpPr txBox="1"/>
          <p:nvPr/>
        </p:nvSpPr>
        <p:spPr>
          <a:xfrm>
            <a:off x="2621456" y="6302909"/>
            <a:ext cx="8498869" cy="276999"/>
          </a:xfrm>
          <a:prstGeom prst="rect">
            <a:avLst/>
          </a:prstGeom>
          <a:noFill/>
        </p:spPr>
        <p:txBody>
          <a:bodyPr wrap="square" rtlCol="0">
            <a:spAutoFit/>
          </a:bodyPr>
          <a:lstStyle/>
          <a:p>
            <a:r>
              <a:rPr lang="fr-FR" sz="1200"/>
              <a:t>* Possible jobs </a:t>
            </a:r>
            <a:r>
              <a:rPr lang="fr-FR" sz="1200" err="1"/>
              <a:t>include</a:t>
            </a:r>
            <a:r>
              <a:rPr lang="fr-FR" sz="1200"/>
              <a:t>: </a:t>
            </a:r>
            <a:r>
              <a:rPr lang="fr-FR" sz="1200" err="1"/>
              <a:t>metadata</a:t>
            </a:r>
            <a:r>
              <a:rPr lang="fr-FR" sz="1200"/>
              <a:t> scanning, classification, </a:t>
            </a:r>
            <a:r>
              <a:rPr lang="fr-FR" sz="1200" err="1"/>
              <a:t>glossary</a:t>
            </a:r>
            <a:r>
              <a:rPr lang="fr-FR" sz="1200"/>
              <a:t> association, profiling and </a:t>
            </a:r>
            <a:r>
              <a:rPr lang="fr-FR" sz="1200" err="1"/>
              <a:t>quality</a:t>
            </a:r>
            <a:r>
              <a:rPr lang="fr-FR" sz="1200"/>
              <a:t> </a:t>
            </a:r>
            <a:r>
              <a:rPr lang="fr-FR" sz="1200" err="1"/>
              <a:t>rules</a:t>
            </a:r>
            <a:r>
              <a:rPr lang="fr-FR" sz="1200"/>
              <a:t>.</a:t>
            </a:r>
          </a:p>
        </p:txBody>
      </p:sp>
      <p:grpSp>
        <p:nvGrpSpPr>
          <p:cNvPr id="13" name="Groupe 12">
            <a:extLst>
              <a:ext uri="{FF2B5EF4-FFF2-40B4-BE49-F238E27FC236}">
                <a16:creationId xmlns:a16="http://schemas.microsoft.com/office/drawing/2014/main" id="{222009C2-064B-7C33-0CC5-0BD3AC278999}"/>
              </a:ext>
            </a:extLst>
          </p:cNvPr>
          <p:cNvGrpSpPr/>
          <p:nvPr/>
        </p:nvGrpSpPr>
        <p:grpSpPr>
          <a:xfrm>
            <a:off x="861072" y="6286498"/>
            <a:ext cx="1417408" cy="494551"/>
            <a:chOff x="80233" y="5624489"/>
            <a:chExt cx="1417408" cy="494551"/>
          </a:xfrm>
        </p:grpSpPr>
        <p:sp>
          <p:nvSpPr>
            <p:cNvPr id="14" name="Rectangle: Rounded Corners 58">
              <a:extLst>
                <a:ext uri="{FF2B5EF4-FFF2-40B4-BE49-F238E27FC236}">
                  <a16:creationId xmlns:a16="http://schemas.microsoft.com/office/drawing/2014/main" id="{D3ADA9EA-C9E5-29AE-5E65-56CED0C6A65F}"/>
                </a:ext>
              </a:extLst>
            </p:cNvPr>
            <p:cNvSpPr/>
            <p:nvPr/>
          </p:nvSpPr>
          <p:spPr>
            <a:xfrm>
              <a:off x="80233" y="5624489"/>
              <a:ext cx="1417408" cy="494551"/>
            </a:xfrm>
            <a:prstGeom prst="roundRect">
              <a:avLst>
                <a:gd name="adj" fmla="val 5346"/>
              </a:avLst>
            </a:prstGeom>
            <a:solidFill>
              <a:schemeClr val="bg1"/>
            </a:solidFill>
            <a:ln w="6350">
              <a:solidFill>
                <a:schemeClr val="tx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tIns="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E20025"/>
                  </a:solidFill>
                  <a:effectLst/>
                  <a:uLnTx/>
                  <a:uFillTx/>
                  <a:latin typeface="Vinci Sans Light"/>
                  <a:ea typeface="+mn-ea"/>
                  <a:cs typeface="+mn-cs"/>
                </a:rPr>
                <a:t>Legend</a:t>
              </a:r>
              <a:endParaRPr kumimoji="0" lang="en-US" sz="1050" b="1" i="0" u="none" strike="noStrike" kern="1200" cap="none" spc="0" normalizeH="0" baseline="0" noProof="0">
                <a:ln>
                  <a:noFill/>
                </a:ln>
                <a:solidFill>
                  <a:srgbClr val="E20025"/>
                </a:solidFill>
                <a:effectLst/>
                <a:uLnTx/>
                <a:uFillTx/>
                <a:latin typeface="Vinci Sans Light"/>
                <a:ea typeface="+mn-ea"/>
                <a:cs typeface="+mn-cs"/>
              </a:endParaRPr>
            </a:p>
          </p:txBody>
        </p:sp>
        <p:sp>
          <p:nvSpPr>
            <p:cNvPr id="15" name="Flowchart: Alternate Process 92">
              <a:extLst>
                <a:ext uri="{FF2B5EF4-FFF2-40B4-BE49-F238E27FC236}">
                  <a16:creationId xmlns:a16="http://schemas.microsoft.com/office/drawing/2014/main" id="{072246B7-FF88-AA60-8D83-B636A6C5BF5F}"/>
                </a:ext>
              </a:extLst>
            </p:cNvPr>
            <p:cNvSpPr/>
            <p:nvPr/>
          </p:nvSpPr>
          <p:spPr>
            <a:xfrm>
              <a:off x="161716" y="5843847"/>
              <a:ext cx="598716" cy="145321"/>
            </a:xfrm>
            <a:prstGeom prst="flowChartAlternateProcess">
              <a:avLst/>
            </a:prstGeom>
            <a:solidFill>
              <a:srgbClr val="7FD2D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Vinci Sans Light"/>
                  <a:ea typeface="+mn-ea"/>
                  <a:cs typeface="+mn-cs"/>
                </a:rPr>
                <a:t>Process Step</a:t>
              </a:r>
            </a:p>
          </p:txBody>
        </p:sp>
        <p:sp>
          <p:nvSpPr>
            <p:cNvPr id="16" name="Flowchart: Decision 96">
              <a:extLst>
                <a:ext uri="{FF2B5EF4-FFF2-40B4-BE49-F238E27FC236}">
                  <a16:creationId xmlns:a16="http://schemas.microsoft.com/office/drawing/2014/main" id="{C6F167EE-0737-E743-0570-39DEF27837F6}"/>
                </a:ext>
              </a:extLst>
            </p:cNvPr>
            <p:cNvSpPr/>
            <p:nvPr/>
          </p:nvSpPr>
          <p:spPr>
            <a:xfrm>
              <a:off x="841916" y="5779400"/>
              <a:ext cx="549751" cy="274214"/>
            </a:xfrm>
            <a:prstGeom prst="flowChartDecision">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Vinci Sans Light"/>
                  <a:ea typeface="+mn-ea"/>
                  <a:cs typeface="+mn-cs"/>
                </a:rPr>
                <a:t>Process Decision </a:t>
              </a:r>
            </a:p>
          </p:txBody>
        </p:sp>
      </p:grpSp>
      <p:pic>
        <p:nvPicPr>
          <p:cNvPr id="17" name="Graphique 16">
            <a:extLst>
              <a:ext uri="{FF2B5EF4-FFF2-40B4-BE49-F238E27FC236}">
                <a16:creationId xmlns:a16="http://schemas.microsoft.com/office/drawing/2014/main" id="{3D164060-ABEE-B53F-0DDE-4FE2D8D14AF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881840" y="3919485"/>
            <a:ext cx="270000" cy="270000"/>
          </a:xfrm>
          <a:prstGeom prst="ellipse">
            <a:avLst/>
          </a:prstGeom>
        </p:spPr>
      </p:pic>
      <p:pic>
        <p:nvPicPr>
          <p:cNvPr id="18" name="Graphique 17">
            <a:extLst>
              <a:ext uri="{FF2B5EF4-FFF2-40B4-BE49-F238E27FC236}">
                <a16:creationId xmlns:a16="http://schemas.microsoft.com/office/drawing/2014/main" id="{8E3AC626-60FD-055B-0A0A-AB5E39BCCD7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95395" y="3919844"/>
            <a:ext cx="270000" cy="270000"/>
          </a:xfrm>
          <a:prstGeom prst="ellipse">
            <a:avLst/>
          </a:prstGeom>
        </p:spPr>
      </p:pic>
      <p:sp>
        <p:nvSpPr>
          <p:cNvPr id="28" name="ZoneTexte 27">
            <a:extLst>
              <a:ext uri="{FF2B5EF4-FFF2-40B4-BE49-F238E27FC236}">
                <a16:creationId xmlns:a16="http://schemas.microsoft.com/office/drawing/2014/main" id="{496D0141-CE87-C77E-C64E-60271FE427CF}"/>
              </a:ext>
            </a:extLst>
          </p:cNvPr>
          <p:cNvSpPr txBox="1"/>
          <p:nvPr/>
        </p:nvSpPr>
        <p:spPr>
          <a:xfrm>
            <a:off x="3549701" y="4230538"/>
            <a:ext cx="934278" cy="230832"/>
          </a:xfrm>
          <a:prstGeom prst="rect">
            <a:avLst/>
          </a:prstGeom>
          <a:noFill/>
        </p:spPr>
        <p:txBody>
          <a:bodyPr wrap="square" rtlCol="0">
            <a:spAutoFit/>
          </a:bodyPr>
          <a:lstStyle/>
          <a:p>
            <a:pPr algn="ctr"/>
            <a:r>
              <a:rPr lang="fr-FR" sz="900" b="1" err="1"/>
              <a:t>Administrator</a:t>
            </a:r>
            <a:endParaRPr lang="fr-FR" sz="900" b="1"/>
          </a:p>
        </p:txBody>
      </p:sp>
      <p:sp>
        <p:nvSpPr>
          <p:cNvPr id="29" name="ZoneTexte 28">
            <a:extLst>
              <a:ext uri="{FF2B5EF4-FFF2-40B4-BE49-F238E27FC236}">
                <a16:creationId xmlns:a16="http://schemas.microsoft.com/office/drawing/2014/main" id="{C5C9D7FB-8457-30C2-5801-CF5FF7477F4F}"/>
              </a:ext>
            </a:extLst>
          </p:cNvPr>
          <p:cNvSpPr txBox="1"/>
          <p:nvPr/>
        </p:nvSpPr>
        <p:spPr>
          <a:xfrm>
            <a:off x="4763256" y="4230538"/>
            <a:ext cx="934278" cy="230832"/>
          </a:xfrm>
          <a:prstGeom prst="rect">
            <a:avLst/>
          </a:prstGeom>
          <a:noFill/>
        </p:spPr>
        <p:txBody>
          <a:bodyPr wrap="square" rtlCol="0">
            <a:spAutoFit/>
          </a:bodyPr>
          <a:lstStyle/>
          <a:p>
            <a:pPr algn="ctr"/>
            <a:r>
              <a:rPr lang="fr-FR" sz="900" b="1"/>
              <a:t>MCC</a:t>
            </a:r>
          </a:p>
        </p:txBody>
      </p:sp>
      <p:grpSp>
        <p:nvGrpSpPr>
          <p:cNvPr id="55" name="Groupe 54">
            <a:extLst>
              <a:ext uri="{FF2B5EF4-FFF2-40B4-BE49-F238E27FC236}">
                <a16:creationId xmlns:a16="http://schemas.microsoft.com/office/drawing/2014/main" id="{715C24D2-E841-DFC5-3199-EA2A837E9F2D}"/>
              </a:ext>
            </a:extLst>
          </p:cNvPr>
          <p:cNvGrpSpPr/>
          <p:nvPr/>
        </p:nvGrpSpPr>
        <p:grpSpPr>
          <a:xfrm>
            <a:off x="9086663" y="4060772"/>
            <a:ext cx="934278" cy="523692"/>
            <a:chOff x="9086663" y="4067717"/>
            <a:chExt cx="934278" cy="523692"/>
          </a:xfrm>
        </p:grpSpPr>
        <p:pic>
          <p:nvPicPr>
            <p:cNvPr id="25" name="Graphique 24">
              <a:extLst>
                <a:ext uri="{FF2B5EF4-FFF2-40B4-BE49-F238E27FC236}">
                  <a16:creationId xmlns:a16="http://schemas.microsoft.com/office/drawing/2014/main" id="{1415B8F3-5068-E0FF-6F9E-BC6EB04D94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418802" y="4067717"/>
              <a:ext cx="270000" cy="270000"/>
            </a:xfrm>
            <a:prstGeom prst="ellipse">
              <a:avLst/>
            </a:prstGeom>
          </p:spPr>
        </p:pic>
        <p:sp>
          <p:nvSpPr>
            <p:cNvPr id="32" name="ZoneTexte 31">
              <a:extLst>
                <a:ext uri="{FF2B5EF4-FFF2-40B4-BE49-F238E27FC236}">
                  <a16:creationId xmlns:a16="http://schemas.microsoft.com/office/drawing/2014/main" id="{DE4B7E56-7068-AE09-6673-E971BEDD4CFF}"/>
                </a:ext>
              </a:extLst>
            </p:cNvPr>
            <p:cNvSpPr txBox="1"/>
            <p:nvPr/>
          </p:nvSpPr>
          <p:spPr>
            <a:xfrm>
              <a:off x="9086663" y="4360577"/>
              <a:ext cx="934278" cy="230832"/>
            </a:xfrm>
            <a:prstGeom prst="rect">
              <a:avLst/>
            </a:prstGeom>
            <a:noFill/>
          </p:spPr>
          <p:txBody>
            <a:bodyPr wrap="square" rtlCol="0">
              <a:spAutoFit/>
            </a:bodyPr>
            <a:lstStyle/>
            <a:p>
              <a:pPr algn="ctr"/>
              <a:r>
                <a:rPr lang="fr-FR" sz="900" b="1"/>
                <a:t>MCC</a:t>
              </a:r>
            </a:p>
          </p:txBody>
        </p:sp>
      </p:grpSp>
      <p:grpSp>
        <p:nvGrpSpPr>
          <p:cNvPr id="43" name="Groupe 42">
            <a:extLst>
              <a:ext uri="{FF2B5EF4-FFF2-40B4-BE49-F238E27FC236}">
                <a16:creationId xmlns:a16="http://schemas.microsoft.com/office/drawing/2014/main" id="{C282E106-9ED6-764B-31D3-C30A530143BB}"/>
              </a:ext>
            </a:extLst>
          </p:cNvPr>
          <p:cNvGrpSpPr/>
          <p:nvPr/>
        </p:nvGrpSpPr>
        <p:grpSpPr>
          <a:xfrm>
            <a:off x="5670096" y="2818707"/>
            <a:ext cx="934278" cy="564846"/>
            <a:chOff x="5670096" y="2817050"/>
            <a:chExt cx="934278" cy="564846"/>
          </a:xfrm>
        </p:grpSpPr>
        <p:pic>
          <p:nvPicPr>
            <p:cNvPr id="19" name="Graphique 18">
              <a:extLst>
                <a:ext uri="{FF2B5EF4-FFF2-40B4-BE49-F238E27FC236}">
                  <a16:creationId xmlns:a16="http://schemas.microsoft.com/office/drawing/2014/main" id="{8B4D6405-259B-EAB6-673F-6ACF5798849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002235" y="2817050"/>
              <a:ext cx="270000" cy="270000"/>
            </a:xfrm>
            <a:prstGeom prst="ellipse">
              <a:avLst/>
            </a:prstGeom>
          </p:spPr>
        </p:pic>
        <p:sp>
          <p:nvSpPr>
            <p:cNvPr id="39" name="ZoneTexte 38">
              <a:extLst>
                <a:ext uri="{FF2B5EF4-FFF2-40B4-BE49-F238E27FC236}">
                  <a16:creationId xmlns:a16="http://schemas.microsoft.com/office/drawing/2014/main" id="{051C3EAE-8285-6223-DB40-3497D582AD35}"/>
                </a:ext>
              </a:extLst>
            </p:cNvPr>
            <p:cNvSpPr txBox="1"/>
            <p:nvPr/>
          </p:nvSpPr>
          <p:spPr>
            <a:xfrm>
              <a:off x="5670096" y="3151064"/>
              <a:ext cx="934278" cy="230832"/>
            </a:xfrm>
            <a:prstGeom prst="rect">
              <a:avLst/>
            </a:prstGeom>
            <a:noFill/>
          </p:spPr>
          <p:txBody>
            <a:bodyPr wrap="square" rtlCol="0">
              <a:spAutoFit/>
            </a:bodyPr>
            <a:lstStyle/>
            <a:p>
              <a:pPr algn="ctr"/>
              <a:r>
                <a:rPr lang="fr-FR" sz="900" b="1"/>
                <a:t>Data </a:t>
              </a:r>
              <a:r>
                <a:rPr lang="fr-FR" sz="900" b="1" err="1"/>
                <a:t>Catalog</a:t>
              </a:r>
              <a:endParaRPr lang="fr-FR" sz="900" b="1"/>
            </a:p>
          </p:txBody>
        </p:sp>
      </p:grpSp>
      <p:grpSp>
        <p:nvGrpSpPr>
          <p:cNvPr id="58" name="Groupe 57">
            <a:extLst>
              <a:ext uri="{FF2B5EF4-FFF2-40B4-BE49-F238E27FC236}">
                <a16:creationId xmlns:a16="http://schemas.microsoft.com/office/drawing/2014/main" id="{26A67DA9-E0BF-83FC-16A3-5F6D13F9862B}"/>
              </a:ext>
            </a:extLst>
          </p:cNvPr>
          <p:cNvGrpSpPr/>
          <p:nvPr/>
        </p:nvGrpSpPr>
        <p:grpSpPr>
          <a:xfrm>
            <a:off x="6474590" y="4146259"/>
            <a:ext cx="934278" cy="510691"/>
            <a:chOff x="6444773" y="4149571"/>
            <a:chExt cx="934278" cy="510691"/>
          </a:xfrm>
        </p:grpSpPr>
        <p:pic>
          <p:nvPicPr>
            <p:cNvPr id="10" name="Graphique 9">
              <a:extLst>
                <a:ext uri="{FF2B5EF4-FFF2-40B4-BE49-F238E27FC236}">
                  <a16:creationId xmlns:a16="http://schemas.microsoft.com/office/drawing/2014/main" id="{4EE48E6A-BD84-1CA9-2639-0CB5B4063D7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776912" y="4149571"/>
              <a:ext cx="270000" cy="270000"/>
            </a:xfrm>
            <a:prstGeom prst="ellipse">
              <a:avLst/>
            </a:prstGeom>
          </p:spPr>
        </p:pic>
        <p:sp>
          <p:nvSpPr>
            <p:cNvPr id="12" name="ZoneTexte 11">
              <a:extLst>
                <a:ext uri="{FF2B5EF4-FFF2-40B4-BE49-F238E27FC236}">
                  <a16:creationId xmlns:a16="http://schemas.microsoft.com/office/drawing/2014/main" id="{014640DD-8963-8DBE-CE00-FCAC69A3C4D8}"/>
                </a:ext>
              </a:extLst>
            </p:cNvPr>
            <p:cNvSpPr txBox="1"/>
            <p:nvPr/>
          </p:nvSpPr>
          <p:spPr>
            <a:xfrm>
              <a:off x="6444773" y="4429430"/>
              <a:ext cx="934278" cy="230832"/>
            </a:xfrm>
            <a:prstGeom prst="rect">
              <a:avLst/>
            </a:prstGeom>
            <a:noFill/>
          </p:spPr>
          <p:txBody>
            <a:bodyPr wrap="square" rtlCol="0">
              <a:spAutoFit/>
            </a:bodyPr>
            <a:lstStyle/>
            <a:p>
              <a:pPr algn="ctr"/>
              <a:r>
                <a:rPr lang="fr-FR" sz="900" b="1"/>
                <a:t>MCC</a:t>
              </a:r>
            </a:p>
          </p:txBody>
        </p:sp>
      </p:grpSp>
      <p:grpSp>
        <p:nvGrpSpPr>
          <p:cNvPr id="57" name="Groupe 56">
            <a:extLst>
              <a:ext uri="{FF2B5EF4-FFF2-40B4-BE49-F238E27FC236}">
                <a16:creationId xmlns:a16="http://schemas.microsoft.com/office/drawing/2014/main" id="{1E5EFFE6-4951-C5E8-CC37-52330ED3493C}"/>
              </a:ext>
            </a:extLst>
          </p:cNvPr>
          <p:cNvGrpSpPr/>
          <p:nvPr/>
        </p:nvGrpSpPr>
        <p:grpSpPr>
          <a:xfrm>
            <a:off x="7650721" y="4146259"/>
            <a:ext cx="934278" cy="510691"/>
            <a:chOff x="7650721" y="4142947"/>
            <a:chExt cx="934278" cy="510691"/>
          </a:xfrm>
        </p:grpSpPr>
        <p:pic>
          <p:nvPicPr>
            <p:cNvPr id="22" name="Graphique 21">
              <a:extLst>
                <a:ext uri="{FF2B5EF4-FFF2-40B4-BE49-F238E27FC236}">
                  <a16:creationId xmlns:a16="http://schemas.microsoft.com/office/drawing/2014/main" id="{78E72ED0-0C7E-6CB2-ED8F-9ABF0871F65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982860" y="4142947"/>
              <a:ext cx="270000" cy="270000"/>
            </a:xfrm>
            <a:prstGeom prst="ellipse">
              <a:avLst/>
            </a:prstGeom>
          </p:spPr>
        </p:pic>
        <p:sp>
          <p:nvSpPr>
            <p:cNvPr id="23" name="ZoneTexte 22">
              <a:extLst>
                <a:ext uri="{FF2B5EF4-FFF2-40B4-BE49-F238E27FC236}">
                  <a16:creationId xmlns:a16="http://schemas.microsoft.com/office/drawing/2014/main" id="{2FBF4696-F136-CBFD-DBD9-ADECA784E0E0}"/>
                </a:ext>
              </a:extLst>
            </p:cNvPr>
            <p:cNvSpPr txBox="1"/>
            <p:nvPr/>
          </p:nvSpPr>
          <p:spPr>
            <a:xfrm>
              <a:off x="7650721" y="4422806"/>
              <a:ext cx="934278" cy="230832"/>
            </a:xfrm>
            <a:prstGeom prst="rect">
              <a:avLst/>
            </a:prstGeom>
            <a:noFill/>
          </p:spPr>
          <p:txBody>
            <a:bodyPr wrap="square" rtlCol="0">
              <a:spAutoFit/>
            </a:bodyPr>
            <a:lstStyle/>
            <a:p>
              <a:pPr algn="ctr"/>
              <a:r>
                <a:rPr lang="fr-FR" sz="900" b="1"/>
                <a:t>MCC</a:t>
              </a:r>
            </a:p>
          </p:txBody>
        </p:sp>
      </p:grpSp>
      <p:grpSp>
        <p:nvGrpSpPr>
          <p:cNvPr id="47" name="Groupe 46">
            <a:extLst>
              <a:ext uri="{FF2B5EF4-FFF2-40B4-BE49-F238E27FC236}">
                <a16:creationId xmlns:a16="http://schemas.microsoft.com/office/drawing/2014/main" id="{E21EDDA3-8FBC-AAAE-9226-9DFFD1D9317E}"/>
              </a:ext>
            </a:extLst>
          </p:cNvPr>
          <p:cNvGrpSpPr/>
          <p:nvPr/>
        </p:nvGrpSpPr>
        <p:grpSpPr>
          <a:xfrm>
            <a:off x="8456361" y="2818707"/>
            <a:ext cx="934278" cy="564846"/>
            <a:chOff x="8456361" y="2820365"/>
            <a:chExt cx="934278" cy="564846"/>
          </a:xfrm>
        </p:grpSpPr>
        <p:pic>
          <p:nvPicPr>
            <p:cNvPr id="26" name="Graphique 25">
              <a:extLst>
                <a:ext uri="{FF2B5EF4-FFF2-40B4-BE49-F238E27FC236}">
                  <a16:creationId xmlns:a16="http://schemas.microsoft.com/office/drawing/2014/main" id="{9B3DC991-4B2B-FD6D-B4CD-DAF9B50A54C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788500" y="2820365"/>
              <a:ext cx="270000" cy="270000"/>
            </a:xfrm>
            <a:prstGeom prst="ellipse">
              <a:avLst/>
            </a:prstGeom>
          </p:spPr>
        </p:pic>
        <p:sp>
          <p:nvSpPr>
            <p:cNvPr id="27" name="ZoneTexte 26">
              <a:extLst>
                <a:ext uri="{FF2B5EF4-FFF2-40B4-BE49-F238E27FC236}">
                  <a16:creationId xmlns:a16="http://schemas.microsoft.com/office/drawing/2014/main" id="{4E270B21-23C4-522C-1B63-75AE1230130D}"/>
                </a:ext>
              </a:extLst>
            </p:cNvPr>
            <p:cNvSpPr txBox="1"/>
            <p:nvPr/>
          </p:nvSpPr>
          <p:spPr>
            <a:xfrm>
              <a:off x="8456361" y="3154379"/>
              <a:ext cx="934278" cy="230832"/>
            </a:xfrm>
            <a:prstGeom prst="rect">
              <a:avLst/>
            </a:prstGeom>
            <a:noFill/>
          </p:spPr>
          <p:txBody>
            <a:bodyPr wrap="square" rtlCol="0">
              <a:spAutoFit/>
            </a:bodyPr>
            <a:lstStyle/>
            <a:p>
              <a:pPr algn="ctr"/>
              <a:r>
                <a:rPr lang="fr-FR" sz="900" b="1"/>
                <a:t>Data </a:t>
              </a:r>
              <a:r>
                <a:rPr lang="fr-FR" sz="900" b="1" err="1"/>
                <a:t>Catalog</a:t>
              </a:r>
              <a:endParaRPr lang="fr-FR" sz="900" b="1"/>
            </a:p>
          </p:txBody>
        </p:sp>
      </p:grpSp>
      <p:grpSp>
        <p:nvGrpSpPr>
          <p:cNvPr id="52" name="Groupe 51">
            <a:extLst>
              <a:ext uri="{FF2B5EF4-FFF2-40B4-BE49-F238E27FC236}">
                <a16:creationId xmlns:a16="http://schemas.microsoft.com/office/drawing/2014/main" id="{30A6ABD8-6DBE-F7F8-26FD-87E9C37845DD}"/>
              </a:ext>
            </a:extLst>
          </p:cNvPr>
          <p:cNvGrpSpPr/>
          <p:nvPr/>
        </p:nvGrpSpPr>
        <p:grpSpPr>
          <a:xfrm>
            <a:off x="10165225" y="4069275"/>
            <a:ext cx="934278" cy="506686"/>
            <a:chOff x="10165225" y="4084723"/>
            <a:chExt cx="934278" cy="506686"/>
          </a:xfrm>
        </p:grpSpPr>
        <p:pic>
          <p:nvPicPr>
            <p:cNvPr id="30" name="Graphique 29">
              <a:extLst>
                <a:ext uri="{FF2B5EF4-FFF2-40B4-BE49-F238E27FC236}">
                  <a16:creationId xmlns:a16="http://schemas.microsoft.com/office/drawing/2014/main" id="{CD0A83B3-C101-CAFA-9D1C-079C497BECB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497364" y="4084723"/>
              <a:ext cx="270000" cy="270000"/>
            </a:xfrm>
            <a:prstGeom prst="ellipse">
              <a:avLst/>
            </a:prstGeom>
          </p:spPr>
        </p:pic>
        <p:sp>
          <p:nvSpPr>
            <p:cNvPr id="35" name="ZoneTexte 34">
              <a:extLst>
                <a:ext uri="{FF2B5EF4-FFF2-40B4-BE49-F238E27FC236}">
                  <a16:creationId xmlns:a16="http://schemas.microsoft.com/office/drawing/2014/main" id="{7DB52E01-731A-5E09-3E78-1E9AC237D291}"/>
                </a:ext>
              </a:extLst>
            </p:cNvPr>
            <p:cNvSpPr txBox="1"/>
            <p:nvPr/>
          </p:nvSpPr>
          <p:spPr>
            <a:xfrm>
              <a:off x="10165225" y="4360577"/>
              <a:ext cx="934278" cy="230832"/>
            </a:xfrm>
            <a:prstGeom prst="rect">
              <a:avLst/>
            </a:prstGeom>
            <a:noFill/>
          </p:spPr>
          <p:txBody>
            <a:bodyPr wrap="square" rtlCol="0">
              <a:spAutoFit/>
            </a:bodyPr>
            <a:lstStyle/>
            <a:p>
              <a:pPr algn="ctr"/>
              <a:r>
                <a:rPr lang="fr-FR" sz="900" b="1"/>
                <a:t>MCC</a:t>
              </a:r>
            </a:p>
          </p:txBody>
        </p:sp>
      </p:grpSp>
      <p:grpSp>
        <p:nvGrpSpPr>
          <p:cNvPr id="50" name="Groupe 49">
            <a:extLst>
              <a:ext uri="{FF2B5EF4-FFF2-40B4-BE49-F238E27FC236}">
                <a16:creationId xmlns:a16="http://schemas.microsoft.com/office/drawing/2014/main" id="{7E3007FA-CEE8-2E80-671A-5C770DB9AA14}"/>
              </a:ext>
            </a:extLst>
          </p:cNvPr>
          <p:cNvGrpSpPr/>
          <p:nvPr/>
        </p:nvGrpSpPr>
        <p:grpSpPr>
          <a:xfrm>
            <a:off x="11287268" y="4053827"/>
            <a:ext cx="934278" cy="537582"/>
            <a:chOff x="11287268" y="4053827"/>
            <a:chExt cx="934278" cy="537582"/>
          </a:xfrm>
        </p:grpSpPr>
        <p:pic>
          <p:nvPicPr>
            <p:cNvPr id="31" name="Graphique 30">
              <a:extLst>
                <a:ext uri="{FF2B5EF4-FFF2-40B4-BE49-F238E27FC236}">
                  <a16:creationId xmlns:a16="http://schemas.microsoft.com/office/drawing/2014/main" id="{7062E83C-FEF9-BB4D-32B9-6DBE1B6F9C3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619407" y="4053827"/>
              <a:ext cx="270000" cy="270000"/>
            </a:xfrm>
            <a:prstGeom prst="ellipse">
              <a:avLst/>
            </a:prstGeom>
          </p:spPr>
        </p:pic>
        <p:sp>
          <p:nvSpPr>
            <p:cNvPr id="37" name="ZoneTexte 36">
              <a:extLst>
                <a:ext uri="{FF2B5EF4-FFF2-40B4-BE49-F238E27FC236}">
                  <a16:creationId xmlns:a16="http://schemas.microsoft.com/office/drawing/2014/main" id="{C0F1C657-9BA1-B8CA-E3ED-54E51173162A}"/>
                </a:ext>
              </a:extLst>
            </p:cNvPr>
            <p:cNvSpPr txBox="1"/>
            <p:nvPr/>
          </p:nvSpPr>
          <p:spPr>
            <a:xfrm>
              <a:off x="11287268" y="4360577"/>
              <a:ext cx="934278" cy="230832"/>
            </a:xfrm>
            <a:prstGeom prst="rect">
              <a:avLst/>
            </a:prstGeom>
            <a:noFill/>
          </p:spPr>
          <p:txBody>
            <a:bodyPr wrap="square" rtlCol="0">
              <a:spAutoFit/>
            </a:bodyPr>
            <a:lstStyle/>
            <a:p>
              <a:pPr algn="ctr"/>
              <a:r>
                <a:rPr lang="fr-FR" sz="900" b="1"/>
                <a:t>MCC</a:t>
              </a:r>
            </a:p>
          </p:txBody>
        </p:sp>
      </p:grpSp>
      <p:sp>
        <p:nvSpPr>
          <p:cNvPr id="3" name="ZoneTexte 2">
            <a:extLst>
              <a:ext uri="{FF2B5EF4-FFF2-40B4-BE49-F238E27FC236}">
                <a16:creationId xmlns:a16="http://schemas.microsoft.com/office/drawing/2014/main" id="{00B58B82-0424-C18A-6F01-ED207B9DB8D7}"/>
              </a:ext>
            </a:extLst>
          </p:cNvPr>
          <p:cNvSpPr txBox="1"/>
          <p:nvPr/>
        </p:nvSpPr>
        <p:spPr>
          <a:xfrm>
            <a:off x="165012" y="5302009"/>
            <a:ext cx="3009158" cy="276999"/>
          </a:xfrm>
          <a:prstGeom prst="rect">
            <a:avLst/>
          </a:prstGeom>
          <a:noFill/>
        </p:spPr>
        <p:txBody>
          <a:bodyPr wrap="none" rtlCol="0">
            <a:spAutoFit/>
          </a:bodyPr>
          <a:lstStyle/>
          <a:p>
            <a:pPr algn="ctr"/>
            <a:r>
              <a:rPr lang="en-US" sz="1200" b="1"/>
              <a:t>MCC : Metadata Command Center (see slide 19)</a:t>
            </a:r>
          </a:p>
        </p:txBody>
      </p:sp>
    </p:spTree>
    <p:extLst>
      <p:ext uri="{BB962C8B-B14F-4D97-AF65-F5344CB8AC3E}">
        <p14:creationId xmlns:p14="http://schemas.microsoft.com/office/powerpoint/2010/main" val="1257207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7F3EE3B5-83B6-B09B-DF50-71723C71793B}"/>
              </a:ext>
            </a:extLst>
          </p:cNvPr>
          <p:cNvSpPr>
            <a:spLocks noGrp="1"/>
          </p:cNvSpPr>
          <p:nvPr>
            <p:ph type="title"/>
          </p:nvPr>
        </p:nvSpPr>
        <p:spPr>
          <a:prstGeom prst="rect">
            <a:avLst/>
          </a:prstGeom>
        </p:spPr>
        <p:txBody>
          <a:bodyPr/>
          <a:lstStyle/>
          <a:p>
            <a:r>
              <a:rPr lang="en-US">
                <a:solidFill>
                  <a:schemeClr val="tx2"/>
                </a:solidFill>
              </a:rPr>
              <a:t>Document Metadata</a:t>
            </a:r>
            <a:r>
              <a:rPr lang="en-US" sz="3200"/>
              <a:t> in Data Catalog</a:t>
            </a:r>
            <a:endParaRPr lang="en-US"/>
          </a:p>
        </p:txBody>
      </p:sp>
      <p:cxnSp>
        <p:nvCxnSpPr>
          <p:cNvPr id="7" name="Straight Connector 130">
            <a:extLst>
              <a:ext uri="{FF2B5EF4-FFF2-40B4-BE49-F238E27FC236}">
                <a16:creationId xmlns:a16="http://schemas.microsoft.com/office/drawing/2014/main" id="{CF3A6CC0-E6CA-0302-F0DF-9537129E6540}"/>
              </a:ext>
            </a:extLst>
          </p:cNvPr>
          <p:cNvCxnSpPr/>
          <p:nvPr/>
        </p:nvCxnSpPr>
        <p:spPr>
          <a:xfrm>
            <a:off x="848912" y="4721954"/>
            <a:ext cx="10836525"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127">
            <a:extLst>
              <a:ext uri="{FF2B5EF4-FFF2-40B4-BE49-F238E27FC236}">
                <a16:creationId xmlns:a16="http://schemas.microsoft.com/office/drawing/2014/main" id="{4F3483B5-83A3-879F-604D-0C05CC449F98}"/>
              </a:ext>
            </a:extLst>
          </p:cNvPr>
          <p:cNvCxnSpPr/>
          <p:nvPr/>
        </p:nvCxnSpPr>
        <p:spPr>
          <a:xfrm>
            <a:off x="879764" y="2811406"/>
            <a:ext cx="10836525"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3" name="Straight Connector 139">
            <a:extLst>
              <a:ext uri="{FF2B5EF4-FFF2-40B4-BE49-F238E27FC236}">
                <a16:creationId xmlns:a16="http://schemas.microsoft.com/office/drawing/2014/main" id="{AA5F7757-5F5B-DE6F-5597-0DA90EB44045}"/>
              </a:ext>
            </a:extLst>
          </p:cNvPr>
          <p:cNvCxnSpPr/>
          <p:nvPr/>
        </p:nvCxnSpPr>
        <p:spPr>
          <a:xfrm>
            <a:off x="907943" y="3786304"/>
            <a:ext cx="10836525"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95" name="Groupe 94">
            <a:extLst>
              <a:ext uri="{FF2B5EF4-FFF2-40B4-BE49-F238E27FC236}">
                <a16:creationId xmlns:a16="http://schemas.microsoft.com/office/drawing/2014/main" id="{8DDB3A88-3B11-E7AD-30CA-91D8D02CEF11}"/>
              </a:ext>
            </a:extLst>
          </p:cNvPr>
          <p:cNvGrpSpPr/>
          <p:nvPr/>
        </p:nvGrpSpPr>
        <p:grpSpPr>
          <a:xfrm>
            <a:off x="-72268" y="3013878"/>
            <a:ext cx="1179576" cy="723594"/>
            <a:chOff x="100258" y="2427470"/>
            <a:chExt cx="1179576" cy="723594"/>
          </a:xfrm>
        </p:grpSpPr>
        <p:sp>
          <p:nvSpPr>
            <p:cNvPr id="11" name="TextBox 28">
              <a:extLst>
                <a:ext uri="{FF2B5EF4-FFF2-40B4-BE49-F238E27FC236}">
                  <a16:creationId xmlns:a16="http://schemas.microsoft.com/office/drawing/2014/main" id="{A958D262-67F0-26C4-BD73-04F7D3928CAF}"/>
                </a:ext>
              </a:extLst>
            </p:cNvPr>
            <p:cNvSpPr txBox="1"/>
            <p:nvPr/>
          </p:nvSpPr>
          <p:spPr>
            <a:xfrm>
              <a:off x="100258" y="2823564"/>
              <a:ext cx="1179576" cy="327500"/>
            </a:xfrm>
            <a:prstGeom prst="rect">
              <a:avLst/>
            </a:prstGeom>
            <a:noFill/>
          </p:spPr>
          <p:txBody>
            <a:bodyPr wrap="square" lIns="0" tIns="0" rIns="0" bIns="0" rtlCol="0">
              <a:no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Data</a:t>
              </a:r>
            </a:p>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Steward</a:t>
              </a:r>
            </a:p>
          </p:txBody>
        </p:sp>
        <p:grpSp>
          <p:nvGrpSpPr>
            <p:cNvPr id="91" name="Groupe 90">
              <a:extLst>
                <a:ext uri="{FF2B5EF4-FFF2-40B4-BE49-F238E27FC236}">
                  <a16:creationId xmlns:a16="http://schemas.microsoft.com/office/drawing/2014/main" id="{C6D0BB91-6D46-288E-314C-CF17CC2EA2D9}"/>
                </a:ext>
              </a:extLst>
            </p:cNvPr>
            <p:cNvGrpSpPr/>
            <p:nvPr/>
          </p:nvGrpSpPr>
          <p:grpSpPr>
            <a:xfrm>
              <a:off x="491999" y="2427470"/>
              <a:ext cx="396094" cy="396094"/>
              <a:chOff x="4118929" y="4914966"/>
              <a:chExt cx="644441" cy="644441"/>
            </a:xfrm>
          </p:grpSpPr>
          <p:sp>
            <p:nvSpPr>
              <p:cNvPr id="89" name="Ellipse 88">
                <a:extLst>
                  <a:ext uri="{FF2B5EF4-FFF2-40B4-BE49-F238E27FC236}">
                    <a16:creationId xmlns:a16="http://schemas.microsoft.com/office/drawing/2014/main" id="{7C1735BD-E954-CE5D-C6F9-9A35DF199E06}"/>
                  </a:ext>
                </a:extLst>
              </p:cNvPr>
              <p:cNvSpPr/>
              <p:nvPr/>
            </p:nvSpPr>
            <p:spPr>
              <a:xfrm>
                <a:off x="4118929" y="4914966"/>
                <a:ext cx="644441" cy="644441"/>
              </a:xfrm>
              <a:prstGeom prst="ellipse">
                <a:avLst/>
              </a:prstGeom>
              <a:solidFill>
                <a:srgbClr val="00B0AD">
                  <a:alpha val="5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latin typeface="Graphik" panose="020B0503030202060203" pitchFamily="34" charset="0"/>
                </a:endParaRPr>
              </a:p>
            </p:txBody>
          </p:sp>
          <p:pic>
            <p:nvPicPr>
              <p:cNvPr id="90" name="Image 89">
                <a:extLst>
                  <a:ext uri="{FF2B5EF4-FFF2-40B4-BE49-F238E27FC236}">
                    <a16:creationId xmlns:a16="http://schemas.microsoft.com/office/drawing/2014/main" id="{99B2D542-8B9A-60C4-025D-1181802C5A78}"/>
                  </a:ext>
                </a:extLst>
              </p:cNvPr>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171150" y="4969307"/>
                <a:ext cx="540000" cy="535756"/>
              </a:xfrm>
              <a:prstGeom prst="rect">
                <a:avLst/>
              </a:prstGeom>
            </p:spPr>
          </p:pic>
        </p:grpSp>
      </p:grpSp>
      <p:grpSp>
        <p:nvGrpSpPr>
          <p:cNvPr id="94" name="Groupe 93">
            <a:extLst>
              <a:ext uri="{FF2B5EF4-FFF2-40B4-BE49-F238E27FC236}">
                <a16:creationId xmlns:a16="http://schemas.microsoft.com/office/drawing/2014/main" id="{E9DF9EA5-ED82-8AA2-04B5-47725633E3F7}"/>
              </a:ext>
            </a:extLst>
          </p:cNvPr>
          <p:cNvGrpSpPr/>
          <p:nvPr/>
        </p:nvGrpSpPr>
        <p:grpSpPr>
          <a:xfrm>
            <a:off x="-72267" y="2085146"/>
            <a:ext cx="1179574" cy="703318"/>
            <a:chOff x="100259" y="1498738"/>
            <a:chExt cx="1179574" cy="703318"/>
          </a:xfrm>
        </p:grpSpPr>
        <p:sp>
          <p:nvSpPr>
            <p:cNvPr id="36" name="TextBox 103">
              <a:extLst>
                <a:ext uri="{FF2B5EF4-FFF2-40B4-BE49-F238E27FC236}">
                  <a16:creationId xmlns:a16="http://schemas.microsoft.com/office/drawing/2014/main" id="{D05B1E33-62EC-B9C4-3691-BD9A44FB465F}"/>
                </a:ext>
              </a:extLst>
            </p:cNvPr>
            <p:cNvSpPr txBox="1"/>
            <p:nvPr/>
          </p:nvSpPr>
          <p:spPr>
            <a:xfrm>
              <a:off x="100259" y="1894832"/>
              <a:ext cx="1179574" cy="307224"/>
            </a:xfrm>
            <a:prstGeom prst="rect">
              <a:avLst/>
            </a:prstGeom>
            <a:noFill/>
          </p:spPr>
          <p:txBody>
            <a:bodyPr wrap="square" lIns="0" tIns="0" rIns="0" bIns="0" rtlCol="0">
              <a:no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Data</a:t>
              </a:r>
            </a:p>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Owner</a:t>
              </a:r>
            </a:p>
          </p:txBody>
        </p:sp>
        <p:grpSp>
          <p:nvGrpSpPr>
            <p:cNvPr id="88" name="Groupe 87">
              <a:extLst>
                <a:ext uri="{FF2B5EF4-FFF2-40B4-BE49-F238E27FC236}">
                  <a16:creationId xmlns:a16="http://schemas.microsoft.com/office/drawing/2014/main" id="{6D423ED7-B77B-87A6-C44C-448805EC5075}"/>
                </a:ext>
              </a:extLst>
            </p:cNvPr>
            <p:cNvGrpSpPr/>
            <p:nvPr/>
          </p:nvGrpSpPr>
          <p:grpSpPr>
            <a:xfrm>
              <a:off x="491999" y="1498738"/>
              <a:ext cx="396094" cy="396094"/>
              <a:chOff x="3111683" y="3774648"/>
              <a:chExt cx="644441" cy="644441"/>
            </a:xfrm>
          </p:grpSpPr>
          <p:sp>
            <p:nvSpPr>
              <p:cNvPr id="86" name="Ellipse 85">
                <a:extLst>
                  <a:ext uri="{FF2B5EF4-FFF2-40B4-BE49-F238E27FC236}">
                    <a16:creationId xmlns:a16="http://schemas.microsoft.com/office/drawing/2014/main" id="{CB271B82-A923-FCB8-82D6-785B3D91AA1A}"/>
                  </a:ext>
                </a:extLst>
              </p:cNvPr>
              <p:cNvSpPr/>
              <p:nvPr/>
            </p:nvSpPr>
            <p:spPr>
              <a:xfrm>
                <a:off x="3111683" y="3774648"/>
                <a:ext cx="644441" cy="644441"/>
              </a:xfrm>
              <a:prstGeom prst="ellipse">
                <a:avLst/>
              </a:prstGeom>
              <a:solidFill>
                <a:srgbClr val="00B0AD">
                  <a:alpha val="5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latin typeface="Graphik" panose="020B0503030202060203" pitchFamily="34" charset="0"/>
                </a:endParaRPr>
              </a:p>
            </p:txBody>
          </p:sp>
          <p:pic>
            <p:nvPicPr>
              <p:cNvPr id="87" name="Picture 29" descr="A picture containing clipart&#10;&#10;Description automatically generated">
                <a:extLst>
                  <a:ext uri="{FF2B5EF4-FFF2-40B4-BE49-F238E27FC236}">
                    <a16:creationId xmlns:a16="http://schemas.microsoft.com/office/drawing/2014/main" id="{4DC0E158-A7CB-C2E9-0CE3-A05D2F5D4B17}"/>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163903" y="3826868"/>
                <a:ext cx="540000" cy="540000"/>
              </a:xfrm>
              <a:prstGeom prst="rect">
                <a:avLst/>
              </a:prstGeom>
            </p:spPr>
          </p:pic>
        </p:grpSp>
      </p:grpSp>
      <p:grpSp>
        <p:nvGrpSpPr>
          <p:cNvPr id="74" name="Groupe 73">
            <a:extLst>
              <a:ext uri="{FF2B5EF4-FFF2-40B4-BE49-F238E27FC236}">
                <a16:creationId xmlns:a16="http://schemas.microsoft.com/office/drawing/2014/main" id="{12ECB629-2984-FA7F-06CE-535D0CC1F5F8}"/>
              </a:ext>
            </a:extLst>
          </p:cNvPr>
          <p:cNvGrpSpPr/>
          <p:nvPr/>
        </p:nvGrpSpPr>
        <p:grpSpPr>
          <a:xfrm>
            <a:off x="174112" y="4042468"/>
            <a:ext cx="701950" cy="726244"/>
            <a:chOff x="174112" y="3456060"/>
            <a:chExt cx="701950" cy="726244"/>
          </a:xfrm>
        </p:grpSpPr>
        <p:grpSp>
          <p:nvGrpSpPr>
            <p:cNvPr id="31" name="Groupe 30">
              <a:extLst>
                <a:ext uri="{FF2B5EF4-FFF2-40B4-BE49-F238E27FC236}">
                  <a16:creationId xmlns:a16="http://schemas.microsoft.com/office/drawing/2014/main" id="{53A8DAC9-A0DB-3323-14C1-C3B600654380}"/>
                </a:ext>
              </a:extLst>
            </p:cNvPr>
            <p:cNvGrpSpPr/>
            <p:nvPr/>
          </p:nvGrpSpPr>
          <p:grpSpPr>
            <a:xfrm>
              <a:off x="323404" y="3456060"/>
              <a:ext cx="396000" cy="396000"/>
              <a:chOff x="728400" y="1697531"/>
              <a:chExt cx="810000" cy="810000"/>
            </a:xfrm>
          </p:grpSpPr>
          <p:sp>
            <p:nvSpPr>
              <p:cNvPr id="29" name="Ellipse 28">
                <a:extLst>
                  <a:ext uri="{FF2B5EF4-FFF2-40B4-BE49-F238E27FC236}">
                    <a16:creationId xmlns:a16="http://schemas.microsoft.com/office/drawing/2014/main" id="{08FD6855-0670-CFD7-AB04-7610549DD81F}"/>
                  </a:ext>
                </a:extLst>
              </p:cNvPr>
              <p:cNvSpPr/>
              <p:nvPr/>
            </p:nvSpPr>
            <p:spPr>
              <a:xfrm>
                <a:off x="728400" y="1697531"/>
                <a:ext cx="810000" cy="810000"/>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latin typeface="Graphik" panose="020B0503030202060203" pitchFamily="34" charset="0"/>
                </a:endParaRPr>
              </a:p>
            </p:txBody>
          </p:sp>
          <p:pic>
            <p:nvPicPr>
              <p:cNvPr id="30" name="Picture 74" descr="A picture containing vector graphics&#10;&#10;Description automatically generated">
                <a:extLst>
                  <a:ext uri="{FF2B5EF4-FFF2-40B4-BE49-F238E27FC236}">
                    <a16:creationId xmlns:a16="http://schemas.microsoft.com/office/drawing/2014/main" id="{BC741A88-E981-843E-EB43-1CFFDB0E713E}"/>
                  </a:ext>
                </a:extLst>
              </p:cNvPr>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93200" y="1762331"/>
                <a:ext cx="680400" cy="680400"/>
              </a:xfrm>
              <a:prstGeom prst="rect">
                <a:avLst/>
              </a:prstGeom>
            </p:spPr>
          </p:pic>
        </p:grpSp>
        <p:sp>
          <p:nvSpPr>
            <p:cNvPr id="51" name="TextBox 28">
              <a:extLst>
                <a:ext uri="{FF2B5EF4-FFF2-40B4-BE49-F238E27FC236}">
                  <a16:creationId xmlns:a16="http://schemas.microsoft.com/office/drawing/2014/main" id="{5618FF21-5D7E-75CD-1112-762B775A7AD7}"/>
                </a:ext>
              </a:extLst>
            </p:cNvPr>
            <p:cNvSpPr txBox="1"/>
            <p:nvPr/>
          </p:nvSpPr>
          <p:spPr>
            <a:xfrm>
              <a:off x="174112" y="3854804"/>
              <a:ext cx="701950" cy="327500"/>
            </a:xfrm>
            <a:prstGeom prst="rect">
              <a:avLst/>
            </a:prstGeom>
            <a:noFill/>
          </p:spPr>
          <p:txBody>
            <a:bodyPr wrap="square" lIns="0" tIns="0" rIns="0" bIns="0" rtlCol="0">
              <a:no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Data</a:t>
              </a:r>
            </a:p>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Office</a:t>
              </a:r>
            </a:p>
          </p:txBody>
        </p:sp>
      </p:grpSp>
      <p:sp>
        <p:nvSpPr>
          <p:cNvPr id="34" name="Flowchart: Alternate Process 85">
            <a:extLst>
              <a:ext uri="{FF2B5EF4-FFF2-40B4-BE49-F238E27FC236}">
                <a16:creationId xmlns:a16="http://schemas.microsoft.com/office/drawing/2014/main" id="{0DB04078-459F-B488-1BE2-85CA3AE1A1E8}"/>
              </a:ext>
            </a:extLst>
          </p:cNvPr>
          <p:cNvSpPr/>
          <p:nvPr/>
        </p:nvSpPr>
        <p:spPr>
          <a:xfrm>
            <a:off x="4893546" y="2984906"/>
            <a:ext cx="900000" cy="699861"/>
          </a:xfrm>
          <a:prstGeom prst="flowChartAlternateProcess">
            <a:avLst/>
          </a:prstGeom>
          <a:solidFill>
            <a:srgbClr val="7FD2D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u="none" strike="noStrike" kern="1200" cap="none" spc="0" normalizeH="0" baseline="0" noProof="0">
                <a:ln>
                  <a:noFill/>
                </a:ln>
                <a:solidFill>
                  <a:srgbClr val="FFFFFF"/>
                </a:solidFill>
                <a:effectLst/>
                <a:uLnTx/>
                <a:uFillTx/>
                <a:latin typeface="Graphik"/>
                <a:ea typeface="+mn-ea"/>
                <a:cs typeface="+mn-cs"/>
              </a:rPr>
              <a:t>Regroup scanned </a:t>
            </a:r>
            <a:r>
              <a:rPr kumimoji="0" lang="en-US" sz="900" b="0" u="none" strike="noStrike" kern="1200" cap="none" spc="0" normalizeH="0" baseline="0" noProof="0" err="1">
                <a:ln>
                  <a:noFill/>
                </a:ln>
                <a:solidFill>
                  <a:srgbClr val="FFFFFF"/>
                </a:solidFill>
                <a:effectLst/>
                <a:uLnTx/>
                <a:uFillTx/>
                <a:latin typeface="Graphik"/>
                <a:ea typeface="+mn-ea"/>
                <a:cs typeface="+mn-cs"/>
              </a:rPr>
              <a:t>metadatas</a:t>
            </a:r>
            <a:endParaRPr kumimoji="0" lang="en-US" sz="900" b="0" i="0" u="none" strike="noStrike" kern="1200" cap="none" spc="0" normalizeH="0" baseline="0" noProof="0">
              <a:ln>
                <a:noFill/>
              </a:ln>
              <a:solidFill>
                <a:srgbClr val="FFFFFF"/>
              </a:solidFill>
              <a:effectLst/>
              <a:uLnTx/>
              <a:uFillTx/>
              <a:latin typeface="Graphik"/>
              <a:ea typeface="+mn-ea"/>
              <a:cs typeface="+mn-cs"/>
            </a:endParaRPr>
          </a:p>
        </p:txBody>
      </p:sp>
      <p:sp>
        <p:nvSpPr>
          <p:cNvPr id="46" name="Flowchart: Alternate Process 85">
            <a:extLst>
              <a:ext uri="{FF2B5EF4-FFF2-40B4-BE49-F238E27FC236}">
                <a16:creationId xmlns:a16="http://schemas.microsoft.com/office/drawing/2014/main" id="{4BA449FE-8F39-D3CC-EED6-16738C3A04F3}"/>
              </a:ext>
            </a:extLst>
          </p:cNvPr>
          <p:cNvSpPr/>
          <p:nvPr/>
        </p:nvSpPr>
        <p:spPr>
          <a:xfrm>
            <a:off x="8074562" y="2973626"/>
            <a:ext cx="971902" cy="720000"/>
          </a:xfrm>
          <a:prstGeom prst="flowChartAlternateProcess">
            <a:avLst/>
          </a:prstGeom>
          <a:solidFill>
            <a:srgbClr val="7FD2D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rgbClr val="FFFFFF"/>
                </a:solidFill>
                <a:latin typeface="Graphik"/>
              </a:rPr>
              <a:t>Assign </a:t>
            </a:r>
            <a:r>
              <a:rPr lang="en-US" sz="900" i="1">
                <a:solidFill>
                  <a:srgbClr val="FFFFFF"/>
                </a:solidFill>
                <a:latin typeface="Graphik"/>
              </a:rPr>
              <a:t>Data Classification* </a:t>
            </a:r>
            <a:r>
              <a:rPr lang="en-US" sz="900" i="0">
                <a:solidFill>
                  <a:srgbClr val="FFFFFF"/>
                </a:solidFill>
                <a:latin typeface="Graphik"/>
              </a:rPr>
              <a:t>to metadata</a:t>
            </a:r>
            <a:endParaRPr kumimoji="0" lang="en-US" sz="900" b="0" i="0" u="none" strike="noStrike" kern="1200" cap="none" spc="0" normalizeH="0" baseline="0" noProof="0">
              <a:ln>
                <a:noFill/>
              </a:ln>
              <a:solidFill>
                <a:srgbClr val="FFFFFF"/>
              </a:solidFill>
              <a:effectLst/>
              <a:uLnTx/>
              <a:uFillTx/>
              <a:latin typeface="Graphik"/>
              <a:ea typeface="+mn-ea"/>
              <a:cs typeface="+mn-cs"/>
            </a:endParaRPr>
          </a:p>
        </p:txBody>
      </p:sp>
      <p:sp>
        <p:nvSpPr>
          <p:cNvPr id="58" name="Flowchart: Alternate Process 85">
            <a:extLst>
              <a:ext uri="{FF2B5EF4-FFF2-40B4-BE49-F238E27FC236}">
                <a16:creationId xmlns:a16="http://schemas.microsoft.com/office/drawing/2014/main" id="{7B796AA3-E76A-DB93-C146-5B4B85A7E237}"/>
              </a:ext>
            </a:extLst>
          </p:cNvPr>
          <p:cNvSpPr/>
          <p:nvPr/>
        </p:nvSpPr>
        <p:spPr>
          <a:xfrm>
            <a:off x="3771524" y="3899885"/>
            <a:ext cx="900000" cy="720000"/>
          </a:xfrm>
          <a:prstGeom prst="flowChartAlternateProcess">
            <a:avLst/>
          </a:prstGeom>
          <a:solidFill>
            <a:srgbClr val="FF8DA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rgbClr val="FFFFFF"/>
                </a:solidFill>
                <a:latin typeface="Graphik"/>
              </a:rPr>
              <a:t>Review &amp; Import Business Terms to Glossary</a:t>
            </a:r>
            <a:endParaRPr kumimoji="0" lang="en-US" sz="900" b="0" i="0" u="none" strike="noStrike" kern="1200" cap="none" spc="0" normalizeH="0" baseline="0" noProof="0">
              <a:ln>
                <a:noFill/>
              </a:ln>
              <a:solidFill>
                <a:srgbClr val="FFFFFF"/>
              </a:solidFill>
              <a:effectLst/>
              <a:uLnTx/>
              <a:uFillTx/>
              <a:latin typeface="Graphik"/>
              <a:ea typeface="+mn-ea"/>
              <a:cs typeface="+mn-cs"/>
            </a:endParaRPr>
          </a:p>
        </p:txBody>
      </p:sp>
      <p:cxnSp>
        <p:nvCxnSpPr>
          <p:cNvPr id="15" name="Connector: Elbow 37">
            <a:extLst>
              <a:ext uri="{FF2B5EF4-FFF2-40B4-BE49-F238E27FC236}">
                <a16:creationId xmlns:a16="http://schemas.microsoft.com/office/drawing/2014/main" id="{E34C16A3-1FF2-82E4-2F34-94BFCCB83737}"/>
              </a:ext>
            </a:extLst>
          </p:cNvPr>
          <p:cNvCxnSpPr>
            <a:cxnSpLocks/>
            <a:stCxn id="34" idx="3"/>
            <a:endCxn id="12" idx="1"/>
          </p:cNvCxnSpPr>
          <p:nvPr/>
        </p:nvCxnSpPr>
        <p:spPr>
          <a:xfrm flipV="1">
            <a:off x="5793546" y="3334836"/>
            <a:ext cx="195158" cy="1"/>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0" name="Flowchart: Alternate Process 84">
            <a:extLst>
              <a:ext uri="{FF2B5EF4-FFF2-40B4-BE49-F238E27FC236}">
                <a16:creationId xmlns:a16="http://schemas.microsoft.com/office/drawing/2014/main" id="{0BC725B9-53B4-BCD5-34AC-DEB65CC7884C}"/>
              </a:ext>
            </a:extLst>
          </p:cNvPr>
          <p:cNvSpPr/>
          <p:nvPr/>
        </p:nvSpPr>
        <p:spPr>
          <a:xfrm>
            <a:off x="7326946" y="3921193"/>
            <a:ext cx="900000" cy="720000"/>
          </a:xfrm>
          <a:prstGeom prst="flowChartAlternateProcess">
            <a:avLst/>
          </a:prstGeom>
          <a:solidFill>
            <a:srgbClr val="FF8DA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a:solidFill>
                  <a:srgbClr val="FFFFFF"/>
                </a:solidFill>
                <a:latin typeface="Graphik"/>
              </a:rPr>
              <a:t>Create New Data Classification</a:t>
            </a:r>
          </a:p>
        </p:txBody>
      </p:sp>
      <p:sp>
        <p:nvSpPr>
          <p:cNvPr id="12" name="Flowchart: Alternate Process 85">
            <a:extLst>
              <a:ext uri="{FF2B5EF4-FFF2-40B4-BE49-F238E27FC236}">
                <a16:creationId xmlns:a16="http://schemas.microsoft.com/office/drawing/2014/main" id="{7AEB906C-277F-8D3D-E14F-310C6B26FF36}"/>
              </a:ext>
            </a:extLst>
          </p:cNvPr>
          <p:cNvSpPr/>
          <p:nvPr/>
        </p:nvSpPr>
        <p:spPr>
          <a:xfrm>
            <a:off x="5988704" y="2974836"/>
            <a:ext cx="971902" cy="720000"/>
          </a:xfrm>
          <a:prstGeom prst="flowChartAlternateProcess">
            <a:avLst/>
          </a:prstGeom>
          <a:solidFill>
            <a:srgbClr val="7FD2D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i="0">
                <a:solidFill>
                  <a:srgbClr val="FFFFFF"/>
                </a:solidFill>
                <a:latin typeface="Graphik"/>
              </a:rPr>
              <a:t>Associate Business Terms to scanned </a:t>
            </a:r>
            <a:r>
              <a:rPr lang="en-US" sz="900" i="0" err="1">
                <a:solidFill>
                  <a:srgbClr val="FFFFFF"/>
                </a:solidFill>
                <a:latin typeface="Graphik"/>
              </a:rPr>
              <a:t>metadatas</a:t>
            </a:r>
            <a:endParaRPr kumimoji="0" lang="en-US" sz="900" b="0" i="0" u="none" strike="noStrike" kern="1200" cap="none" spc="0" normalizeH="0" baseline="0" noProof="0">
              <a:ln>
                <a:noFill/>
              </a:ln>
              <a:solidFill>
                <a:srgbClr val="FFFFFF"/>
              </a:solidFill>
              <a:effectLst/>
              <a:uLnTx/>
              <a:uFillTx/>
              <a:latin typeface="Graphik"/>
              <a:ea typeface="+mn-ea"/>
              <a:cs typeface="+mn-cs"/>
            </a:endParaRPr>
          </a:p>
        </p:txBody>
      </p:sp>
      <p:cxnSp>
        <p:nvCxnSpPr>
          <p:cNvPr id="14" name="Connector: Elbow 37">
            <a:extLst>
              <a:ext uri="{FF2B5EF4-FFF2-40B4-BE49-F238E27FC236}">
                <a16:creationId xmlns:a16="http://schemas.microsoft.com/office/drawing/2014/main" id="{343A7965-2972-6A4F-E2E8-25E72C614E96}"/>
              </a:ext>
            </a:extLst>
          </p:cNvPr>
          <p:cNvCxnSpPr>
            <a:cxnSpLocks/>
            <a:stCxn id="12" idx="3"/>
            <a:endCxn id="46" idx="1"/>
          </p:cNvCxnSpPr>
          <p:nvPr/>
        </p:nvCxnSpPr>
        <p:spPr>
          <a:xfrm flipV="1">
            <a:off x="6960606" y="3333626"/>
            <a:ext cx="1113956" cy="1210"/>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nvGrpSpPr>
          <p:cNvPr id="6" name="Groupe 5">
            <a:extLst>
              <a:ext uri="{FF2B5EF4-FFF2-40B4-BE49-F238E27FC236}">
                <a16:creationId xmlns:a16="http://schemas.microsoft.com/office/drawing/2014/main" id="{9FEE806D-AB12-08D0-6265-55AA0C90BCFE}"/>
              </a:ext>
            </a:extLst>
          </p:cNvPr>
          <p:cNvGrpSpPr/>
          <p:nvPr/>
        </p:nvGrpSpPr>
        <p:grpSpPr>
          <a:xfrm>
            <a:off x="9606" y="53478"/>
            <a:ext cx="552948" cy="421043"/>
            <a:chOff x="1007542" y="176192"/>
            <a:chExt cx="552948" cy="421043"/>
          </a:xfrm>
        </p:grpSpPr>
        <p:sp>
          <p:nvSpPr>
            <p:cNvPr id="16" name="Ellipse 15">
              <a:extLst>
                <a:ext uri="{FF2B5EF4-FFF2-40B4-BE49-F238E27FC236}">
                  <a16:creationId xmlns:a16="http://schemas.microsoft.com/office/drawing/2014/main" id="{15D3D2CE-9ADF-8542-1739-41C86044B26F}"/>
                </a:ext>
              </a:extLst>
            </p:cNvPr>
            <p:cNvSpPr/>
            <p:nvPr/>
          </p:nvSpPr>
          <p:spPr>
            <a:xfrm>
              <a:off x="1073495" y="176192"/>
              <a:ext cx="421043" cy="421043"/>
            </a:xfrm>
            <a:prstGeom prst="ellipse">
              <a:avLst/>
            </a:prstGeom>
            <a:solidFill>
              <a:schemeClr val="accent1"/>
            </a:solidFill>
            <a:ln w="6350">
              <a:solidFill>
                <a:schemeClr val="accent6"/>
              </a:solid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ZoneTexte 16">
              <a:extLst>
                <a:ext uri="{FF2B5EF4-FFF2-40B4-BE49-F238E27FC236}">
                  <a16:creationId xmlns:a16="http://schemas.microsoft.com/office/drawing/2014/main" id="{716771AC-87DE-B093-747C-1D0FCF0CF055}"/>
                </a:ext>
              </a:extLst>
            </p:cNvPr>
            <p:cNvSpPr txBox="1"/>
            <p:nvPr/>
          </p:nvSpPr>
          <p:spPr>
            <a:xfrm>
              <a:off x="1007542" y="202047"/>
              <a:ext cx="552948" cy="369332"/>
            </a:xfrm>
            <a:prstGeom prst="rect">
              <a:avLst/>
            </a:prstGeom>
            <a:noFill/>
          </p:spPr>
          <p:txBody>
            <a:bodyPr wrap="square" rtlCol="0">
              <a:spAutoFit/>
            </a:bodyPr>
            <a:lstStyle/>
            <a:p>
              <a:pPr algn="ctr"/>
              <a:r>
                <a:rPr lang="fr-FR">
                  <a:solidFill>
                    <a:schemeClr val="bg1"/>
                  </a:solidFill>
                </a:rPr>
                <a:t>3.2</a:t>
              </a:r>
            </a:p>
          </p:txBody>
        </p:sp>
      </p:grpSp>
      <p:sp>
        <p:nvSpPr>
          <p:cNvPr id="18" name="Flowchart: Alternate Process 85">
            <a:extLst>
              <a:ext uri="{FF2B5EF4-FFF2-40B4-BE49-F238E27FC236}">
                <a16:creationId xmlns:a16="http://schemas.microsoft.com/office/drawing/2014/main" id="{74D1F117-C283-BE55-57C6-97FEE110E9EA}"/>
              </a:ext>
            </a:extLst>
          </p:cNvPr>
          <p:cNvSpPr/>
          <p:nvPr/>
        </p:nvSpPr>
        <p:spPr>
          <a:xfrm>
            <a:off x="1587047" y="1983529"/>
            <a:ext cx="900000" cy="720000"/>
          </a:xfrm>
          <a:prstGeom prst="flowChartAlternateProcess">
            <a:avLst/>
          </a:prstGeom>
          <a:solidFill>
            <a:srgbClr val="7FD2D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rgbClr val="FFFFFF"/>
                </a:solidFill>
                <a:latin typeface="Graphik"/>
              </a:rPr>
              <a:t>1.0  Define and validate business terms</a:t>
            </a:r>
            <a:endParaRPr kumimoji="0" lang="en-US" sz="900" b="0" i="0" u="none" strike="noStrike" kern="1200" cap="none" spc="0" normalizeH="0" baseline="0" noProof="0">
              <a:ln>
                <a:noFill/>
              </a:ln>
              <a:solidFill>
                <a:srgbClr val="FFFFFF"/>
              </a:solidFill>
              <a:effectLst/>
              <a:uLnTx/>
              <a:uFillTx/>
              <a:latin typeface="Graphik"/>
              <a:ea typeface="+mn-ea"/>
              <a:cs typeface="+mn-cs"/>
            </a:endParaRPr>
          </a:p>
        </p:txBody>
      </p:sp>
      <p:cxnSp>
        <p:nvCxnSpPr>
          <p:cNvPr id="22" name="Connector: Elbow 18">
            <a:extLst>
              <a:ext uri="{FF2B5EF4-FFF2-40B4-BE49-F238E27FC236}">
                <a16:creationId xmlns:a16="http://schemas.microsoft.com/office/drawing/2014/main" id="{7D1CBF66-BAAD-0C5C-98CB-E4EFBC7491C8}"/>
              </a:ext>
            </a:extLst>
          </p:cNvPr>
          <p:cNvCxnSpPr>
            <a:cxnSpLocks/>
            <a:stCxn id="18" idx="3"/>
            <a:endCxn id="58" idx="1"/>
          </p:cNvCxnSpPr>
          <p:nvPr/>
        </p:nvCxnSpPr>
        <p:spPr>
          <a:xfrm>
            <a:off x="2487047" y="2343529"/>
            <a:ext cx="1284477" cy="1916356"/>
          </a:xfrm>
          <a:prstGeom prst="bentConnector3">
            <a:avLst>
              <a:gd name="adj1" fmla="val 50000"/>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40" name="Connector: Elbow 18">
            <a:extLst>
              <a:ext uri="{FF2B5EF4-FFF2-40B4-BE49-F238E27FC236}">
                <a16:creationId xmlns:a16="http://schemas.microsoft.com/office/drawing/2014/main" id="{621EB438-5CE5-8C1C-9CBB-F1C6B52EE0EB}"/>
              </a:ext>
            </a:extLst>
          </p:cNvPr>
          <p:cNvCxnSpPr>
            <a:cxnSpLocks/>
            <a:stCxn id="58" idx="3"/>
            <a:endCxn id="34" idx="2"/>
          </p:cNvCxnSpPr>
          <p:nvPr/>
        </p:nvCxnSpPr>
        <p:spPr>
          <a:xfrm flipV="1">
            <a:off x="4671524" y="3684767"/>
            <a:ext cx="672022" cy="575118"/>
          </a:xfrm>
          <a:prstGeom prst="bentConnector2">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Connecteur : en angle 69">
            <a:extLst>
              <a:ext uri="{FF2B5EF4-FFF2-40B4-BE49-F238E27FC236}">
                <a16:creationId xmlns:a16="http://schemas.microsoft.com/office/drawing/2014/main" id="{CE06B534-64CF-5B47-E9DD-C990782CE342}"/>
              </a:ext>
            </a:extLst>
          </p:cNvPr>
          <p:cNvCxnSpPr>
            <a:cxnSpLocks/>
            <a:stCxn id="40" idx="3"/>
            <a:endCxn id="46" idx="2"/>
          </p:cNvCxnSpPr>
          <p:nvPr/>
        </p:nvCxnSpPr>
        <p:spPr>
          <a:xfrm flipV="1">
            <a:off x="8226946" y="3693626"/>
            <a:ext cx="333567" cy="587567"/>
          </a:xfrm>
          <a:prstGeom prst="bentConnector2">
            <a:avLst/>
          </a:prstGeom>
          <a:ln>
            <a:prstDash val="sysDash"/>
            <a:tailEnd type="triangle"/>
          </a:ln>
        </p:spPr>
        <p:style>
          <a:lnRef idx="2">
            <a:schemeClr val="accent1"/>
          </a:lnRef>
          <a:fillRef idx="0">
            <a:schemeClr val="accent1"/>
          </a:fillRef>
          <a:effectRef idx="1">
            <a:schemeClr val="accent1"/>
          </a:effectRef>
          <a:fontRef idx="minor">
            <a:schemeClr val="tx1"/>
          </a:fontRef>
        </p:style>
      </p:cxnSp>
      <p:sp>
        <p:nvSpPr>
          <p:cNvPr id="80" name="Rectangle 79">
            <a:extLst>
              <a:ext uri="{FF2B5EF4-FFF2-40B4-BE49-F238E27FC236}">
                <a16:creationId xmlns:a16="http://schemas.microsoft.com/office/drawing/2014/main" id="{9D78CBC7-D104-8EE7-D4E9-1AE0114BD8E4}"/>
              </a:ext>
            </a:extLst>
          </p:cNvPr>
          <p:cNvSpPr/>
          <p:nvPr/>
        </p:nvSpPr>
        <p:spPr>
          <a:xfrm>
            <a:off x="8271782" y="4319318"/>
            <a:ext cx="648319" cy="222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raphik"/>
                <a:ea typeface="+mn-ea"/>
                <a:cs typeface="+mn-cs"/>
              </a:rPr>
              <a:t>If needed</a:t>
            </a:r>
          </a:p>
        </p:txBody>
      </p:sp>
      <p:grpSp>
        <p:nvGrpSpPr>
          <p:cNvPr id="3" name="Groupe 2">
            <a:extLst>
              <a:ext uri="{FF2B5EF4-FFF2-40B4-BE49-F238E27FC236}">
                <a16:creationId xmlns:a16="http://schemas.microsoft.com/office/drawing/2014/main" id="{39D4CC27-9B5B-38C9-D9D0-6813E7D491FB}"/>
              </a:ext>
            </a:extLst>
          </p:cNvPr>
          <p:cNvGrpSpPr/>
          <p:nvPr/>
        </p:nvGrpSpPr>
        <p:grpSpPr>
          <a:xfrm>
            <a:off x="861072" y="6286498"/>
            <a:ext cx="1417408" cy="494551"/>
            <a:chOff x="80233" y="5624489"/>
            <a:chExt cx="1417408" cy="494551"/>
          </a:xfrm>
        </p:grpSpPr>
        <p:sp>
          <p:nvSpPr>
            <p:cNvPr id="19" name="Rectangle: Rounded Corners 58">
              <a:extLst>
                <a:ext uri="{FF2B5EF4-FFF2-40B4-BE49-F238E27FC236}">
                  <a16:creationId xmlns:a16="http://schemas.microsoft.com/office/drawing/2014/main" id="{737DC5B1-2B02-6D2A-91FE-40F632BBA3F2}"/>
                </a:ext>
              </a:extLst>
            </p:cNvPr>
            <p:cNvSpPr/>
            <p:nvPr/>
          </p:nvSpPr>
          <p:spPr>
            <a:xfrm>
              <a:off x="80233" y="5624489"/>
              <a:ext cx="1417408" cy="494551"/>
            </a:xfrm>
            <a:prstGeom prst="roundRect">
              <a:avLst>
                <a:gd name="adj" fmla="val 5346"/>
              </a:avLst>
            </a:prstGeom>
            <a:solidFill>
              <a:schemeClr val="bg1"/>
            </a:solidFill>
            <a:ln w="6350">
              <a:solidFill>
                <a:schemeClr val="tx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tIns="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E20025"/>
                  </a:solidFill>
                  <a:effectLst/>
                  <a:uLnTx/>
                  <a:uFillTx/>
                  <a:latin typeface="Vinci Sans Light"/>
                  <a:ea typeface="+mn-ea"/>
                  <a:cs typeface="+mn-cs"/>
                </a:rPr>
                <a:t>Legend</a:t>
              </a:r>
              <a:endParaRPr kumimoji="0" lang="en-US" sz="1050" b="1" i="0" u="none" strike="noStrike" kern="1200" cap="none" spc="0" normalizeH="0" baseline="0" noProof="0">
                <a:ln>
                  <a:noFill/>
                </a:ln>
                <a:solidFill>
                  <a:srgbClr val="E20025"/>
                </a:solidFill>
                <a:effectLst/>
                <a:uLnTx/>
                <a:uFillTx/>
                <a:latin typeface="Vinci Sans Light"/>
                <a:ea typeface="+mn-ea"/>
                <a:cs typeface="+mn-cs"/>
              </a:endParaRPr>
            </a:p>
          </p:txBody>
        </p:sp>
        <p:sp>
          <p:nvSpPr>
            <p:cNvPr id="20" name="Flowchart: Alternate Process 92">
              <a:extLst>
                <a:ext uri="{FF2B5EF4-FFF2-40B4-BE49-F238E27FC236}">
                  <a16:creationId xmlns:a16="http://schemas.microsoft.com/office/drawing/2014/main" id="{4E0D766C-6EA4-43B6-4C42-4FF49B7937C4}"/>
                </a:ext>
              </a:extLst>
            </p:cNvPr>
            <p:cNvSpPr/>
            <p:nvPr/>
          </p:nvSpPr>
          <p:spPr>
            <a:xfrm>
              <a:off x="161716" y="5843847"/>
              <a:ext cx="598716" cy="145321"/>
            </a:xfrm>
            <a:prstGeom prst="flowChartAlternateProcess">
              <a:avLst/>
            </a:prstGeom>
            <a:solidFill>
              <a:srgbClr val="7FD2D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Vinci Sans Light"/>
                  <a:ea typeface="+mn-ea"/>
                  <a:cs typeface="+mn-cs"/>
                </a:rPr>
                <a:t>Process Step</a:t>
              </a:r>
            </a:p>
          </p:txBody>
        </p:sp>
        <p:sp>
          <p:nvSpPr>
            <p:cNvPr id="21" name="Flowchart: Decision 96">
              <a:extLst>
                <a:ext uri="{FF2B5EF4-FFF2-40B4-BE49-F238E27FC236}">
                  <a16:creationId xmlns:a16="http://schemas.microsoft.com/office/drawing/2014/main" id="{9247D6B8-9F60-3C9F-5F22-702DF40FB3A2}"/>
                </a:ext>
              </a:extLst>
            </p:cNvPr>
            <p:cNvSpPr/>
            <p:nvPr/>
          </p:nvSpPr>
          <p:spPr>
            <a:xfrm>
              <a:off x="841916" y="5779400"/>
              <a:ext cx="549751" cy="274214"/>
            </a:xfrm>
            <a:prstGeom prst="flowChartDecision">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Vinci Sans Light"/>
                  <a:ea typeface="+mn-ea"/>
                  <a:cs typeface="+mn-cs"/>
                </a:rPr>
                <a:t>Process Decision </a:t>
              </a:r>
            </a:p>
          </p:txBody>
        </p:sp>
      </p:grpSp>
      <p:sp>
        <p:nvSpPr>
          <p:cNvPr id="10" name="ZoneTexte 9">
            <a:extLst>
              <a:ext uri="{FF2B5EF4-FFF2-40B4-BE49-F238E27FC236}">
                <a16:creationId xmlns:a16="http://schemas.microsoft.com/office/drawing/2014/main" id="{EE0EABC6-EF5A-AA3E-FEE7-5CD70242BE41}"/>
              </a:ext>
            </a:extLst>
          </p:cNvPr>
          <p:cNvSpPr txBox="1"/>
          <p:nvPr/>
        </p:nvSpPr>
        <p:spPr>
          <a:xfrm>
            <a:off x="319473" y="5813609"/>
            <a:ext cx="3886767" cy="430887"/>
          </a:xfrm>
          <a:prstGeom prst="rect">
            <a:avLst/>
          </a:prstGeom>
          <a:noFill/>
        </p:spPr>
        <p:txBody>
          <a:bodyPr wrap="square">
            <a:spAutoFit/>
          </a:bodyPr>
          <a:lstStyle/>
          <a:p>
            <a:r>
              <a:rPr lang="en-US" sz="1100" i="1"/>
              <a:t>Data Classification : Process of identifying and organizing data into relevant categories based on the functional meaning of the data </a:t>
            </a:r>
            <a:endParaRPr lang="fr-FR" sz="1100"/>
          </a:p>
        </p:txBody>
      </p:sp>
      <p:pic>
        <p:nvPicPr>
          <p:cNvPr id="2" name="Graphique 1">
            <a:extLst>
              <a:ext uri="{FF2B5EF4-FFF2-40B4-BE49-F238E27FC236}">
                <a16:creationId xmlns:a16="http://schemas.microsoft.com/office/drawing/2014/main" id="{ED748C1C-E66F-223C-B345-A192BE73CFF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510315" y="4438468"/>
            <a:ext cx="270000" cy="270000"/>
          </a:xfrm>
          <a:prstGeom prst="ellipse">
            <a:avLst/>
          </a:prstGeom>
        </p:spPr>
      </p:pic>
      <p:sp>
        <p:nvSpPr>
          <p:cNvPr id="4" name="ZoneTexte 3">
            <a:extLst>
              <a:ext uri="{FF2B5EF4-FFF2-40B4-BE49-F238E27FC236}">
                <a16:creationId xmlns:a16="http://schemas.microsoft.com/office/drawing/2014/main" id="{F2867AF5-4BC8-3E79-718A-A6202C047E39}"/>
              </a:ext>
            </a:extLst>
          </p:cNvPr>
          <p:cNvSpPr txBox="1"/>
          <p:nvPr/>
        </p:nvSpPr>
        <p:spPr>
          <a:xfrm>
            <a:off x="4178176" y="4772482"/>
            <a:ext cx="934278" cy="230832"/>
          </a:xfrm>
          <a:prstGeom prst="rect">
            <a:avLst/>
          </a:prstGeom>
          <a:noFill/>
        </p:spPr>
        <p:txBody>
          <a:bodyPr wrap="square" rtlCol="0">
            <a:spAutoFit/>
          </a:bodyPr>
          <a:lstStyle/>
          <a:p>
            <a:pPr algn="ctr"/>
            <a:r>
              <a:rPr lang="fr-FR" sz="900" b="1"/>
              <a:t>Data </a:t>
            </a:r>
            <a:r>
              <a:rPr lang="fr-FR" sz="900" b="1" err="1"/>
              <a:t>Catalog</a:t>
            </a:r>
            <a:endParaRPr lang="fr-FR" sz="900" b="1"/>
          </a:p>
        </p:txBody>
      </p:sp>
      <p:pic>
        <p:nvPicPr>
          <p:cNvPr id="8" name="Graphique 7">
            <a:extLst>
              <a:ext uri="{FF2B5EF4-FFF2-40B4-BE49-F238E27FC236}">
                <a16:creationId xmlns:a16="http://schemas.microsoft.com/office/drawing/2014/main" id="{9B3EB0B9-5149-874E-BA99-9E3B801E216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10693" y="3525889"/>
            <a:ext cx="270000" cy="270000"/>
          </a:xfrm>
          <a:prstGeom prst="ellipse">
            <a:avLst/>
          </a:prstGeom>
        </p:spPr>
      </p:pic>
      <p:sp>
        <p:nvSpPr>
          <p:cNvPr id="13" name="ZoneTexte 12">
            <a:extLst>
              <a:ext uri="{FF2B5EF4-FFF2-40B4-BE49-F238E27FC236}">
                <a16:creationId xmlns:a16="http://schemas.microsoft.com/office/drawing/2014/main" id="{A7A1D6C4-5F29-9218-24B6-E6FB267FDCA9}"/>
              </a:ext>
            </a:extLst>
          </p:cNvPr>
          <p:cNvSpPr txBox="1"/>
          <p:nvPr/>
        </p:nvSpPr>
        <p:spPr>
          <a:xfrm>
            <a:off x="5278554" y="3859903"/>
            <a:ext cx="934278" cy="230832"/>
          </a:xfrm>
          <a:prstGeom prst="rect">
            <a:avLst/>
          </a:prstGeom>
          <a:noFill/>
        </p:spPr>
        <p:txBody>
          <a:bodyPr wrap="square" rtlCol="0">
            <a:spAutoFit/>
          </a:bodyPr>
          <a:lstStyle/>
          <a:p>
            <a:pPr algn="ctr"/>
            <a:r>
              <a:rPr lang="fr-FR" sz="900" b="1"/>
              <a:t>Data </a:t>
            </a:r>
            <a:r>
              <a:rPr lang="fr-FR" sz="900" b="1" err="1"/>
              <a:t>Catalog</a:t>
            </a:r>
            <a:endParaRPr lang="fr-FR" sz="900" b="1"/>
          </a:p>
        </p:txBody>
      </p:sp>
      <p:pic>
        <p:nvPicPr>
          <p:cNvPr id="23" name="Graphique 22">
            <a:extLst>
              <a:ext uri="{FF2B5EF4-FFF2-40B4-BE49-F238E27FC236}">
                <a16:creationId xmlns:a16="http://schemas.microsoft.com/office/drawing/2014/main" id="{AEE3A616-1CBC-E8E6-4292-DFF7D8B4DBC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85540" y="3509047"/>
            <a:ext cx="270000" cy="270000"/>
          </a:xfrm>
          <a:prstGeom prst="ellipse">
            <a:avLst/>
          </a:prstGeom>
        </p:spPr>
      </p:pic>
      <p:sp>
        <p:nvSpPr>
          <p:cNvPr id="27" name="ZoneTexte 26">
            <a:extLst>
              <a:ext uri="{FF2B5EF4-FFF2-40B4-BE49-F238E27FC236}">
                <a16:creationId xmlns:a16="http://schemas.microsoft.com/office/drawing/2014/main" id="{714D1B7E-F142-C318-D909-26D68C32AF72}"/>
              </a:ext>
            </a:extLst>
          </p:cNvPr>
          <p:cNvSpPr txBox="1"/>
          <p:nvPr/>
        </p:nvSpPr>
        <p:spPr>
          <a:xfrm>
            <a:off x="6453401" y="3843061"/>
            <a:ext cx="934278" cy="230832"/>
          </a:xfrm>
          <a:prstGeom prst="rect">
            <a:avLst/>
          </a:prstGeom>
          <a:noFill/>
        </p:spPr>
        <p:txBody>
          <a:bodyPr wrap="square" rtlCol="0">
            <a:spAutoFit/>
          </a:bodyPr>
          <a:lstStyle/>
          <a:p>
            <a:pPr algn="ctr"/>
            <a:r>
              <a:rPr lang="fr-FR" sz="900" b="1"/>
              <a:t>Data </a:t>
            </a:r>
            <a:r>
              <a:rPr lang="fr-FR" sz="900" b="1" err="1"/>
              <a:t>Catalog</a:t>
            </a:r>
            <a:endParaRPr lang="fr-FR" sz="900" b="1"/>
          </a:p>
        </p:txBody>
      </p:sp>
      <p:pic>
        <p:nvPicPr>
          <p:cNvPr id="28" name="Graphique 27">
            <a:extLst>
              <a:ext uri="{FF2B5EF4-FFF2-40B4-BE49-F238E27FC236}">
                <a16:creationId xmlns:a16="http://schemas.microsoft.com/office/drawing/2014/main" id="{ECE71475-FFC7-23BC-7B6A-795E36DD3B7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65737" y="4462660"/>
            <a:ext cx="270000" cy="270000"/>
          </a:xfrm>
          <a:prstGeom prst="ellipse">
            <a:avLst/>
          </a:prstGeom>
        </p:spPr>
      </p:pic>
      <p:sp>
        <p:nvSpPr>
          <p:cNvPr id="32" name="ZoneTexte 31">
            <a:extLst>
              <a:ext uri="{FF2B5EF4-FFF2-40B4-BE49-F238E27FC236}">
                <a16:creationId xmlns:a16="http://schemas.microsoft.com/office/drawing/2014/main" id="{2CF0CA73-731C-A833-173B-9256525B6C7E}"/>
              </a:ext>
            </a:extLst>
          </p:cNvPr>
          <p:cNvSpPr txBox="1"/>
          <p:nvPr/>
        </p:nvSpPr>
        <p:spPr>
          <a:xfrm>
            <a:off x="7733598" y="4796674"/>
            <a:ext cx="934278" cy="230832"/>
          </a:xfrm>
          <a:prstGeom prst="rect">
            <a:avLst/>
          </a:prstGeom>
          <a:noFill/>
        </p:spPr>
        <p:txBody>
          <a:bodyPr wrap="square" rtlCol="0">
            <a:spAutoFit/>
          </a:bodyPr>
          <a:lstStyle/>
          <a:p>
            <a:pPr algn="ctr"/>
            <a:r>
              <a:rPr lang="fr-FR" sz="900" b="1"/>
              <a:t>Data </a:t>
            </a:r>
            <a:r>
              <a:rPr lang="fr-FR" sz="900" b="1" err="1"/>
              <a:t>Catalog</a:t>
            </a:r>
            <a:endParaRPr lang="fr-FR" sz="900" b="1"/>
          </a:p>
        </p:txBody>
      </p:sp>
      <p:pic>
        <p:nvPicPr>
          <p:cNvPr id="35" name="Graphique 34">
            <a:extLst>
              <a:ext uri="{FF2B5EF4-FFF2-40B4-BE49-F238E27FC236}">
                <a16:creationId xmlns:a16="http://schemas.microsoft.com/office/drawing/2014/main" id="{D63D046B-B3C5-C746-A649-BF9E70FCEE2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841768" y="3502323"/>
            <a:ext cx="270000" cy="270000"/>
          </a:xfrm>
          <a:prstGeom prst="ellipse">
            <a:avLst/>
          </a:prstGeom>
        </p:spPr>
      </p:pic>
      <p:sp>
        <p:nvSpPr>
          <p:cNvPr id="37" name="ZoneTexte 36">
            <a:extLst>
              <a:ext uri="{FF2B5EF4-FFF2-40B4-BE49-F238E27FC236}">
                <a16:creationId xmlns:a16="http://schemas.microsoft.com/office/drawing/2014/main" id="{C8FBDC95-76E1-8356-D63F-9EF9F210F65C}"/>
              </a:ext>
            </a:extLst>
          </p:cNvPr>
          <p:cNvSpPr txBox="1"/>
          <p:nvPr/>
        </p:nvSpPr>
        <p:spPr>
          <a:xfrm>
            <a:off x="8509629" y="3836337"/>
            <a:ext cx="934278" cy="230832"/>
          </a:xfrm>
          <a:prstGeom prst="rect">
            <a:avLst/>
          </a:prstGeom>
          <a:noFill/>
        </p:spPr>
        <p:txBody>
          <a:bodyPr wrap="square" rtlCol="0">
            <a:spAutoFit/>
          </a:bodyPr>
          <a:lstStyle/>
          <a:p>
            <a:pPr algn="ctr"/>
            <a:r>
              <a:rPr lang="fr-FR" sz="900" b="1"/>
              <a:t>Data </a:t>
            </a:r>
            <a:r>
              <a:rPr lang="fr-FR" sz="900" b="1" err="1"/>
              <a:t>Catalog</a:t>
            </a:r>
            <a:endParaRPr lang="fr-FR" sz="900" b="1"/>
          </a:p>
        </p:txBody>
      </p:sp>
    </p:spTree>
    <p:extLst>
      <p:ext uri="{BB962C8B-B14F-4D97-AF65-F5344CB8AC3E}">
        <p14:creationId xmlns:p14="http://schemas.microsoft.com/office/powerpoint/2010/main" val="132357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49884656-04D8-1D4D-1C6D-8F637AA213FA}"/>
              </a:ext>
            </a:extLst>
          </p:cNvPr>
          <p:cNvSpPr>
            <a:spLocks noGrp="1"/>
          </p:cNvSpPr>
          <p:nvPr>
            <p:ph type="title"/>
          </p:nvPr>
        </p:nvSpPr>
        <p:spPr/>
        <p:txBody>
          <a:bodyPr/>
          <a:lstStyle/>
          <a:p>
            <a:r>
              <a:rPr lang="fr-FR" err="1"/>
              <a:t>Summary</a:t>
            </a:r>
            <a:endParaRPr lang="fr-FR"/>
          </a:p>
        </p:txBody>
      </p:sp>
      <p:sp>
        <p:nvSpPr>
          <p:cNvPr id="6" name="Espace réservé du texte 5">
            <a:extLst>
              <a:ext uri="{FF2B5EF4-FFF2-40B4-BE49-F238E27FC236}">
                <a16:creationId xmlns:a16="http://schemas.microsoft.com/office/drawing/2014/main" id="{214F0611-689D-0084-4201-E9BEDBA5596E}"/>
              </a:ext>
            </a:extLst>
          </p:cNvPr>
          <p:cNvSpPr>
            <a:spLocks noGrp="1"/>
          </p:cNvSpPr>
          <p:nvPr>
            <p:ph type="body" idx="1"/>
          </p:nvPr>
        </p:nvSpPr>
        <p:spPr/>
        <p:txBody>
          <a:bodyPr/>
          <a:lstStyle/>
          <a:p>
            <a:r>
              <a:rPr lang="en-US"/>
              <a:t>Data governance revolves around people, process and tools</a:t>
            </a:r>
          </a:p>
        </p:txBody>
      </p:sp>
      <p:sp>
        <p:nvSpPr>
          <p:cNvPr id="4" name="ZoneTexte 3">
            <a:extLst>
              <a:ext uri="{FF2B5EF4-FFF2-40B4-BE49-F238E27FC236}">
                <a16:creationId xmlns:a16="http://schemas.microsoft.com/office/drawing/2014/main" id="{3AC97A9A-16C2-0F70-E04C-9556C3A84E28}"/>
              </a:ext>
            </a:extLst>
          </p:cNvPr>
          <p:cNvSpPr txBox="1"/>
          <p:nvPr/>
        </p:nvSpPr>
        <p:spPr>
          <a:xfrm>
            <a:off x="576000" y="1985486"/>
            <a:ext cx="11040000" cy="3139321"/>
          </a:xfrm>
          <a:prstGeom prst="rect">
            <a:avLst/>
          </a:prstGeom>
          <a:noFill/>
        </p:spPr>
        <p:txBody>
          <a:bodyPr wrap="square" lIns="91440" tIns="45720" rIns="91440" bIns="45720" rtlCol="0" anchor="t">
            <a:spAutoFit/>
          </a:bodyPr>
          <a:lstStyle/>
          <a:p>
            <a:r>
              <a:rPr lang="en-US" dirty="0"/>
              <a:t>In the following document, will be detailed:</a:t>
            </a:r>
          </a:p>
          <a:p>
            <a:endParaRPr lang="en-US" dirty="0"/>
          </a:p>
          <a:p>
            <a:pPr marL="742950" lvl="1" indent="-285750">
              <a:buFont typeface="Arial" panose="020B0604020202020204" pitchFamily="34" charset="0"/>
              <a:buChar char="•"/>
            </a:pPr>
            <a:r>
              <a:rPr lang="en-US" b="1" dirty="0"/>
              <a:t>Peoples: </a:t>
            </a:r>
            <a:r>
              <a:rPr lang="en-US" dirty="0"/>
              <a:t>the data governance stakeholders (including data producer and data consumer) and their roles</a:t>
            </a:r>
          </a:p>
          <a:p>
            <a:pPr lvl="1"/>
            <a:endParaRPr lang="en-US" dirty="0">
              <a:highlight>
                <a:srgbClr val="FFFF00"/>
              </a:highlight>
            </a:endParaRPr>
          </a:p>
          <a:p>
            <a:pPr marL="742950" lvl="1" indent="-285750">
              <a:buFont typeface="Arial" panose="020B0604020202020204" pitchFamily="34" charset="0"/>
              <a:buChar char="•"/>
            </a:pPr>
            <a:r>
              <a:rPr lang="en-US" b="1" dirty="0"/>
              <a:t>Tools:  </a:t>
            </a:r>
            <a:r>
              <a:rPr lang="en-US" dirty="0"/>
              <a:t>quick overview of the data marketplace and the data catalog serving the end user (detailed user guide in another document)</a:t>
            </a:r>
            <a:endParaRPr lang="en-US" dirty="0">
              <a:highlight>
                <a:srgbClr val="FFFF00"/>
              </a:highlight>
            </a:endParaRPr>
          </a:p>
          <a:p>
            <a:pPr marL="742950" lvl="1" indent="-285750">
              <a:buFont typeface="Arial" panose="020B0604020202020204" pitchFamily="34" charset="0"/>
              <a:buChar char="•"/>
            </a:pPr>
            <a:endParaRPr lang="en-US" dirty="0">
              <a:highlight>
                <a:srgbClr val="FFFF00"/>
              </a:highlight>
            </a:endParaRPr>
          </a:p>
          <a:p>
            <a:pPr marL="742950" lvl="1" indent="-285750">
              <a:buFont typeface="Arial" panose="020B0604020202020204" pitchFamily="34" charset="0"/>
              <a:buChar char="•"/>
            </a:pPr>
            <a:r>
              <a:rPr lang="en-US" b="1" dirty="0"/>
              <a:t>Process: </a:t>
            </a:r>
            <a:r>
              <a:rPr lang="en-US" dirty="0"/>
              <a:t>Data producer and data consumers user journey, interactions between people and tools.</a:t>
            </a:r>
          </a:p>
          <a:p>
            <a:pPr marL="0" lvl="1"/>
            <a:endParaRPr lang="en-US" dirty="0"/>
          </a:p>
          <a:p>
            <a:pPr marL="742950" lvl="1" indent="-285750">
              <a:buFont typeface="Arial" panose="020B0604020202020204" pitchFamily="34" charset="0"/>
              <a:buChar char="•"/>
            </a:pPr>
            <a:endParaRPr lang="en-US" dirty="0"/>
          </a:p>
          <a:p>
            <a:endParaRPr lang="en-US" dirty="0"/>
          </a:p>
        </p:txBody>
      </p:sp>
    </p:spTree>
    <p:extLst>
      <p:ext uri="{BB962C8B-B14F-4D97-AF65-F5344CB8AC3E}">
        <p14:creationId xmlns:p14="http://schemas.microsoft.com/office/powerpoint/2010/main" val="3897447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7F3EE3B5-83B6-B09B-DF50-71723C71793B}"/>
              </a:ext>
            </a:extLst>
          </p:cNvPr>
          <p:cNvSpPr>
            <a:spLocks noGrp="1"/>
          </p:cNvSpPr>
          <p:nvPr>
            <p:ph type="title"/>
          </p:nvPr>
        </p:nvSpPr>
        <p:spPr>
          <a:prstGeom prst="rect">
            <a:avLst/>
          </a:prstGeom>
        </p:spPr>
        <p:txBody>
          <a:bodyPr/>
          <a:lstStyle/>
          <a:p>
            <a:r>
              <a:rPr lang="en-US" sz="3200">
                <a:solidFill>
                  <a:schemeClr val="tx2"/>
                </a:solidFill>
              </a:rPr>
              <a:t>Create</a:t>
            </a:r>
            <a:r>
              <a:rPr lang="en-US" sz="3200"/>
              <a:t> Data Product in the Data </a:t>
            </a:r>
            <a:r>
              <a:rPr lang="en-US"/>
              <a:t>M</a:t>
            </a:r>
            <a:r>
              <a:rPr lang="en-US" sz="3200"/>
              <a:t>arketplace</a:t>
            </a:r>
            <a:endParaRPr lang="en-US"/>
          </a:p>
        </p:txBody>
      </p:sp>
      <p:cxnSp>
        <p:nvCxnSpPr>
          <p:cNvPr id="7" name="Straight Connector 130">
            <a:extLst>
              <a:ext uri="{FF2B5EF4-FFF2-40B4-BE49-F238E27FC236}">
                <a16:creationId xmlns:a16="http://schemas.microsoft.com/office/drawing/2014/main" id="{CF3A6CC0-E6CA-0302-F0DF-9537129E6540}"/>
              </a:ext>
            </a:extLst>
          </p:cNvPr>
          <p:cNvCxnSpPr/>
          <p:nvPr/>
        </p:nvCxnSpPr>
        <p:spPr>
          <a:xfrm>
            <a:off x="848912" y="4165363"/>
            <a:ext cx="10836525"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127">
            <a:extLst>
              <a:ext uri="{FF2B5EF4-FFF2-40B4-BE49-F238E27FC236}">
                <a16:creationId xmlns:a16="http://schemas.microsoft.com/office/drawing/2014/main" id="{4F3483B5-83A3-879F-604D-0C05CC449F98}"/>
              </a:ext>
            </a:extLst>
          </p:cNvPr>
          <p:cNvCxnSpPr/>
          <p:nvPr/>
        </p:nvCxnSpPr>
        <p:spPr>
          <a:xfrm>
            <a:off x="879764" y="2224998"/>
            <a:ext cx="10836525"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3" name="Straight Connector 139">
            <a:extLst>
              <a:ext uri="{FF2B5EF4-FFF2-40B4-BE49-F238E27FC236}">
                <a16:creationId xmlns:a16="http://schemas.microsoft.com/office/drawing/2014/main" id="{AA5F7757-5F5B-DE6F-5597-0DA90EB44045}"/>
              </a:ext>
            </a:extLst>
          </p:cNvPr>
          <p:cNvCxnSpPr/>
          <p:nvPr/>
        </p:nvCxnSpPr>
        <p:spPr>
          <a:xfrm>
            <a:off x="907943" y="3199896"/>
            <a:ext cx="10836525"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95" name="Groupe 94">
            <a:extLst>
              <a:ext uri="{FF2B5EF4-FFF2-40B4-BE49-F238E27FC236}">
                <a16:creationId xmlns:a16="http://schemas.microsoft.com/office/drawing/2014/main" id="{8DDB3A88-3B11-E7AD-30CA-91D8D02CEF11}"/>
              </a:ext>
            </a:extLst>
          </p:cNvPr>
          <p:cNvGrpSpPr/>
          <p:nvPr/>
        </p:nvGrpSpPr>
        <p:grpSpPr>
          <a:xfrm>
            <a:off x="-72268" y="2427470"/>
            <a:ext cx="1179576" cy="723594"/>
            <a:chOff x="100258" y="2427470"/>
            <a:chExt cx="1179576" cy="723594"/>
          </a:xfrm>
        </p:grpSpPr>
        <p:sp>
          <p:nvSpPr>
            <p:cNvPr id="11" name="TextBox 28">
              <a:extLst>
                <a:ext uri="{FF2B5EF4-FFF2-40B4-BE49-F238E27FC236}">
                  <a16:creationId xmlns:a16="http://schemas.microsoft.com/office/drawing/2014/main" id="{A958D262-67F0-26C4-BD73-04F7D3928CAF}"/>
                </a:ext>
              </a:extLst>
            </p:cNvPr>
            <p:cNvSpPr txBox="1"/>
            <p:nvPr/>
          </p:nvSpPr>
          <p:spPr>
            <a:xfrm>
              <a:off x="100258" y="2823564"/>
              <a:ext cx="1179576" cy="327500"/>
            </a:xfrm>
            <a:prstGeom prst="rect">
              <a:avLst/>
            </a:prstGeom>
            <a:noFill/>
          </p:spPr>
          <p:txBody>
            <a:bodyPr wrap="square" lIns="0" tIns="0" rIns="0" bIns="0" rtlCol="0">
              <a:no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Data</a:t>
              </a:r>
            </a:p>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Steward</a:t>
              </a:r>
            </a:p>
          </p:txBody>
        </p:sp>
        <p:grpSp>
          <p:nvGrpSpPr>
            <p:cNvPr id="91" name="Groupe 90">
              <a:extLst>
                <a:ext uri="{FF2B5EF4-FFF2-40B4-BE49-F238E27FC236}">
                  <a16:creationId xmlns:a16="http://schemas.microsoft.com/office/drawing/2014/main" id="{C6D0BB91-6D46-288E-314C-CF17CC2EA2D9}"/>
                </a:ext>
              </a:extLst>
            </p:cNvPr>
            <p:cNvGrpSpPr/>
            <p:nvPr/>
          </p:nvGrpSpPr>
          <p:grpSpPr>
            <a:xfrm>
              <a:off x="491999" y="2427470"/>
              <a:ext cx="396094" cy="396094"/>
              <a:chOff x="4118929" y="4914966"/>
              <a:chExt cx="644441" cy="644441"/>
            </a:xfrm>
          </p:grpSpPr>
          <p:sp>
            <p:nvSpPr>
              <p:cNvPr id="89" name="Ellipse 88">
                <a:extLst>
                  <a:ext uri="{FF2B5EF4-FFF2-40B4-BE49-F238E27FC236}">
                    <a16:creationId xmlns:a16="http://schemas.microsoft.com/office/drawing/2014/main" id="{7C1735BD-E954-CE5D-C6F9-9A35DF199E06}"/>
                  </a:ext>
                </a:extLst>
              </p:cNvPr>
              <p:cNvSpPr/>
              <p:nvPr/>
            </p:nvSpPr>
            <p:spPr>
              <a:xfrm>
                <a:off x="4118929" y="4914966"/>
                <a:ext cx="644441" cy="644441"/>
              </a:xfrm>
              <a:prstGeom prst="ellipse">
                <a:avLst/>
              </a:prstGeom>
              <a:solidFill>
                <a:srgbClr val="00B0AD">
                  <a:alpha val="5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latin typeface="Graphik" panose="020B0503030202060203" pitchFamily="34" charset="0"/>
                </a:endParaRPr>
              </a:p>
            </p:txBody>
          </p:sp>
          <p:pic>
            <p:nvPicPr>
              <p:cNvPr id="90" name="Image 89">
                <a:extLst>
                  <a:ext uri="{FF2B5EF4-FFF2-40B4-BE49-F238E27FC236}">
                    <a16:creationId xmlns:a16="http://schemas.microsoft.com/office/drawing/2014/main" id="{99B2D542-8B9A-60C4-025D-1181802C5A78}"/>
                  </a:ext>
                </a:extLst>
              </p:cNvPr>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171150" y="4969307"/>
                <a:ext cx="540000" cy="535756"/>
              </a:xfrm>
              <a:prstGeom prst="rect">
                <a:avLst/>
              </a:prstGeom>
            </p:spPr>
          </p:pic>
        </p:grpSp>
      </p:grpSp>
      <p:grpSp>
        <p:nvGrpSpPr>
          <p:cNvPr id="94" name="Groupe 93">
            <a:extLst>
              <a:ext uri="{FF2B5EF4-FFF2-40B4-BE49-F238E27FC236}">
                <a16:creationId xmlns:a16="http://schemas.microsoft.com/office/drawing/2014/main" id="{E9DF9EA5-ED82-8AA2-04B5-47725633E3F7}"/>
              </a:ext>
            </a:extLst>
          </p:cNvPr>
          <p:cNvGrpSpPr/>
          <p:nvPr/>
        </p:nvGrpSpPr>
        <p:grpSpPr>
          <a:xfrm>
            <a:off x="-72267" y="1468921"/>
            <a:ext cx="1179574" cy="703318"/>
            <a:chOff x="100259" y="1498738"/>
            <a:chExt cx="1179574" cy="703318"/>
          </a:xfrm>
        </p:grpSpPr>
        <p:sp>
          <p:nvSpPr>
            <p:cNvPr id="36" name="TextBox 103">
              <a:extLst>
                <a:ext uri="{FF2B5EF4-FFF2-40B4-BE49-F238E27FC236}">
                  <a16:creationId xmlns:a16="http://schemas.microsoft.com/office/drawing/2014/main" id="{D05B1E33-62EC-B9C4-3691-BD9A44FB465F}"/>
                </a:ext>
              </a:extLst>
            </p:cNvPr>
            <p:cNvSpPr txBox="1"/>
            <p:nvPr/>
          </p:nvSpPr>
          <p:spPr>
            <a:xfrm>
              <a:off x="100259" y="1894832"/>
              <a:ext cx="1179574" cy="307224"/>
            </a:xfrm>
            <a:prstGeom prst="rect">
              <a:avLst/>
            </a:prstGeom>
            <a:noFill/>
          </p:spPr>
          <p:txBody>
            <a:bodyPr wrap="square" lIns="0" tIns="0" rIns="0" bIns="0" rtlCol="0">
              <a:no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Data</a:t>
              </a:r>
            </a:p>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Owner</a:t>
              </a:r>
            </a:p>
          </p:txBody>
        </p:sp>
        <p:grpSp>
          <p:nvGrpSpPr>
            <p:cNvPr id="88" name="Groupe 87">
              <a:extLst>
                <a:ext uri="{FF2B5EF4-FFF2-40B4-BE49-F238E27FC236}">
                  <a16:creationId xmlns:a16="http://schemas.microsoft.com/office/drawing/2014/main" id="{6D423ED7-B77B-87A6-C44C-448805EC5075}"/>
                </a:ext>
              </a:extLst>
            </p:cNvPr>
            <p:cNvGrpSpPr/>
            <p:nvPr/>
          </p:nvGrpSpPr>
          <p:grpSpPr>
            <a:xfrm>
              <a:off x="491999" y="1498738"/>
              <a:ext cx="396094" cy="396094"/>
              <a:chOff x="3111683" y="3774648"/>
              <a:chExt cx="644441" cy="644441"/>
            </a:xfrm>
          </p:grpSpPr>
          <p:sp>
            <p:nvSpPr>
              <p:cNvPr id="86" name="Ellipse 85">
                <a:extLst>
                  <a:ext uri="{FF2B5EF4-FFF2-40B4-BE49-F238E27FC236}">
                    <a16:creationId xmlns:a16="http://schemas.microsoft.com/office/drawing/2014/main" id="{CB271B82-A923-FCB8-82D6-785B3D91AA1A}"/>
                  </a:ext>
                </a:extLst>
              </p:cNvPr>
              <p:cNvSpPr/>
              <p:nvPr/>
            </p:nvSpPr>
            <p:spPr>
              <a:xfrm>
                <a:off x="3111683" y="3774648"/>
                <a:ext cx="644441" cy="644441"/>
              </a:xfrm>
              <a:prstGeom prst="ellipse">
                <a:avLst/>
              </a:prstGeom>
              <a:solidFill>
                <a:srgbClr val="00B0AD">
                  <a:alpha val="5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latin typeface="Graphik" panose="020B0503030202060203" pitchFamily="34" charset="0"/>
                </a:endParaRPr>
              </a:p>
            </p:txBody>
          </p:sp>
          <p:pic>
            <p:nvPicPr>
              <p:cNvPr id="87" name="Picture 29" descr="A picture containing clipart&#10;&#10;Description automatically generated">
                <a:extLst>
                  <a:ext uri="{FF2B5EF4-FFF2-40B4-BE49-F238E27FC236}">
                    <a16:creationId xmlns:a16="http://schemas.microsoft.com/office/drawing/2014/main" id="{4DC0E158-A7CB-C2E9-0CE3-A05D2F5D4B17}"/>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163903" y="3826868"/>
                <a:ext cx="540000" cy="540000"/>
              </a:xfrm>
              <a:prstGeom prst="rect">
                <a:avLst/>
              </a:prstGeom>
            </p:spPr>
          </p:pic>
        </p:grpSp>
      </p:grpSp>
      <p:sp>
        <p:nvSpPr>
          <p:cNvPr id="27" name="Flowchart: Alternate Process 85">
            <a:extLst>
              <a:ext uri="{FF2B5EF4-FFF2-40B4-BE49-F238E27FC236}">
                <a16:creationId xmlns:a16="http://schemas.microsoft.com/office/drawing/2014/main" id="{7EEBE7E0-3129-577F-0DDD-99E9C76F7D13}"/>
              </a:ext>
            </a:extLst>
          </p:cNvPr>
          <p:cNvSpPr/>
          <p:nvPr/>
        </p:nvSpPr>
        <p:spPr>
          <a:xfrm>
            <a:off x="2022475" y="2358590"/>
            <a:ext cx="1089793" cy="720000"/>
          </a:xfrm>
          <a:prstGeom prst="flowChartAlternateProcess">
            <a:avLst/>
          </a:prstGeom>
          <a:solidFill>
            <a:srgbClr val="7FD2D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rgbClr val="FFFFFF"/>
                </a:solidFill>
                <a:latin typeface="Graphik"/>
              </a:rPr>
              <a:t>Import Tables and their documentation from data catalog</a:t>
            </a:r>
            <a:endParaRPr kumimoji="0" lang="en-US" sz="900" b="0" i="0" u="none" strike="noStrike" kern="1200" cap="none" spc="0" normalizeH="0" baseline="0" noProof="0">
              <a:ln>
                <a:noFill/>
              </a:ln>
              <a:solidFill>
                <a:srgbClr val="FFFFFF"/>
              </a:solidFill>
              <a:effectLst/>
              <a:uLnTx/>
              <a:uFillTx/>
              <a:latin typeface="Graphik"/>
              <a:ea typeface="+mn-ea"/>
              <a:cs typeface="+mn-cs"/>
            </a:endParaRPr>
          </a:p>
        </p:txBody>
      </p:sp>
      <p:grpSp>
        <p:nvGrpSpPr>
          <p:cNvPr id="31" name="Groupe 30">
            <a:extLst>
              <a:ext uri="{FF2B5EF4-FFF2-40B4-BE49-F238E27FC236}">
                <a16:creationId xmlns:a16="http://schemas.microsoft.com/office/drawing/2014/main" id="{53A8DAC9-A0DB-3323-14C1-C3B600654380}"/>
              </a:ext>
            </a:extLst>
          </p:cNvPr>
          <p:cNvGrpSpPr/>
          <p:nvPr/>
        </p:nvGrpSpPr>
        <p:grpSpPr>
          <a:xfrm>
            <a:off x="323404" y="3456060"/>
            <a:ext cx="396000" cy="396000"/>
            <a:chOff x="728400" y="1697531"/>
            <a:chExt cx="810000" cy="810000"/>
          </a:xfrm>
        </p:grpSpPr>
        <p:sp>
          <p:nvSpPr>
            <p:cNvPr id="29" name="Ellipse 28">
              <a:extLst>
                <a:ext uri="{FF2B5EF4-FFF2-40B4-BE49-F238E27FC236}">
                  <a16:creationId xmlns:a16="http://schemas.microsoft.com/office/drawing/2014/main" id="{08FD6855-0670-CFD7-AB04-7610549DD81F}"/>
                </a:ext>
              </a:extLst>
            </p:cNvPr>
            <p:cNvSpPr/>
            <p:nvPr/>
          </p:nvSpPr>
          <p:spPr>
            <a:xfrm>
              <a:off x="728400" y="1697531"/>
              <a:ext cx="810000" cy="810000"/>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latin typeface="Graphik" panose="020B0503030202060203" pitchFamily="34" charset="0"/>
              </a:endParaRPr>
            </a:p>
          </p:txBody>
        </p:sp>
        <p:pic>
          <p:nvPicPr>
            <p:cNvPr id="30" name="Picture 74" descr="A picture containing vector graphics&#10;&#10;Description automatically generated">
              <a:extLst>
                <a:ext uri="{FF2B5EF4-FFF2-40B4-BE49-F238E27FC236}">
                  <a16:creationId xmlns:a16="http://schemas.microsoft.com/office/drawing/2014/main" id="{BC741A88-E981-843E-EB43-1CFFDB0E713E}"/>
                </a:ext>
              </a:extLst>
            </p:cNvPr>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93200" y="1762331"/>
              <a:ext cx="680400" cy="680400"/>
            </a:xfrm>
            <a:prstGeom prst="rect">
              <a:avLst/>
            </a:prstGeom>
          </p:spPr>
        </p:pic>
      </p:grpSp>
      <p:sp>
        <p:nvSpPr>
          <p:cNvPr id="51" name="TextBox 28">
            <a:extLst>
              <a:ext uri="{FF2B5EF4-FFF2-40B4-BE49-F238E27FC236}">
                <a16:creationId xmlns:a16="http://schemas.microsoft.com/office/drawing/2014/main" id="{5618FF21-5D7E-75CD-1112-762B775A7AD7}"/>
              </a:ext>
            </a:extLst>
          </p:cNvPr>
          <p:cNvSpPr txBox="1"/>
          <p:nvPr/>
        </p:nvSpPr>
        <p:spPr>
          <a:xfrm>
            <a:off x="-77348" y="3854804"/>
            <a:ext cx="1179576" cy="327500"/>
          </a:xfrm>
          <a:prstGeom prst="rect">
            <a:avLst/>
          </a:prstGeom>
          <a:noFill/>
        </p:spPr>
        <p:txBody>
          <a:bodyPr wrap="square" lIns="0" tIns="0" rIns="0" bIns="0" rtlCol="0">
            <a:no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Data</a:t>
            </a:r>
          </a:p>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Office</a:t>
            </a:r>
          </a:p>
        </p:txBody>
      </p:sp>
      <p:cxnSp>
        <p:nvCxnSpPr>
          <p:cNvPr id="76" name="Connector: Elbow 37">
            <a:extLst>
              <a:ext uri="{FF2B5EF4-FFF2-40B4-BE49-F238E27FC236}">
                <a16:creationId xmlns:a16="http://schemas.microsoft.com/office/drawing/2014/main" id="{965C3A1E-5953-EA80-5EC4-C720B23A09FD}"/>
              </a:ext>
            </a:extLst>
          </p:cNvPr>
          <p:cNvCxnSpPr>
            <a:cxnSpLocks/>
            <a:stCxn id="27" idx="3"/>
            <a:endCxn id="34" idx="1"/>
          </p:cNvCxnSpPr>
          <p:nvPr/>
        </p:nvCxnSpPr>
        <p:spPr>
          <a:xfrm>
            <a:off x="3112268" y="2718590"/>
            <a:ext cx="375895" cy="0"/>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06" name="Flowchart: Alternate Process 84">
            <a:extLst>
              <a:ext uri="{FF2B5EF4-FFF2-40B4-BE49-F238E27FC236}">
                <a16:creationId xmlns:a16="http://schemas.microsoft.com/office/drawing/2014/main" id="{0707DDB4-C692-B4EB-AED9-C9AAB252DF96}"/>
              </a:ext>
            </a:extLst>
          </p:cNvPr>
          <p:cNvSpPr/>
          <p:nvPr/>
        </p:nvSpPr>
        <p:spPr>
          <a:xfrm>
            <a:off x="9694565" y="2362454"/>
            <a:ext cx="900000" cy="720000"/>
          </a:xfrm>
          <a:prstGeom prst="flowChartAlternateProcess">
            <a:avLst/>
          </a:prstGeom>
          <a:solidFill>
            <a:srgbClr val="7FD2D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a:solidFill>
                  <a:srgbClr val="FFFFFF"/>
                </a:solidFill>
                <a:latin typeface="Graphik"/>
              </a:rPr>
              <a:t>Publish Data Product</a:t>
            </a:r>
          </a:p>
        </p:txBody>
      </p:sp>
      <p:cxnSp>
        <p:nvCxnSpPr>
          <p:cNvPr id="107" name="Connector: Elbow 37">
            <a:extLst>
              <a:ext uri="{FF2B5EF4-FFF2-40B4-BE49-F238E27FC236}">
                <a16:creationId xmlns:a16="http://schemas.microsoft.com/office/drawing/2014/main" id="{F199DE65-21CF-9B82-E79A-93F90A80FF76}"/>
              </a:ext>
            </a:extLst>
          </p:cNvPr>
          <p:cNvCxnSpPr>
            <a:cxnSpLocks/>
            <a:stCxn id="34" idx="3"/>
            <a:endCxn id="46" idx="1"/>
          </p:cNvCxnSpPr>
          <p:nvPr/>
        </p:nvCxnSpPr>
        <p:spPr>
          <a:xfrm flipV="1">
            <a:off x="4388163" y="2710135"/>
            <a:ext cx="560268" cy="8455"/>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4" name="Flowchart: Alternate Process 85">
            <a:extLst>
              <a:ext uri="{FF2B5EF4-FFF2-40B4-BE49-F238E27FC236}">
                <a16:creationId xmlns:a16="http://schemas.microsoft.com/office/drawing/2014/main" id="{0DB04078-459F-B488-1BE2-85CA3AE1A1E8}"/>
              </a:ext>
            </a:extLst>
          </p:cNvPr>
          <p:cNvSpPr/>
          <p:nvPr/>
        </p:nvSpPr>
        <p:spPr>
          <a:xfrm>
            <a:off x="3488163" y="2358590"/>
            <a:ext cx="900000" cy="720000"/>
          </a:xfrm>
          <a:prstGeom prst="flowChartAlternateProcess">
            <a:avLst/>
          </a:prstGeom>
          <a:solidFill>
            <a:srgbClr val="7FD2D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u="none" strike="noStrike" kern="1200" cap="none" spc="0" normalizeH="0" baseline="0" noProof="0">
                <a:ln>
                  <a:noFill/>
                </a:ln>
                <a:solidFill>
                  <a:srgbClr val="FFFFFF"/>
                </a:solidFill>
                <a:effectLst/>
                <a:uLnTx/>
                <a:uFillTx/>
                <a:latin typeface="Graphik"/>
                <a:ea typeface="+mn-ea"/>
                <a:cs typeface="+mn-cs"/>
              </a:rPr>
              <a:t>Complete Data Product </a:t>
            </a:r>
            <a:r>
              <a:rPr lang="en-US" sz="900">
                <a:solidFill>
                  <a:srgbClr val="FFFFFF"/>
                </a:solidFill>
                <a:latin typeface="Graphik"/>
              </a:rPr>
              <a:t>ID card</a:t>
            </a:r>
            <a:endParaRPr kumimoji="0" lang="en-US" sz="900" b="0" i="0" u="none" strike="noStrike" kern="1200" cap="none" spc="0" normalizeH="0" baseline="0" noProof="0">
              <a:ln>
                <a:noFill/>
              </a:ln>
              <a:solidFill>
                <a:srgbClr val="FFFFFF"/>
              </a:solidFill>
              <a:effectLst/>
              <a:uLnTx/>
              <a:uFillTx/>
              <a:latin typeface="Graphik"/>
              <a:ea typeface="+mn-ea"/>
              <a:cs typeface="+mn-cs"/>
            </a:endParaRPr>
          </a:p>
        </p:txBody>
      </p:sp>
      <p:sp>
        <p:nvSpPr>
          <p:cNvPr id="41" name="Flowchart: Alternate Process 84">
            <a:extLst>
              <a:ext uri="{FF2B5EF4-FFF2-40B4-BE49-F238E27FC236}">
                <a16:creationId xmlns:a16="http://schemas.microsoft.com/office/drawing/2014/main" id="{A5720347-D712-E2A8-A709-A28BBE294BF5}"/>
              </a:ext>
            </a:extLst>
          </p:cNvPr>
          <p:cNvSpPr/>
          <p:nvPr/>
        </p:nvSpPr>
        <p:spPr>
          <a:xfrm>
            <a:off x="8308790" y="1239324"/>
            <a:ext cx="900000" cy="720000"/>
          </a:xfrm>
          <a:prstGeom prst="flowChartAlternateProcess">
            <a:avLst/>
          </a:prstGeom>
          <a:solidFill>
            <a:srgbClr val="7FD2D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a:solidFill>
                  <a:srgbClr val="FFFFFF"/>
                </a:solidFill>
                <a:latin typeface="Graphik"/>
              </a:rPr>
              <a:t>Validate Data Product</a:t>
            </a:r>
          </a:p>
        </p:txBody>
      </p:sp>
      <p:sp>
        <p:nvSpPr>
          <p:cNvPr id="46" name="Flowchart: Alternate Process 85">
            <a:extLst>
              <a:ext uri="{FF2B5EF4-FFF2-40B4-BE49-F238E27FC236}">
                <a16:creationId xmlns:a16="http://schemas.microsoft.com/office/drawing/2014/main" id="{4BA449FE-8F39-D3CC-EED6-16738C3A04F3}"/>
              </a:ext>
            </a:extLst>
          </p:cNvPr>
          <p:cNvSpPr/>
          <p:nvPr/>
        </p:nvSpPr>
        <p:spPr>
          <a:xfrm>
            <a:off x="4948431" y="2350135"/>
            <a:ext cx="1368536" cy="720000"/>
          </a:xfrm>
          <a:prstGeom prst="flowChartAlternateProcess">
            <a:avLst/>
          </a:prstGeom>
          <a:solidFill>
            <a:srgbClr val="7FD2D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rgbClr val="FFFFFF"/>
                </a:solidFill>
                <a:latin typeface="Graphik"/>
              </a:rPr>
              <a:t>Associate relevant</a:t>
            </a:r>
            <a:r>
              <a:rPr kumimoji="0" lang="en-US" sz="900" b="0" u="none" strike="noStrike" kern="1200" cap="none" spc="0" normalizeH="0" baseline="0" noProof="0">
                <a:ln>
                  <a:noFill/>
                </a:ln>
                <a:solidFill>
                  <a:srgbClr val="FFFFFF"/>
                </a:solidFill>
                <a:effectLst/>
                <a:uLnTx/>
                <a:uFillTx/>
                <a:latin typeface="Graphik"/>
                <a:ea typeface="+mn-ea"/>
                <a:cs typeface="+mn-cs"/>
              </a:rPr>
              <a:t> delivery targets (ex : PBI, SQL) and usage context (AI / Analytics) </a:t>
            </a:r>
            <a:endParaRPr kumimoji="0" lang="en-US" sz="900" b="0" i="0" u="none" strike="noStrike" kern="1200" cap="none" spc="0" normalizeH="0" baseline="0" noProof="0">
              <a:ln>
                <a:noFill/>
              </a:ln>
              <a:solidFill>
                <a:srgbClr val="FFFFFF"/>
              </a:solidFill>
              <a:effectLst/>
              <a:uLnTx/>
              <a:uFillTx/>
              <a:latin typeface="Graphik"/>
              <a:ea typeface="+mn-ea"/>
              <a:cs typeface="+mn-cs"/>
            </a:endParaRPr>
          </a:p>
        </p:txBody>
      </p:sp>
      <p:cxnSp>
        <p:nvCxnSpPr>
          <p:cNvPr id="54" name="Connector: Elbow 37">
            <a:extLst>
              <a:ext uri="{FF2B5EF4-FFF2-40B4-BE49-F238E27FC236}">
                <a16:creationId xmlns:a16="http://schemas.microsoft.com/office/drawing/2014/main" id="{8B8F8784-A858-739F-1D65-9AD53D108098}"/>
              </a:ext>
            </a:extLst>
          </p:cNvPr>
          <p:cNvCxnSpPr>
            <a:cxnSpLocks/>
            <a:stCxn id="46" idx="3"/>
            <a:endCxn id="12" idx="1"/>
          </p:cNvCxnSpPr>
          <p:nvPr/>
        </p:nvCxnSpPr>
        <p:spPr>
          <a:xfrm>
            <a:off x="6316967" y="2710135"/>
            <a:ext cx="563106" cy="4625"/>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2" name="Flowchart: Alternate Process 85">
            <a:extLst>
              <a:ext uri="{FF2B5EF4-FFF2-40B4-BE49-F238E27FC236}">
                <a16:creationId xmlns:a16="http://schemas.microsoft.com/office/drawing/2014/main" id="{893BE452-D20C-C642-9B5B-3B5A47E6F551}"/>
              </a:ext>
            </a:extLst>
          </p:cNvPr>
          <p:cNvSpPr/>
          <p:nvPr/>
        </p:nvSpPr>
        <p:spPr>
          <a:xfrm>
            <a:off x="6880073" y="2354760"/>
            <a:ext cx="900000" cy="720000"/>
          </a:xfrm>
          <a:prstGeom prst="flowChartAlternateProcess">
            <a:avLst/>
          </a:prstGeom>
          <a:solidFill>
            <a:srgbClr val="7FD2D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u="none" strike="noStrike" kern="1200" cap="none" spc="0" normalizeH="0" baseline="0" noProof="0">
                <a:ln>
                  <a:noFill/>
                </a:ln>
                <a:solidFill>
                  <a:srgbClr val="FFFFFF"/>
                </a:solidFill>
                <a:effectLst/>
                <a:uLnTx/>
                <a:uFillTx/>
                <a:latin typeface="Graphik"/>
                <a:ea typeface="+mn-ea"/>
                <a:cs typeface="+mn-cs"/>
              </a:rPr>
              <a:t>Add Terms of Use (rules to respect)</a:t>
            </a:r>
            <a:endParaRPr kumimoji="0" lang="en-US" sz="900" b="0" i="0" u="none" strike="noStrike" kern="1200" cap="none" spc="0" normalizeH="0" baseline="0" noProof="0">
              <a:ln>
                <a:noFill/>
              </a:ln>
              <a:solidFill>
                <a:srgbClr val="FFFFFF"/>
              </a:solidFill>
              <a:effectLst/>
              <a:uLnTx/>
              <a:uFillTx/>
              <a:latin typeface="Graphik"/>
              <a:ea typeface="+mn-ea"/>
              <a:cs typeface="+mn-cs"/>
            </a:endParaRPr>
          </a:p>
        </p:txBody>
      </p:sp>
      <p:sp>
        <p:nvSpPr>
          <p:cNvPr id="35" name="Flowchart: Alternate Process 85">
            <a:extLst>
              <a:ext uri="{FF2B5EF4-FFF2-40B4-BE49-F238E27FC236}">
                <a16:creationId xmlns:a16="http://schemas.microsoft.com/office/drawing/2014/main" id="{0D297E27-91B3-F529-DF61-AA9C24A93650}"/>
              </a:ext>
            </a:extLst>
          </p:cNvPr>
          <p:cNvSpPr/>
          <p:nvPr/>
        </p:nvSpPr>
        <p:spPr>
          <a:xfrm>
            <a:off x="4388163" y="3374728"/>
            <a:ext cx="1042219" cy="720000"/>
          </a:xfrm>
          <a:prstGeom prst="flowChartAlternateProcess">
            <a:avLst/>
          </a:prstGeom>
          <a:solidFill>
            <a:srgbClr val="FF8DA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rgbClr val="FFFFFF"/>
                </a:solidFill>
                <a:latin typeface="Graphik"/>
              </a:rPr>
              <a:t>Create Delivery Targets and Usage Context</a:t>
            </a:r>
            <a:endParaRPr kumimoji="0" lang="en-US" sz="900" b="0" i="0" u="none" strike="noStrike" kern="1200" cap="none" spc="0" normalizeH="0" baseline="0" noProof="0">
              <a:ln>
                <a:noFill/>
              </a:ln>
              <a:solidFill>
                <a:srgbClr val="FFFFFF"/>
              </a:solidFill>
              <a:effectLst/>
              <a:uLnTx/>
              <a:uFillTx/>
              <a:latin typeface="Graphik"/>
              <a:ea typeface="+mn-ea"/>
              <a:cs typeface="+mn-cs"/>
            </a:endParaRPr>
          </a:p>
        </p:txBody>
      </p:sp>
      <p:cxnSp>
        <p:nvCxnSpPr>
          <p:cNvPr id="37" name="Connecteur : en angle 36">
            <a:extLst>
              <a:ext uri="{FF2B5EF4-FFF2-40B4-BE49-F238E27FC236}">
                <a16:creationId xmlns:a16="http://schemas.microsoft.com/office/drawing/2014/main" id="{735ACFDE-E157-721F-EC2D-B33D975A5DC5}"/>
              </a:ext>
            </a:extLst>
          </p:cNvPr>
          <p:cNvCxnSpPr>
            <a:cxnSpLocks/>
            <a:stCxn id="35" idx="3"/>
            <a:endCxn id="46" idx="2"/>
          </p:cNvCxnSpPr>
          <p:nvPr/>
        </p:nvCxnSpPr>
        <p:spPr>
          <a:xfrm flipV="1">
            <a:off x="5430382" y="3070135"/>
            <a:ext cx="202317" cy="664593"/>
          </a:xfrm>
          <a:prstGeom prst="bentConnector2">
            <a:avLst/>
          </a:prstGeom>
          <a:ln>
            <a:prstDash val="sysDash"/>
            <a:tailEnd type="triangle"/>
          </a:ln>
        </p:spPr>
        <p:style>
          <a:lnRef idx="2">
            <a:schemeClr val="accent1"/>
          </a:lnRef>
          <a:fillRef idx="0">
            <a:schemeClr val="accent1"/>
          </a:fillRef>
          <a:effectRef idx="1">
            <a:schemeClr val="accent1"/>
          </a:effectRef>
          <a:fontRef idx="minor">
            <a:schemeClr val="tx1"/>
          </a:fontRef>
        </p:style>
      </p:cxnSp>
      <p:sp>
        <p:nvSpPr>
          <p:cNvPr id="38" name="Rectangle 37">
            <a:extLst>
              <a:ext uri="{FF2B5EF4-FFF2-40B4-BE49-F238E27FC236}">
                <a16:creationId xmlns:a16="http://schemas.microsoft.com/office/drawing/2014/main" id="{CC12F8D7-974D-3CCB-ECD1-403F1DECB0CD}"/>
              </a:ext>
            </a:extLst>
          </p:cNvPr>
          <p:cNvSpPr/>
          <p:nvPr/>
        </p:nvSpPr>
        <p:spPr>
          <a:xfrm>
            <a:off x="5531540" y="3758483"/>
            <a:ext cx="648319" cy="222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raphik"/>
                <a:ea typeface="+mn-ea"/>
                <a:cs typeface="+mn-cs"/>
              </a:rPr>
              <a:t>If needed</a:t>
            </a:r>
          </a:p>
        </p:txBody>
      </p:sp>
      <p:grpSp>
        <p:nvGrpSpPr>
          <p:cNvPr id="4" name="Groupe 3">
            <a:extLst>
              <a:ext uri="{FF2B5EF4-FFF2-40B4-BE49-F238E27FC236}">
                <a16:creationId xmlns:a16="http://schemas.microsoft.com/office/drawing/2014/main" id="{90EE571D-F87D-0D58-1D38-9600B6CE1D91}"/>
              </a:ext>
            </a:extLst>
          </p:cNvPr>
          <p:cNvGrpSpPr/>
          <p:nvPr/>
        </p:nvGrpSpPr>
        <p:grpSpPr>
          <a:xfrm>
            <a:off x="9606" y="53478"/>
            <a:ext cx="552948" cy="421043"/>
            <a:chOff x="1007542" y="176192"/>
            <a:chExt cx="552948" cy="421043"/>
          </a:xfrm>
        </p:grpSpPr>
        <p:sp>
          <p:nvSpPr>
            <p:cNvPr id="6" name="Ellipse 5">
              <a:extLst>
                <a:ext uri="{FF2B5EF4-FFF2-40B4-BE49-F238E27FC236}">
                  <a16:creationId xmlns:a16="http://schemas.microsoft.com/office/drawing/2014/main" id="{9380CE74-C9AD-FCA1-23A8-5DF99D862664}"/>
                </a:ext>
              </a:extLst>
            </p:cNvPr>
            <p:cNvSpPr/>
            <p:nvPr/>
          </p:nvSpPr>
          <p:spPr>
            <a:xfrm>
              <a:off x="1073495" y="176192"/>
              <a:ext cx="421043" cy="421043"/>
            </a:xfrm>
            <a:prstGeom prst="ellipse">
              <a:avLst/>
            </a:prstGeom>
            <a:solidFill>
              <a:schemeClr val="accent1"/>
            </a:solidFill>
            <a:ln w="6350">
              <a:solidFill>
                <a:schemeClr val="accent6"/>
              </a:solid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ZoneTexte 7">
              <a:extLst>
                <a:ext uri="{FF2B5EF4-FFF2-40B4-BE49-F238E27FC236}">
                  <a16:creationId xmlns:a16="http://schemas.microsoft.com/office/drawing/2014/main" id="{BB6989B5-ACDF-DF55-190A-023590BEC874}"/>
                </a:ext>
              </a:extLst>
            </p:cNvPr>
            <p:cNvSpPr txBox="1"/>
            <p:nvPr/>
          </p:nvSpPr>
          <p:spPr>
            <a:xfrm>
              <a:off x="1007542" y="202047"/>
              <a:ext cx="552948" cy="369332"/>
            </a:xfrm>
            <a:prstGeom prst="rect">
              <a:avLst/>
            </a:prstGeom>
            <a:noFill/>
          </p:spPr>
          <p:txBody>
            <a:bodyPr wrap="square" rtlCol="0">
              <a:spAutoFit/>
            </a:bodyPr>
            <a:lstStyle/>
            <a:p>
              <a:pPr algn="ctr"/>
              <a:r>
                <a:rPr lang="fr-FR">
                  <a:solidFill>
                    <a:schemeClr val="bg1"/>
                  </a:solidFill>
                </a:rPr>
                <a:t>3.3</a:t>
              </a:r>
            </a:p>
          </p:txBody>
        </p:sp>
      </p:grpSp>
      <p:grpSp>
        <p:nvGrpSpPr>
          <p:cNvPr id="3" name="Groupe 2">
            <a:extLst>
              <a:ext uri="{FF2B5EF4-FFF2-40B4-BE49-F238E27FC236}">
                <a16:creationId xmlns:a16="http://schemas.microsoft.com/office/drawing/2014/main" id="{05ADC9B5-0312-A2CD-217D-A6FAC5DC839E}"/>
              </a:ext>
            </a:extLst>
          </p:cNvPr>
          <p:cNvGrpSpPr/>
          <p:nvPr/>
        </p:nvGrpSpPr>
        <p:grpSpPr>
          <a:xfrm>
            <a:off x="861072" y="6286498"/>
            <a:ext cx="1417408" cy="494551"/>
            <a:chOff x="80233" y="5624489"/>
            <a:chExt cx="1417408" cy="494551"/>
          </a:xfrm>
        </p:grpSpPr>
        <p:sp>
          <p:nvSpPr>
            <p:cNvPr id="10" name="Rectangle: Rounded Corners 58">
              <a:extLst>
                <a:ext uri="{FF2B5EF4-FFF2-40B4-BE49-F238E27FC236}">
                  <a16:creationId xmlns:a16="http://schemas.microsoft.com/office/drawing/2014/main" id="{91FE230D-4A0D-7F44-6BA9-F20FF574EB97}"/>
                </a:ext>
              </a:extLst>
            </p:cNvPr>
            <p:cNvSpPr/>
            <p:nvPr/>
          </p:nvSpPr>
          <p:spPr>
            <a:xfrm>
              <a:off x="80233" y="5624489"/>
              <a:ext cx="1417408" cy="494551"/>
            </a:xfrm>
            <a:prstGeom prst="roundRect">
              <a:avLst>
                <a:gd name="adj" fmla="val 5346"/>
              </a:avLst>
            </a:prstGeom>
            <a:solidFill>
              <a:schemeClr val="bg1"/>
            </a:solidFill>
            <a:ln w="6350">
              <a:solidFill>
                <a:schemeClr val="tx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tIns="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E20025"/>
                  </a:solidFill>
                  <a:effectLst/>
                  <a:uLnTx/>
                  <a:uFillTx/>
                  <a:latin typeface="Vinci Sans Light"/>
                  <a:ea typeface="+mn-ea"/>
                  <a:cs typeface="+mn-cs"/>
                </a:rPr>
                <a:t>Legend</a:t>
              </a:r>
              <a:endParaRPr kumimoji="0" lang="en-US" sz="1050" b="1" i="0" u="none" strike="noStrike" kern="1200" cap="none" spc="0" normalizeH="0" baseline="0" noProof="0">
                <a:ln>
                  <a:noFill/>
                </a:ln>
                <a:solidFill>
                  <a:srgbClr val="E20025"/>
                </a:solidFill>
                <a:effectLst/>
                <a:uLnTx/>
                <a:uFillTx/>
                <a:latin typeface="Vinci Sans Light"/>
                <a:ea typeface="+mn-ea"/>
                <a:cs typeface="+mn-cs"/>
              </a:endParaRPr>
            </a:p>
          </p:txBody>
        </p:sp>
        <p:sp>
          <p:nvSpPr>
            <p:cNvPr id="13" name="Flowchart: Alternate Process 92">
              <a:extLst>
                <a:ext uri="{FF2B5EF4-FFF2-40B4-BE49-F238E27FC236}">
                  <a16:creationId xmlns:a16="http://schemas.microsoft.com/office/drawing/2014/main" id="{7B37C52D-1AD5-910A-DB5D-0237134C5FD8}"/>
                </a:ext>
              </a:extLst>
            </p:cNvPr>
            <p:cNvSpPr/>
            <p:nvPr/>
          </p:nvSpPr>
          <p:spPr>
            <a:xfrm>
              <a:off x="161716" y="5843847"/>
              <a:ext cx="598716" cy="145321"/>
            </a:xfrm>
            <a:prstGeom prst="flowChartAlternateProcess">
              <a:avLst/>
            </a:prstGeom>
            <a:solidFill>
              <a:srgbClr val="7FD2D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Vinci Sans Light"/>
                  <a:ea typeface="+mn-ea"/>
                  <a:cs typeface="+mn-cs"/>
                </a:rPr>
                <a:t>Process Step</a:t>
              </a:r>
            </a:p>
          </p:txBody>
        </p:sp>
        <p:sp>
          <p:nvSpPr>
            <p:cNvPr id="14" name="Flowchart: Decision 96">
              <a:extLst>
                <a:ext uri="{FF2B5EF4-FFF2-40B4-BE49-F238E27FC236}">
                  <a16:creationId xmlns:a16="http://schemas.microsoft.com/office/drawing/2014/main" id="{C865E437-1D6A-B66E-1933-0B21E924747B}"/>
                </a:ext>
              </a:extLst>
            </p:cNvPr>
            <p:cNvSpPr/>
            <p:nvPr/>
          </p:nvSpPr>
          <p:spPr>
            <a:xfrm>
              <a:off x="841916" y="5779400"/>
              <a:ext cx="549751" cy="274214"/>
            </a:xfrm>
            <a:prstGeom prst="flowChartDecision">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Vinci Sans Light"/>
                  <a:ea typeface="+mn-ea"/>
                  <a:cs typeface="+mn-cs"/>
                </a:rPr>
                <a:t>Process Decision </a:t>
              </a:r>
            </a:p>
          </p:txBody>
        </p:sp>
      </p:grpSp>
      <p:cxnSp>
        <p:nvCxnSpPr>
          <p:cNvPr id="55" name="Connector: Elbow 18">
            <a:extLst>
              <a:ext uri="{FF2B5EF4-FFF2-40B4-BE49-F238E27FC236}">
                <a16:creationId xmlns:a16="http://schemas.microsoft.com/office/drawing/2014/main" id="{F39C944A-DD2F-8B49-DBD9-2B39E83CEAB2}"/>
              </a:ext>
            </a:extLst>
          </p:cNvPr>
          <p:cNvCxnSpPr>
            <a:cxnSpLocks/>
            <a:stCxn id="12" idx="3"/>
            <a:endCxn id="41" idx="1"/>
          </p:cNvCxnSpPr>
          <p:nvPr/>
        </p:nvCxnSpPr>
        <p:spPr>
          <a:xfrm flipV="1">
            <a:off x="7780073" y="1599324"/>
            <a:ext cx="528717" cy="1115436"/>
          </a:xfrm>
          <a:prstGeom prst="bentConnector3">
            <a:avLst>
              <a:gd name="adj1" fmla="val 50000"/>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Connector: Elbow 18">
            <a:extLst>
              <a:ext uri="{FF2B5EF4-FFF2-40B4-BE49-F238E27FC236}">
                <a16:creationId xmlns:a16="http://schemas.microsoft.com/office/drawing/2014/main" id="{032C32E8-2B54-E2F1-2B1F-1E79B680B094}"/>
              </a:ext>
            </a:extLst>
          </p:cNvPr>
          <p:cNvCxnSpPr>
            <a:cxnSpLocks/>
            <a:stCxn id="41" idx="3"/>
            <a:endCxn id="106" idx="1"/>
          </p:cNvCxnSpPr>
          <p:nvPr/>
        </p:nvCxnSpPr>
        <p:spPr>
          <a:xfrm>
            <a:off x="9208790" y="1599324"/>
            <a:ext cx="485775" cy="1123130"/>
          </a:xfrm>
          <a:prstGeom prst="bentConnector3">
            <a:avLst>
              <a:gd name="adj1" fmla="val 50000"/>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65" name="Flowchart: Alternate Process 85">
            <a:extLst>
              <a:ext uri="{FF2B5EF4-FFF2-40B4-BE49-F238E27FC236}">
                <a16:creationId xmlns:a16="http://schemas.microsoft.com/office/drawing/2014/main" id="{B1D014D4-4441-BC59-EE0E-0528A767C5BF}"/>
              </a:ext>
            </a:extLst>
          </p:cNvPr>
          <p:cNvSpPr/>
          <p:nvPr/>
        </p:nvSpPr>
        <p:spPr>
          <a:xfrm>
            <a:off x="6472601" y="3380126"/>
            <a:ext cx="850635" cy="720000"/>
          </a:xfrm>
          <a:prstGeom prst="flowChartAlternateProcess">
            <a:avLst/>
          </a:prstGeom>
          <a:solidFill>
            <a:srgbClr val="FF8DA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rgbClr val="FFFFFF"/>
                </a:solidFill>
                <a:latin typeface="Graphik"/>
              </a:rPr>
              <a:t>Create terms of use</a:t>
            </a:r>
            <a:endParaRPr kumimoji="0" lang="en-US" sz="900" b="0" i="0" u="none" strike="noStrike" kern="1200" cap="none" spc="0" normalizeH="0" baseline="0" noProof="0">
              <a:ln>
                <a:noFill/>
              </a:ln>
              <a:solidFill>
                <a:srgbClr val="FFFFFF"/>
              </a:solidFill>
              <a:effectLst/>
              <a:uLnTx/>
              <a:uFillTx/>
              <a:latin typeface="Graphik"/>
              <a:ea typeface="+mn-ea"/>
              <a:cs typeface="+mn-cs"/>
            </a:endParaRPr>
          </a:p>
        </p:txBody>
      </p:sp>
      <p:cxnSp>
        <p:nvCxnSpPr>
          <p:cNvPr id="66" name="Connecteur : en angle 65">
            <a:extLst>
              <a:ext uri="{FF2B5EF4-FFF2-40B4-BE49-F238E27FC236}">
                <a16:creationId xmlns:a16="http://schemas.microsoft.com/office/drawing/2014/main" id="{0C2C4570-56D8-E81F-BB1D-0DA8E7DCF7FE}"/>
              </a:ext>
            </a:extLst>
          </p:cNvPr>
          <p:cNvCxnSpPr>
            <a:cxnSpLocks/>
            <a:stCxn id="65" idx="3"/>
          </p:cNvCxnSpPr>
          <p:nvPr/>
        </p:nvCxnSpPr>
        <p:spPr>
          <a:xfrm flipV="1">
            <a:off x="7323236" y="3125228"/>
            <a:ext cx="202317" cy="614898"/>
          </a:xfrm>
          <a:prstGeom prst="bentConnector2">
            <a:avLst/>
          </a:prstGeom>
          <a:ln>
            <a:prstDash val="sysDash"/>
            <a:tailEnd type="triangle"/>
          </a:ln>
        </p:spPr>
        <p:style>
          <a:lnRef idx="2">
            <a:schemeClr val="accent1"/>
          </a:lnRef>
          <a:fillRef idx="0">
            <a:schemeClr val="accent1"/>
          </a:fillRef>
          <a:effectRef idx="1">
            <a:schemeClr val="accent1"/>
          </a:effectRef>
          <a:fontRef idx="minor">
            <a:schemeClr val="tx1"/>
          </a:fontRef>
        </p:style>
      </p:cxnSp>
      <p:sp>
        <p:nvSpPr>
          <p:cNvPr id="67" name="Rectangle 66">
            <a:extLst>
              <a:ext uri="{FF2B5EF4-FFF2-40B4-BE49-F238E27FC236}">
                <a16:creationId xmlns:a16="http://schemas.microsoft.com/office/drawing/2014/main" id="{A57E2EA0-A07F-C8D3-AE66-34A4ACC52B1B}"/>
              </a:ext>
            </a:extLst>
          </p:cNvPr>
          <p:cNvSpPr/>
          <p:nvPr/>
        </p:nvSpPr>
        <p:spPr>
          <a:xfrm>
            <a:off x="7424394" y="3773820"/>
            <a:ext cx="648319" cy="222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raphik"/>
                <a:ea typeface="+mn-ea"/>
                <a:cs typeface="+mn-cs"/>
              </a:rPr>
              <a:t>If needed</a:t>
            </a:r>
          </a:p>
        </p:txBody>
      </p:sp>
      <p:sp>
        <p:nvSpPr>
          <p:cNvPr id="21" name="ZoneTexte 20">
            <a:extLst>
              <a:ext uri="{FF2B5EF4-FFF2-40B4-BE49-F238E27FC236}">
                <a16:creationId xmlns:a16="http://schemas.microsoft.com/office/drawing/2014/main" id="{8B7B4C1B-A606-464B-8ADE-E685AEE6225D}"/>
              </a:ext>
            </a:extLst>
          </p:cNvPr>
          <p:cNvSpPr txBox="1"/>
          <p:nvPr/>
        </p:nvSpPr>
        <p:spPr>
          <a:xfrm>
            <a:off x="2662235" y="3173505"/>
            <a:ext cx="960519" cy="230832"/>
          </a:xfrm>
          <a:prstGeom prst="rect">
            <a:avLst/>
          </a:prstGeom>
          <a:noFill/>
        </p:spPr>
        <p:txBody>
          <a:bodyPr wrap="none" rtlCol="0">
            <a:spAutoFit/>
          </a:bodyPr>
          <a:lstStyle/>
          <a:p>
            <a:pPr algn="ctr"/>
            <a:r>
              <a:rPr lang="en-US" sz="900" b="1"/>
              <a:t>Data Marketplace</a:t>
            </a:r>
          </a:p>
        </p:txBody>
      </p:sp>
      <p:pic>
        <p:nvPicPr>
          <p:cNvPr id="22" name="Graphique 21">
            <a:extLst>
              <a:ext uri="{FF2B5EF4-FFF2-40B4-BE49-F238E27FC236}">
                <a16:creationId xmlns:a16="http://schemas.microsoft.com/office/drawing/2014/main" id="{F2A6892A-275D-B9D7-446F-3148F48CAC4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007495" y="2885564"/>
            <a:ext cx="270000" cy="270000"/>
          </a:xfrm>
          <a:prstGeom prst="ellipse">
            <a:avLst/>
          </a:prstGeom>
        </p:spPr>
      </p:pic>
      <p:sp>
        <p:nvSpPr>
          <p:cNvPr id="23" name="ZoneTexte 22">
            <a:extLst>
              <a:ext uri="{FF2B5EF4-FFF2-40B4-BE49-F238E27FC236}">
                <a16:creationId xmlns:a16="http://schemas.microsoft.com/office/drawing/2014/main" id="{9245D36D-C28E-C0F9-4B3C-43A1EAF343BC}"/>
              </a:ext>
            </a:extLst>
          </p:cNvPr>
          <p:cNvSpPr txBox="1"/>
          <p:nvPr/>
        </p:nvSpPr>
        <p:spPr>
          <a:xfrm>
            <a:off x="3907941" y="3176820"/>
            <a:ext cx="960519" cy="230832"/>
          </a:xfrm>
          <a:prstGeom prst="rect">
            <a:avLst/>
          </a:prstGeom>
          <a:noFill/>
        </p:spPr>
        <p:txBody>
          <a:bodyPr wrap="none" rtlCol="0">
            <a:spAutoFit/>
          </a:bodyPr>
          <a:lstStyle/>
          <a:p>
            <a:pPr algn="ctr"/>
            <a:r>
              <a:rPr lang="en-US" sz="900" b="1"/>
              <a:t>Data Marketplace</a:t>
            </a:r>
          </a:p>
        </p:txBody>
      </p:sp>
      <p:pic>
        <p:nvPicPr>
          <p:cNvPr id="24" name="Graphique 23">
            <a:extLst>
              <a:ext uri="{FF2B5EF4-FFF2-40B4-BE49-F238E27FC236}">
                <a16:creationId xmlns:a16="http://schemas.microsoft.com/office/drawing/2014/main" id="{8C743C37-EED6-C453-6B01-8D67000DC90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253201" y="2888879"/>
            <a:ext cx="270000" cy="270000"/>
          </a:xfrm>
          <a:prstGeom prst="ellipse">
            <a:avLst/>
          </a:prstGeom>
        </p:spPr>
      </p:pic>
      <p:sp>
        <p:nvSpPr>
          <p:cNvPr id="25" name="ZoneTexte 24">
            <a:extLst>
              <a:ext uri="{FF2B5EF4-FFF2-40B4-BE49-F238E27FC236}">
                <a16:creationId xmlns:a16="http://schemas.microsoft.com/office/drawing/2014/main" id="{8ADAF07A-B3A6-875C-5AA0-343B24030E6C}"/>
              </a:ext>
            </a:extLst>
          </p:cNvPr>
          <p:cNvSpPr txBox="1"/>
          <p:nvPr/>
        </p:nvSpPr>
        <p:spPr>
          <a:xfrm>
            <a:off x="4915104" y="4193922"/>
            <a:ext cx="960519" cy="230832"/>
          </a:xfrm>
          <a:prstGeom prst="rect">
            <a:avLst/>
          </a:prstGeom>
          <a:noFill/>
        </p:spPr>
        <p:txBody>
          <a:bodyPr wrap="none" rtlCol="0">
            <a:spAutoFit/>
          </a:bodyPr>
          <a:lstStyle/>
          <a:p>
            <a:pPr algn="ctr"/>
            <a:r>
              <a:rPr lang="en-US" sz="900" b="1"/>
              <a:t>Data Marketplace</a:t>
            </a:r>
          </a:p>
        </p:txBody>
      </p:sp>
      <p:pic>
        <p:nvPicPr>
          <p:cNvPr id="26" name="Graphique 25">
            <a:extLst>
              <a:ext uri="{FF2B5EF4-FFF2-40B4-BE49-F238E27FC236}">
                <a16:creationId xmlns:a16="http://schemas.microsoft.com/office/drawing/2014/main" id="{3A3B455E-57E3-741F-1376-80B4E27BAEE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260364" y="3905981"/>
            <a:ext cx="270000" cy="270000"/>
          </a:xfrm>
          <a:prstGeom prst="ellipse">
            <a:avLst/>
          </a:prstGeom>
        </p:spPr>
      </p:pic>
      <p:sp>
        <p:nvSpPr>
          <p:cNvPr id="28" name="ZoneTexte 27">
            <a:extLst>
              <a:ext uri="{FF2B5EF4-FFF2-40B4-BE49-F238E27FC236}">
                <a16:creationId xmlns:a16="http://schemas.microsoft.com/office/drawing/2014/main" id="{EE7617B5-4BB4-EE7A-65F1-868293FF1EAC}"/>
              </a:ext>
            </a:extLst>
          </p:cNvPr>
          <p:cNvSpPr txBox="1"/>
          <p:nvPr/>
        </p:nvSpPr>
        <p:spPr>
          <a:xfrm>
            <a:off x="6886363" y="4197237"/>
            <a:ext cx="960519" cy="230832"/>
          </a:xfrm>
          <a:prstGeom prst="rect">
            <a:avLst/>
          </a:prstGeom>
          <a:noFill/>
        </p:spPr>
        <p:txBody>
          <a:bodyPr wrap="none" rtlCol="0">
            <a:spAutoFit/>
          </a:bodyPr>
          <a:lstStyle/>
          <a:p>
            <a:pPr algn="ctr"/>
            <a:r>
              <a:rPr lang="en-US" sz="900" b="1"/>
              <a:t>Data Marketplace</a:t>
            </a:r>
          </a:p>
        </p:txBody>
      </p:sp>
      <p:pic>
        <p:nvPicPr>
          <p:cNvPr id="32" name="Graphique 31">
            <a:extLst>
              <a:ext uri="{FF2B5EF4-FFF2-40B4-BE49-F238E27FC236}">
                <a16:creationId xmlns:a16="http://schemas.microsoft.com/office/drawing/2014/main" id="{AC05A076-6765-9707-0664-88367D305E2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231623" y="3909296"/>
            <a:ext cx="270000" cy="270000"/>
          </a:xfrm>
          <a:prstGeom prst="ellipse">
            <a:avLst/>
          </a:prstGeom>
        </p:spPr>
      </p:pic>
      <p:sp>
        <p:nvSpPr>
          <p:cNvPr id="39" name="ZoneTexte 38">
            <a:extLst>
              <a:ext uri="{FF2B5EF4-FFF2-40B4-BE49-F238E27FC236}">
                <a16:creationId xmlns:a16="http://schemas.microsoft.com/office/drawing/2014/main" id="{70790897-6936-BCEC-5F93-02F23CD1A47F}"/>
              </a:ext>
            </a:extLst>
          </p:cNvPr>
          <p:cNvSpPr txBox="1"/>
          <p:nvPr/>
        </p:nvSpPr>
        <p:spPr>
          <a:xfrm>
            <a:off x="5856005" y="3176820"/>
            <a:ext cx="960519" cy="230832"/>
          </a:xfrm>
          <a:prstGeom prst="rect">
            <a:avLst/>
          </a:prstGeom>
          <a:noFill/>
        </p:spPr>
        <p:txBody>
          <a:bodyPr wrap="none" rtlCol="0">
            <a:spAutoFit/>
          </a:bodyPr>
          <a:lstStyle/>
          <a:p>
            <a:pPr algn="ctr"/>
            <a:r>
              <a:rPr lang="en-US" sz="900" b="1"/>
              <a:t>Data Marketplace</a:t>
            </a:r>
          </a:p>
        </p:txBody>
      </p:sp>
      <p:pic>
        <p:nvPicPr>
          <p:cNvPr id="40" name="Graphique 39">
            <a:extLst>
              <a:ext uri="{FF2B5EF4-FFF2-40B4-BE49-F238E27FC236}">
                <a16:creationId xmlns:a16="http://schemas.microsoft.com/office/drawing/2014/main" id="{7B7A3728-59D1-A585-7074-66C4888B84C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201265" y="2888879"/>
            <a:ext cx="270000" cy="270000"/>
          </a:xfrm>
          <a:prstGeom prst="ellipse">
            <a:avLst/>
          </a:prstGeom>
        </p:spPr>
      </p:pic>
      <p:sp>
        <p:nvSpPr>
          <p:cNvPr id="42" name="ZoneTexte 41">
            <a:extLst>
              <a:ext uri="{FF2B5EF4-FFF2-40B4-BE49-F238E27FC236}">
                <a16:creationId xmlns:a16="http://schemas.microsoft.com/office/drawing/2014/main" id="{3AF9CD36-FAC6-383C-1B0D-55DFD170BAFD}"/>
              </a:ext>
            </a:extLst>
          </p:cNvPr>
          <p:cNvSpPr txBox="1"/>
          <p:nvPr/>
        </p:nvSpPr>
        <p:spPr>
          <a:xfrm>
            <a:off x="7270677" y="3150318"/>
            <a:ext cx="960519" cy="230832"/>
          </a:xfrm>
          <a:prstGeom prst="rect">
            <a:avLst/>
          </a:prstGeom>
          <a:noFill/>
        </p:spPr>
        <p:txBody>
          <a:bodyPr wrap="none" rtlCol="0">
            <a:spAutoFit/>
          </a:bodyPr>
          <a:lstStyle/>
          <a:p>
            <a:pPr algn="ctr"/>
            <a:r>
              <a:rPr lang="en-US" sz="900" b="1"/>
              <a:t>Data Marketplace</a:t>
            </a:r>
          </a:p>
        </p:txBody>
      </p:sp>
      <p:pic>
        <p:nvPicPr>
          <p:cNvPr id="43" name="Graphique 42">
            <a:extLst>
              <a:ext uri="{FF2B5EF4-FFF2-40B4-BE49-F238E27FC236}">
                <a16:creationId xmlns:a16="http://schemas.microsoft.com/office/drawing/2014/main" id="{8D044C14-7DE3-F12C-6FBF-3DCA042E61C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615937" y="2862377"/>
            <a:ext cx="270000" cy="270000"/>
          </a:xfrm>
          <a:prstGeom prst="ellipse">
            <a:avLst/>
          </a:prstGeom>
        </p:spPr>
      </p:pic>
      <p:sp>
        <p:nvSpPr>
          <p:cNvPr id="44" name="ZoneTexte 43">
            <a:extLst>
              <a:ext uri="{FF2B5EF4-FFF2-40B4-BE49-F238E27FC236}">
                <a16:creationId xmlns:a16="http://schemas.microsoft.com/office/drawing/2014/main" id="{702C6543-1131-C548-9C91-824D819FE9A1}"/>
              </a:ext>
            </a:extLst>
          </p:cNvPr>
          <p:cNvSpPr txBox="1"/>
          <p:nvPr/>
        </p:nvSpPr>
        <p:spPr>
          <a:xfrm>
            <a:off x="10076819" y="3153633"/>
            <a:ext cx="960519" cy="230832"/>
          </a:xfrm>
          <a:prstGeom prst="rect">
            <a:avLst/>
          </a:prstGeom>
          <a:noFill/>
        </p:spPr>
        <p:txBody>
          <a:bodyPr wrap="none" rtlCol="0">
            <a:spAutoFit/>
          </a:bodyPr>
          <a:lstStyle/>
          <a:p>
            <a:pPr algn="ctr"/>
            <a:r>
              <a:rPr lang="en-US" sz="900" b="1"/>
              <a:t>Data Marketplace</a:t>
            </a:r>
          </a:p>
        </p:txBody>
      </p:sp>
      <p:pic>
        <p:nvPicPr>
          <p:cNvPr id="45" name="Graphique 44">
            <a:extLst>
              <a:ext uri="{FF2B5EF4-FFF2-40B4-BE49-F238E27FC236}">
                <a16:creationId xmlns:a16="http://schemas.microsoft.com/office/drawing/2014/main" id="{BAB2BC1B-D505-301D-EF69-7F73E752E65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422079" y="2865692"/>
            <a:ext cx="270000" cy="270000"/>
          </a:xfrm>
          <a:prstGeom prst="ellipse">
            <a:avLst/>
          </a:prstGeom>
        </p:spPr>
      </p:pic>
      <p:sp>
        <p:nvSpPr>
          <p:cNvPr id="47" name="ZoneTexte 46">
            <a:extLst>
              <a:ext uri="{FF2B5EF4-FFF2-40B4-BE49-F238E27FC236}">
                <a16:creationId xmlns:a16="http://schemas.microsoft.com/office/drawing/2014/main" id="{85FE6B9F-A872-65EF-05C0-D1914431FF83}"/>
              </a:ext>
            </a:extLst>
          </p:cNvPr>
          <p:cNvSpPr txBox="1"/>
          <p:nvPr/>
        </p:nvSpPr>
        <p:spPr>
          <a:xfrm>
            <a:off x="8668776" y="2053704"/>
            <a:ext cx="960519" cy="230832"/>
          </a:xfrm>
          <a:prstGeom prst="rect">
            <a:avLst/>
          </a:prstGeom>
          <a:noFill/>
        </p:spPr>
        <p:txBody>
          <a:bodyPr wrap="none" rtlCol="0">
            <a:spAutoFit/>
          </a:bodyPr>
          <a:lstStyle/>
          <a:p>
            <a:pPr algn="ctr"/>
            <a:r>
              <a:rPr lang="en-US" sz="900" b="1"/>
              <a:t>Data Marketplace</a:t>
            </a:r>
          </a:p>
        </p:txBody>
      </p:sp>
      <p:pic>
        <p:nvPicPr>
          <p:cNvPr id="48" name="Graphique 47">
            <a:extLst>
              <a:ext uri="{FF2B5EF4-FFF2-40B4-BE49-F238E27FC236}">
                <a16:creationId xmlns:a16="http://schemas.microsoft.com/office/drawing/2014/main" id="{743EDC9B-F3A9-B94A-5241-60154A67EB7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14036" y="1765763"/>
            <a:ext cx="270000" cy="270000"/>
          </a:xfrm>
          <a:prstGeom prst="ellipse">
            <a:avLst/>
          </a:prstGeom>
        </p:spPr>
      </p:pic>
      <p:sp>
        <p:nvSpPr>
          <p:cNvPr id="2" name="Rectangle 1">
            <a:extLst>
              <a:ext uri="{FF2B5EF4-FFF2-40B4-BE49-F238E27FC236}">
                <a16:creationId xmlns:a16="http://schemas.microsoft.com/office/drawing/2014/main" id="{5E97E4D5-9A96-8399-64F7-E2C53944B953}"/>
              </a:ext>
            </a:extLst>
          </p:cNvPr>
          <p:cNvSpPr/>
          <p:nvPr/>
        </p:nvSpPr>
        <p:spPr>
          <a:xfrm>
            <a:off x="0" y="0"/>
            <a:ext cx="12182394" cy="6858000"/>
          </a:xfrm>
          <a:prstGeom prst="rect">
            <a:avLst/>
          </a:prstGeom>
          <a:solidFill>
            <a:schemeClr val="bg1">
              <a:lumMod val="95000"/>
              <a:alpha val="50000"/>
            </a:schemeClr>
          </a:solidFill>
          <a:ln w="6350">
            <a:solidFill>
              <a:schemeClr val="accent6"/>
            </a:solid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a:solidFill>
                  <a:sysClr val="windowText" lastClr="000000"/>
                </a:solidFill>
              </a:rPr>
              <a:t>For </a:t>
            </a:r>
            <a:r>
              <a:rPr lang="fr-FR" err="1">
                <a:solidFill>
                  <a:sysClr val="windowText" lastClr="000000"/>
                </a:solidFill>
              </a:rPr>
              <a:t>Later</a:t>
            </a:r>
            <a:r>
              <a:rPr lang="fr-FR">
                <a:solidFill>
                  <a:sysClr val="windowText" lastClr="000000"/>
                </a:solidFill>
              </a:rPr>
              <a:t> Use</a:t>
            </a:r>
          </a:p>
        </p:txBody>
      </p:sp>
    </p:spTree>
    <p:extLst>
      <p:ext uri="{BB962C8B-B14F-4D97-AF65-F5344CB8AC3E}">
        <p14:creationId xmlns:p14="http://schemas.microsoft.com/office/powerpoint/2010/main" val="2738404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7" name="Straight Connector 127">
            <a:extLst>
              <a:ext uri="{FF2B5EF4-FFF2-40B4-BE49-F238E27FC236}">
                <a16:creationId xmlns:a16="http://schemas.microsoft.com/office/drawing/2014/main" id="{5B6614ED-66C2-D8A5-EF8E-9B3150B81DB5}"/>
              </a:ext>
            </a:extLst>
          </p:cNvPr>
          <p:cNvCxnSpPr/>
          <p:nvPr/>
        </p:nvCxnSpPr>
        <p:spPr>
          <a:xfrm>
            <a:off x="820517" y="2464429"/>
            <a:ext cx="10836525"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4" name="Groupe 3">
            <a:extLst>
              <a:ext uri="{FF2B5EF4-FFF2-40B4-BE49-F238E27FC236}">
                <a16:creationId xmlns:a16="http://schemas.microsoft.com/office/drawing/2014/main" id="{16B03B20-392F-7A81-4025-C0EA01FDA6A4}"/>
              </a:ext>
            </a:extLst>
          </p:cNvPr>
          <p:cNvGrpSpPr/>
          <p:nvPr/>
        </p:nvGrpSpPr>
        <p:grpSpPr>
          <a:xfrm>
            <a:off x="263032" y="4416252"/>
            <a:ext cx="504000" cy="612094"/>
            <a:chOff x="242176" y="3436341"/>
            <a:chExt cx="504000" cy="612094"/>
          </a:xfrm>
        </p:grpSpPr>
        <p:sp>
          <p:nvSpPr>
            <p:cNvPr id="8" name="TextBox 67">
              <a:extLst>
                <a:ext uri="{FF2B5EF4-FFF2-40B4-BE49-F238E27FC236}">
                  <a16:creationId xmlns:a16="http://schemas.microsoft.com/office/drawing/2014/main" id="{74708410-C330-2367-C544-D72BF3B59C7E}"/>
                </a:ext>
              </a:extLst>
            </p:cNvPr>
            <p:cNvSpPr txBox="1"/>
            <p:nvPr/>
          </p:nvSpPr>
          <p:spPr>
            <a:xfrm>
              <a:off x="242176" y="3832435"/>
              <a:ext cx="504000" cy="216000"/>
            </a:xfrm>
            <a:prstGeom prst="rect">
              <a:avLst/>
            </a:prstGeom>
            <a:noFill/>
          </p:spPr>
          <p:txBody>
            <a:bodyPr wrap="square" lIns="0" tIns="0" rIns="0" bIns="0" rtlCol="0">
              <a:no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r>
                <a:rPr lang="en-US" sz="800" b="1">
                  <a:solidFill>
                    <a:srgbClr val="000000"/>
                  </a:solidFill>
                </a:rPr>
                <a:t>Data consumer</a:t>
              </a:r>
              <a:endParaRPr kumimoji="0" lang="en-US" sz="800" b="1" i="0" u="none" strike="noStrike" kern="1200" cap="none" spc="0" normalizeH="0" baseline="0" noProof="0">
                <a:ln>
                  <a:noFill/>
                </a:ln>
                <a:solidFill>
                  <a:srgbClr val="000000"/>
                </a:solidFill>
                <a:effectLst/>
                <a:uLnTx/>
                <a:uFillTx/>
              </a:endParaRPr>
            </a:p>
          </p:txBody>
        </p:sp>
        <p:grpSp>
          <p:nvGrpSpPr>
            <p:cNvPr id="10" name="Groupe 9">
              <a:extLst>
                <a:ext uri="{FF2B5EF4-FFF2-40B4-BE49-F238E27FC236}">
                  <a16:creationId xmlns:a16="http://schemas.microsoft.com/office/drawing/2014/main" id="{4B4E8EA4-9C3B-52F2-BC85-AEB5F62D551F}"/>
                </a:ext>
              </a:extLst>
            </p:cNvPr>
            <p:cNvGrpSpPr/>
            <p:nvPr/>
          </p:nvGrpSpPr>
          <p:grpSpPr>
            <a:xfrm>
              <a:off x="296129" y="3436341"/>
              <a:ext cx="396094" cy="396094"/>
              <a:chOff x="2367288" y="2338691"/>
              <a:chExt cx="644441" cy="644441"/>
            </a:xfrm>
          </p:grpSpPr>
          <p:sp>
            <p:nvSpPr>
              <p:cNvPr id="12" name="Ellipse 11">
                <a:extLst>
                  <a:ext uri="{FF2B5EF4-FFF2-40B4-BE49-F238E27FC236}">
                    <a16:creationId xmlns:a16="http://schemas.microsoft.com/office/drawing/2014/main" id="{C441679A-A6D6-8CA6-696F-EE5AAF4412CD}"/>
                  </a:ext>
                </a:extLst>
              </p:cNvPr>
              <p:cNvSpPr/>
              <p:nvPr/>
            </p:nvSpPr>
            <p:spPr>
              <a:xfrm>
                <a:off x="2367288" y="2338691"/>
                <a:ext cx="644441" cy="644441"/>
              </a:xfrm>
              <a:prstGeom prst="ellipse">
                <a:avLst/>
              </a:prstGeom>
              <a:solidFill>
                <a:srgbClr val="86D5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endParaRPr>
              </a:p>
            </p:txBody>
          </p:sp>
          <p:pic>
            <p:nvPicPr>
              <p:cNvPr id="13" name="Image 12">
                <a:extLst>
                  <a:ext uri="{FF2B5EF4-FFF2-40B4-BE49-F238E27FC236}">
                    <a16:creationId xmlns:a16="http://schemas.microsoft.com/office/drawing/2014/main" id="{BA923AD8-1548-096B-8A78-2AE4F6A7594A}"/>
                  </a:ext>
                </a:extLst>
              </p:cNvPr>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2419508" y="2390911"/>
                <a:ext cx="539999" cy="540000"/>
              </a:xfrm>
              <a:prstGeom prst="rect">
                <a:avLst/>
              </a:prstGeom>
            </p:spPr>
          </p:pic>
        </p:grpSp>
      </p:grpSp>
      <p:sp>
        <p:nvSpPr>
          <p:cNvPr id="5" name="Titre 4">
            <a:extLst>
              <a:ext uri="{FF2B5EF4-FFF2-40B4-BE49-F238E27FC236}">
                <a16:creationId xmlns:a16="http://schemas.microsoft.com/office/drawing/2014/main" id="{7F3EE3B5-83B6-B09B-DF50-71723C71793B}"/>
              </a:ext>
            </a:extLst>
          </p:cNvPr>
          <p:cNvSpPr>
            <a:spLocks noGrp="1"/>
          </p:cNvSpPr>
          <p:nvPr>
            <p:ph type="title"/>
          </p:nvPr>
        </p:nvSpPr>
        <p:spPr>
          <a:prstGeom prst="rect">
            <a:avLst/>
          </a:prstGeom>
        </p:spPr>
        <p:txBody>
          <a:bodyPr/>
          <a:lstStyle/>
          <a:p>
            <a:r>
              <a:rPr lang="en-US">
                <a:solidFill>
                  <a:schemeClr val="tx2"/>
                </a:solidFill>
              </a:rPr>
              <a:t>Request </a:t>
            </a:r>
            <a:r>
              <a:rPr lang="en-US"/>
              <a:t>a </a:t>
            </a:r>
            <a:r>
              <a:rPr lang="en-US" err="1"/>
              <a:t>dataproduct</a:t>
            </a:r>
            <a:r>
              <a:rPr lang="en-US"/>
              <a:t> variation in data marketplace</a:t>
            </a:r>
          </a:p>
        </p:txBody>
      </p:sp>
      <p:cxnSp>
        <p:nvCxnSpPr>
          <p:cNvPr id="33" name="Straight Connector 139">
            <a:extLst>
              <a:ext uri="{FF2B5EF4-FFF2-40B4-BE49-F238E27FC236}">
                <a16:creationId xmlns:a16="http://schemas.microsoft.com/office/drawing/2014/main" id="{AA5F7757-5F5B-DE6F-5597-0DA90EB44045}"/>
              </a:ext>
            </a:extLst>
          </p:cNvPr>
          <p:cNvCxnSpPr/>
          <p:nvPr/>
        </p:nvCxnSpPr>
        <p:spPr>
          <a:xfrm>
            <a:off x="942555" y="4248485"/>
            <a:ext cx="10836525"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2" name="Connector: Elbow 18">
            <a:extLst>
              <a:ext uri="{FF2B5EF4-FFF2-40B4-BE49-F238E27FC236}">
                <a16:creationId xmlns:a16="http://schemas.microsoft.com/office/drawing/2014/main" id="{CC1AC279-59AA-AA0F-177E-BD3980677B6C}"/>
              </a:ext>
            </a:extLst>
          </p:cNvPr>
          <p:cNvCxnSpPr>
            <a:cxnSpLocks/>
            <a:stCxn id="44" idx="0"/>
            <a:endCxn id="200" idx="1"/>
          </p:cNvCxnSpPr>
          <p:nvPr/>
        </p:nvCxnSpPr>
        <p:spPr>
          <a:xfrm rot="5400000" flipH="1" flipV="1">
            <a:off x="3271273" y="2645504"/>
            <a:ext cx="537480" cy="1032494"/>
          </a:xfrm>
          <a:prstGeom prst="bentConnector4">
            <a:avLst>
              <a:gd name="adj1" fmla="val 50000"/>
              <a:gd name="adj2" fmla="val 122141"/>
            </a:avLst>
          </a:prstGeom>
          <a:ln w="12700">
            <a:solidFill>
              <a:schemeClr val="accent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1" name="Flowchart: Alternate Process 84">
            <a:extLst>
              <a:ext uri="{FF2B5EF4-FFF2-40B4-BE49-F238E27FC236}">
                <a16:creationId xmlns:a16="http://schemas.microsoft.com/office/drawing/2014/main" id="{A5720347-D712-E2A8-A709-A28BBE294BF5}"/>
              </a:ext>
            </a:extLst>
          </p:cNvPr>
          <p:cNvSpPr/>
          <p:nvPr/>
        </p:nvSpPr>
        <p:spPr>
          <a:xfrm>
            <a:off x="9680052" y="2087544"/>
            <a:ext cx="900000" cy="720000"/>
          </a:xfrm>
          <a:prstGeom prst="flowChartAlternateProcess">
            <a:avLst/>
          </a:prstGeom>
          <a:gradFill flip="none" rotWithShape="1">
            <a:gsLst>
              <a:gs pos="54000">
                <a:srgbClr val="7FD2D0"/>
              </a:gs>
              <a:gs pos="0">
                <a:srgbClr val="FF8DA0"/>
              </a:gs>
              <a:gs pos="52000">
                <a:srgbClr val="FF8DA0"/>
              </a:gs>
              <a:gs pos="100000">
                <a:srgbClr val="7FD2D0"/>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a:solidFill>
                  <a:srgbClr val="FFFFFF"/>
                </a:solidFill>
                <a:latin typeface="Graphik"/>
              </a:rPr>
              <a:t>6.0 Add the new product to catalog &amp; marketplace</a:t>
            </a:r>
          </a:p>
        </p:txBody>
      </p:sp>
      <p:sp>
        <p:nvSpPr>
          <p:cNvPr id="60" name="Rectangle 59">
            <a:extLst>
              <a:ext uri="{FF2B5EF4-FFF2-40B4-BE49-F238E27FC236}">
                <a16:creationId xmlns:a16="http://schemas.microsoft.com/office/drawing/2014/main" id="{A181A8DA-FFD4-13EC-6969-ED4C307D2C06}"/>
              </a:ext>
            </a:extLst>
          </p:cNvPr>
          <p:cNvSpPr/>
          <p:nvPr/>
        </p:nvSpPr>
        <p:spPr>
          <a:xfrm>
            <a:off x="3478286" y="3786886"/>
            <a:ext cx="709806" cy="222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raphik"/>
                <a:ea typeface="+mn-ea"/>
                <a:cs typeface="+mn-cs"/>
              </a:rPr>
              <a:t>Validation</a:t>
            </a:r>
          </a:p>
        </p:txBody>
      </p:sp>
      <p:sp>
        <p:nvSpPr>
          <p:cNvPr id="61" name="Rectangle 60">
            <a:extLst>
              <a:ext uri="{FF2B5EF4-FFF2-40B4-BE49-F238E27FC236}">
                <a16:creationId xmlns:a16="http://schemas.microsoft.com/office/drawing/2014/main" id="{05207884-BB0C-9B89-84FF-26CD115D4D84}"/>
              </a:ext>
            </a:extLst>
          </p:cNvPr>
          <p:cNvSpPr/>
          <p:nvPr/>
        </p:nvSpPr>
        <p:spPr>
          <a:xfrm>
            <a:off x="3007133" y="2672412"/>
            <a:ext cx="537136" cy="222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raphik"/>
                <a:ea typeface="+mn-ea"/>
                <a:cs typeface="+mn-cs"/>
              </a:rPr>
              <a:t>Refusal</a:t>
            </a:r>
          </a:p>
        </p:txBody>
      </p:sp>
      <p:sp>
        <p:nvSpPr>
          <p:cNvPr id="14" name="Flowchart: Alternate Process 38">
            <a:extLst>
              <a:ext uri="{FF2B5EF4-FFF2-40B4-BE49-F238E27FC236}">
                <a16:creationId xmlns:a16="http://schemas.microsoft.com/office/drawing/2014/main" id="{31769534-2D6F-7EC9-60F5-0FB04FD78D19}"/>
              </a:ext>
            </a:extLst>
          </p:cNvPr>
          <p:cNvSpPr/>
          <p:nvPr/>
        </p:nvSpPr>
        <p:spPr>
          <a:xfrm>
            <a:off x="1091271" y="4381241"/>
            <a:ext cx="900000" cy="720000"/>
          </a:xfrm>
          <a:prstGeom prst="flowChartAlternateProcess">
            <a:avLst/>
          </a:prstGeom>
          <a:solidFill>
            <a:srgbClr val="86D5A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ea typeface="+mn-ea"/>
                <a:cs typeface="+mn-cs"/>
              </a:rPr>
              <a:t>1.0 Request for a product variation</a:t>
            </a:r>
          </a:p>
        </p:txBody>
      </p:sp>
      <p:sp>
        <p:nvSpPr>
          <p:cNvPr id="44" name="Flowchart: Decision 82">
            <a:extLst>
              <a:ext uri="{FF2B5EF4-FFF2-40B4-BE49-F238E27FC236}">
                <a16:creationId xmlns:a16="http://schemas.microsoft.com/office/drawing/2014/main" id="{E181DA62-11EA-9ECA-7471-D09A179C6383}"/>
              </a:ext>
            </a:extLst>
          </p:cNvPr>
          <p:cNvSpPr/>
          <p:nvPr/>
        </p:nvSpPr>
        <p:spPr>
          <a:xfrm>
            <a:off x="2497219" y="3430491"/>
            <a:ext cx="1053093" cy="720000"/>
          </a:xfrm>
          <a:prstGeom prst="flowChartDecision">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rgbClr val="FFFFFF"/>
                </a:solidFill>
                <a:latin typeface="Graphik"/>
              </a:rPr>
              <a:t>2</a:t>
            </a:r>
            <a:r>
              <a:rPr kumimoji="0" lang="en-US" sz="900" b="0" i="0" u="none" strike="noStrike" kern="1200" cap="none" spc="0" normalizeH="0" baseline="0" noProof="0">
                <a:ln>
                  <a:noFill/>
                </a:ln>
                <a:solidFill>
                  <a:srgbClr val="FFFFFF"/>
                </a:solidFill>
                <a:effectLst/>
                <a:uLnTx/>
                <a:uFillTx/>
                <a:latin typeface="Graphik"/>
                <a:ea typeface="+mn-ea"/>
                <a:cs typeface="+mn-cs"/>
              </a:rPr>
              <a:t>.0 </a:t>
            </a:r>
            <a:r>
              <a:rPr lang="en-US" sz="900">
                <a:solidFill>
                  <a:srgbClr val="FFFFFF"/>
                </a:solidFill>
                <a:latin typeface="Graphik"/>
              </a:rPr>
              <a:t>Arbitration</a:t>
            </a:r>
            <a:endParaRPr kumimoji="0" lang="en-US" sz="900" b="0" i="0" u="none" strike="noStrike" kern="1200" cap="none" spc="0" normalizeH="0" baseline="0" noProof="0">
              <a:ln>
                <a:noFill/>
              </a:ln>
              <a:solidFill>
                <a:srgbClr val="FFFFFF"/>
              </a:solidFill>
              <a:effectLst/>
              <a:uLnTx/>
              <a:uFillTx/>
              <a:latin typeface="Graphik"/>
              <a:ea typeface="+mn-ea"/>
              <a:cs typeface="+mn-cs"/>
            </a:endParaRPr>
          </a:p>
        </p:txBody>
      </p:sp>
      <p:cxnSp>
        <p:nvCxnSpPr>
          <p:cNvPr id="52" name="Connector: Elbow 18">
            <a:extLst>
              <a:ext uri="{FF2B5EF4-FFF2-40B4-BE49-F238E27FC236}">
                <a16:creationId xmlns:a16="http://schemas.microsoft.com/office/drawing/2014/main" id="{8A8187BF-6DD1-0B10-BA40-1BF031DB6F0D}"/>
              </a:ext>
            </a:extLst>
          </p:cNvPr>
          <p:cNvCxnSpPr>
            <a:cxnSpLocks/>
            <a:stCxn id="14" idx="3"/>
            <a:endCxn id="44" idx="1"/>
          </p:cNvCxnSpPr>
          <p:nvPr/>
        </p:nvCxnSpPr>
        <p:spPr>
          <a:xfrm flipV="1">
            <a:off x="1991271" y="3790491"/>
            <a:ext cx="505948" cy="950750"/>
          </a:xfrm>
          <a:prstGeom prst="bentConnector3">
            <a:avLst>
              <a:gd name="adj1" fmla="val 50000"/>
            </a:avLst>
          </a:prstGeom>
          <a:ln w="12700">
            <a:solidFill>
              <a:schemeClr val="accent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72" name="Connector: Elbow 18">
            <a:extLst>
              <a:ext uri="{FF2B5EF4-FFF2-40B4-BE49-F238E27FC236}">
                <a16:creationId xmlns:a16="http://schemas.microsoft.com/office/drawing/2014/main" id="{283AEA85-32C3-097A-7A6F-C2DCE6146B3D}"/>
              </a:ext>
            </a:extLst>
          </p:cNvPr>
          <p:cNvCxnSpPr>
            <a:cxnSpLocks/>
            <a:stCxn id="201" idx="3"/>
            <a:endCxn id="198" idx="1"/>
          </p:cNvCxnSpPr>
          <p:nvPr/>
        </p:nvCxnSpPr>
        <p:spPr>
          <a:xfrm>
            <a:off x="6362208" y="2890679"/>
            <a:ext cx="505948" cy="2331"/>
          </a:xfrm>
          <a:prstGeom prst="bentConnector3">
            <a:avLst>
              <a:gd name="adj1" fmla="val 50000"/>
            </a:avLst>
          </a:prstGeom>
          <a:ln w="12700">
            <a:solidFill>
              <a:schemeClr val="accent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03" name="Flowchart: Alternate Process 38">
            <a:extLst>
              <a:ext uri="{FF2B5EF4-FFF2-40B4-BE49-F238E27FC236}">
                <a16:creationId xmlns:a16="http://schemas.microsoft.com/office/drawing/2014/main" id="{DBA789F1-601D-68CC-5C90-0A63B42F03D2}"/>
              </a:ext>
            </a:extLst>
          </p:cNvPr>
          <p:cNvSpPr/>
          <p:nvPr/>
        </p:nvSpPr>
        <p:spPr>
          <a:xfrm>
            <a:off x="11049957" y="4381241"/>
            <a:ext cx="900000" cy="720000"/>
          </a:xfrm>
          <a:prstGeom prst="flowChartAlternateProcess">
            <a:avLst/>
          </a:prstGeom>
          <a:solidFill>
            <a:srgbClr val="86D5A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ea typeface="+mn-ea"/>
                <a:cs typeface="+mn-cs"/>
              </a:rPr>
              <a:t>7.0 Ticket closing notification</a:t>
            </a:r>
          </a:p>
        </p:txBody>
      </p:sp>
      <p:cxnSp>
        <p:nvCxnSpPr>
          <p:cNvPr id="104" name="Connector: Elbow 18">
            <a:extLst>
              <a:ext uri="{FF2B5EF4-FFF2-40B4-BE49-F238E27FC236}">
                <a16:creationId xmlns:a16="http://schemas.microsoft.com/office/drawing/2014/main" id="{64A81DDE-5672-FA74-F0BC-730106AD271D}"/>
              </a:ext>
            </a:extLst>
          </p:cNvPr>
          <p:cNvCxnSpPr>
            <a:cxnSpLocks/>
            <a:stCxn id="200" idx="2"/>
            <a:endCxn id="103" idx="1"/>
          </p:cNvCxnSpPr>
          <p:nvPr/>
        </p:nvCxnSpPr>
        <p:spPr>
          <a:xfrm rot="16200000" flipH="1">
            <a:off x="7033993" y="725276"/>
            <a:ext cx="1488231" cy="6543697"/>
          </a:xfrm>
          <a:prstGeom prst="bentConnector3">
            <a:avLst>
              <a:gd name="adj1" fmla="val 50000"/>
            </a:avLst>
          </a:prstGeom>
          <a:ln w="12700">
            <a:solidFill>
              <a:schemeClr val="accent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07" name="Connector: Elbow 18">
            <a:extLst>
              <a:ext uri="{FF2B5EF4-FFF2-40B4-BE49-F238E27FC236}">
                <a16:creationId xmlns:a16="http://schemas.microsoft.com/office/drawing/2014/main" id="{908DB282-FED5-275D-B3AB-60E23F3D1C49}"/>
              </a:ext>
            </a:extLst>
          </p:cNvPr>
          <p:cNvCxnSpPr>
            <a:cxnSpLocks/>
            <a:stCxn id="41" idx="3"/>
            <a:endCxn id="103" idx="0"/>
          </p:cNvCxnSpPr>
          <p:nvPr/>
        </p:nvCxnSpPr>
        <p:spPr>
          <a:xfrm>
            <a:off x="10580052" y="2447544"/>
            <a:ext cx="919905" cy="1933697"/>
          </a:xfrm>
          <a:prstGeom prst="bentConnector2">
            <a:avLst/>
          </a:prstGeom>
          <a:ln w="12700">
            <a:solidFill>
              <a:schemeClr val="accent1"/>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6" name="Groupe 5">
            <a:extLst>
              <a:ext uri="{FF2B5EF4-FFF2-40B4-BE49-F238E27FC236}">
                <a16:creationId xmlns:a16="http://schemas.microsoft.com/office/drawing/2014/main" id="{8A504EFC-322F-6A8C-08A1-25167357C665}"/>
              </a:ext>
            </a:extLst>
          </p:cNvPr>
          <p:cNvGrpSpPr/>
          <p:nvPr/>
        </p:nvGrpSpPr>
        <p:grpSpPr>
          <a:xfrm>
            <a:off x="9606" y="53478"/>
            <a:ext cx="552948" cy="421043"/>
            <a:chOff x="1007542" y="176192"/>
            <a:chExt cx="552948" cy="421043"/>
          </a:xfrm>
        </p:grpSpPr>
        <p:sp>
          <p:nvSpPr>
            <p:cNvPr id="7" name="Ellipse 6">
              <a:extLst>
                <a:ext uri="{FF2B5EF4-FFF2-40B4-BE49-F238E27FC236}">
                  <a16:creationId xmlns:a16="http://schemas.microsoft.com/office/drawing/2014/main" id="{D5AB50E3-815B-FCC0-9FBF-3B9CAB4D79ED}"/>
                </a:ext>
              </a:extLst>
            </p:cNvPr>
            <p:cNvSpPr/>
            <p:nvPr/>
          </p:nvSpPr>
          <p:spPr>
            <a:xfrm>
              <a:off x="1073495" y="176192"/>
              <a:ext cx="421043" cy="421043"/>
            </a:xfrm>
            <a:prstGeom prst="ellipse">
              <a:avLst/>
            </a:prstGeom>
            <a:solidFill>
              <a:schemeClr val="accent1"/>
            </a:solidFill>
            <a:ln w="6350">
              <a:solidFill>
                <a:schemeClr val="accent6"/>
              </a:solid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ZoneTexte 8">
              <a:extLst>
                <a:ext uri="{FF2B5EF4-FFF2-40B4-BE49-F238E27FC236}">
                  <a16:creationId xmlns:a16="http://schemas.microsoft.com/office/drawing/2014/main" id="{5D61ED2D-1C5B-5FCA-C64C-128A65E574E5}"/>
                </a:ext>
              </a:extLst>
            </p:cNvPr>
            <p:cNvSpPr txBox="1"/>
            <p:nvPr/>
          </p:nvSpPr>
          <p:spPr>
            <a:xfrm>
              <a:off x="1007542" y="202047"/>
              <a:ext cx="552948" cy="369332"/>
            </a:xfrm>
            <a:prstGeom prst="rect">
              <a:avLst/>
            </a:prstGeom>
            <a:noFill/>
          </p:spPr>
          <p:txBody>
            <a:bodyPr wrap="square" rtlCol="0">
              <a:spAutoFit/>
            </a:bodyPr>
            <a:lstStyle/>
            <a:p>
              <a:pPr algn="ctr"/>
              <a:r>
                <a:rPr lang="fr-FR">
                  <a:solidFill>
                    <a:schemeClr val="bg1"/>
                  </a:solidFill>
                </a:rPr>
                <a:t>4</a:t>
              </a:r>
            </a:p>
          </p:txBody>
        </p:sp>
      </p:grpSp>
      <p:grpSp>
        <p:nvGrpSpPr>
          <p:cNvPr id="240" name="Groupe 239">
            <a:extLst>
              <a:ext uri="{FF2B5EF4-FFF2-40B4-BE49-F238E27FC236}">
                <a16:creationId xmlns:a16="http://schemas.microsoft.com/office/drawing/2014/main" id="{FABF986F-84C2-FE87-06A9-959D450B718D}"/>
              </a:ext>
            </a:extLst>
          </p:cNvPr>
          <p:cNvGrpSpPr/>
          <p:nvPr/>
        </p:nvGrpSpPr>
        <p:grpSpPr>
          <a:xfrm>
            <a:off x="-74756" y="2536685"/>
            <a:ext cx="1179576" cy="723594"/>
            <a:chOff x="100258" y="2427470"/>
            <a:chExt cx="1179576" cy="723594"/>
          </a:xfrm>
        </p:grpSpPr>
        <p:sp>
          <p:nvSpPr>
            <p:cNvPr id="241" name="TextBox 28">
              <a:extLst>
                <a:ext uri="{FF2B5EF4-FFF2-40B4-BE49-F238E27FC236}">
                  <a16:creationId xmlns:a16="http://schemas.microsoft.com/office/drawing/2014/main" id="{A23AAB25-137A-4E0E-2021-C4ABCB4211D6}"/>
                </a:ext>
              </a:extLst>
            </p:cNvPr>
            <p:cNvSpPr txBox="1"/>
            <p:nvPr/>
          </p:nvSpPr>
          <p:spPr>
            <a:xfrm>
              <a:off x="100258" y="2823564"/>
              <a:ext cx="1179576" cy="327500"/>
            </a:xfrm>
            <a:prstGeom prst="rect">
              <a:avLst/>
            </a:prstGeom>
            <a:noFill/>
          </p:spPr>
          <p:txBody>
            <a:bodyPr wrap="square" lIns="0" tIns="0" rIns="0" bIns="0" rtlCol="0">
              <a:no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Data</a:t>
              </a:r>
            </a:p>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Steward</a:t>
              </a:r>
            </a:p>
          </p:txBody>
        </p:sp>
        <p:grpSp>
          <p:nvGrpSpPr>
            <p:cNvPr id="242" name="Groupe 241">
              <a:extLst>
                <a:ext uri="{FF2B5EF4-FFF2-40B4-BE49-F238E27FC236}">
                  <a16:creationId xmlns:a16="http://schemas.microsoft.com/office/drawing/2014/main" id="{558E2635-F148-AE6D-27D8-204D0DBC1734}"/>
                </a:ext>
              </a:extLst>
            </p:cNvPr>
            <p:cNvGrpSpPr/>
            <p:nvPr/>
          </p:nvGrpSpPr>
          <p:grpSpPr>
            <a:xfrm>
              <a:off x="491999" y="2427470"/>
              <a:ext cx="396094" cy="396094"/>
              <a:chOff x="4118929" y="4914966"/>
              <a:chExt cx="644441" cy="644441"/>
            </a:xfrm>
          </p:grpSpPr>
          <p:sp>
            <p:nvSpPr>
              <p:cNvPr id="243" name="Ellipse 242">
                <a:extLst>
                  <a:ext uri="{FF2B5EF4-FFF2-40B4-BE49-F238E27FC236}">
                    <a16:creationId xmlns:a16="http://schemas.microsoft.com/office/drawing/2014/main" id="{E9400AA7-8C6E-5420-C283-E7E63F81BB36}"/>
                  </a:ext>
                </a:extLst>
              </p:cNvPr>
              <p:cNvSpPr/>
              <p:nvPr/>
            </p:nvSpPr>
            <p:spPr>
              <a:xfrm>
                <a:off x="4118929" y="4914966"/>
                <a:ext cx="644441" cy="644441"/>
              </a:xfrm>
              <a:prstGeom prst="ellipse">
                <a:avLst/>
              </a:prstGeom>
              <a:solidFill>
                <a:srgbClr val="00B0AD">
                  <a:alpha val="5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latin typeface="Graphik" panose="020B0503030202060203" pitchFamily="34" charset="0"/>
                </a:endParaRPr>
              </a:p>
            </p:txBody>
          </p:sp>
          <p:pic>
            <p:nvPicPr>
              <p:cNvPr id="244" name="Image 243">
                <a:extLst>
                  <a:ext uri="{FF2B5EF4-FFF2-40B4-BE49-F238E27FC236}">
                    <a16:creationId xmlns:a16="http://schemas.microsoft.com/office/drawing/2014/main" id="{6F0B3353-C130-9EFA-5317-6699D1D59A3D}"/>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171150" y="4969307"/>
                <a:ext cx="540000" cy="535756"/>
              </a:xfrm>
              <a:prstGeom prst="rect">
                <a:avLst/>
              </a:prstGeom>
            </p:spPr>
          </p:pic>
        </p:grpSp>
      </p:grpSp>
      <p:grpSp>
        <p:nvGrpSpPr>
          <p:cNvPr id="245" name="Groupe 244">
            <a:extLst>
              <a:ext uri="{FF2B5EF4-FFF2-40B4-BE49-F238E27FC236}">
                <a16:creationId xmlns:a16="http://schemas.microsoft.com/office/drawing/2014/main" id="{706F851B-5FEA-C222-DF2D-33D7168AFF0F}"/>
              </a:ext>
            </a:extLst>
          </p:cNvPr>
          <p:cNvGrpSpPr/>
          <p:nvPr/>
        </p:nvGrpSpPr>
        <p:grpSpPr>
          <a:xfrm>
            <a:off x="-74755" y="3526361"/>
            <a:ext cx="1179574" cy="703318"/>
            <a:chOff x="100259" y="1498738"/>
            <a:chExt cx="1179574" cy="703318"/>
          </a:xfrm>
        </p:grpSpPr>
        <p:sp>
          <p:nvSpPr>
            <p:cNvPr id="246" name="TextBox 103">
              <a:extLst>
                <a:ext uri="{FF2B5EF4-FFF2-40B4-BE49-F238E27FC236}">
                  <a16:creationId xmlns:a16="http://schemas.microsoft.com/office/drawing/2014/main" id="{A22E98A9-036D-E116-F1AD-9C0F251AA2FF}"/>
                </a:ext>
              </a:extLst>
            </p:cNvPr>
            <p:cNvSpPr txBox="1"/>
            <p:nvPr/>
          </p:nvSpPr>
          <p:spPr>
            <a:xfrm>
              <a:off x="100259" y="1894832"/>
              <a:ext cx="1179574" cy="307224"/>
            </a:xfrm>
            <a:prstGeom prst="rect">
              <a:avLst/>
            </a:prstGeom>
            <a:noFill/>
          </p:spPr>
          <p:txBody>
            <a:bodyPr wrap="square" lIns="0" tIns="0" rIns="0" bIns="0" rtlCol="0">
              <a:no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Data</a:t>
              </a:r>
            </a:p>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Owner</a:t>
              </a:r>
            </a:p>
          </p:txBody>
        </p:sp>
        <p:grpSp>
          <p:nvGrpSpPr>
            <p:cNvPr id="247" name="Groupe 246">
              <a:extLst>
                <a:ext uri="{FF2B5EF4-FFF2-40B4-BE49-F238E27FC236}">
                  <a16:creationId xmlns:a16="http://schemas.microsoft.com/office/drawing/2014/main" id="{3AA86345-DB74-017A-70CE-1367ACCB09A5}"/>
                </a:ext>
              </a:extLst>
            </p:cNvPr>
            <p:cNvGrpSpPr/>
            <p:nvPr/>
          </p:nvGrpSpPr>
          <p:grpSpPr>
            <a:xfrm>
              <a:off x="491999" y="1498738"/>
              <a:ext cx="396094" cy="396094"/>
              <a:chOff x="3111683" y="3774648"/>
              <a:chExt cx="644441" cy="644441"/>
            </a:xfrm>
          </p:grpSpPr>
          <p:sp>
            <p:nvSpPr>
              <p:cNvPr id="248" name="Ellipse 247">
                <a:extLst>
                  <a:ext uri="{FF2B5EF4-FFF2-40B4-BE49-F238E27FC236}">
                    <a16:creationId xmlns:a16="http://schemas.microsoft.com/office/drawing/2014/main" id="{4A7C6E8B-E647-C90C-A08A-51D911F7572D}"/>
                  </a:ext>
                </a:extLst>
              </p:cNvPr>
              <p:cNvSpPr/>
              <p:nvPr/>
            </p:nvSpPr>
            <p:spPr>
              <a:xfrm>
                <a:off x="3111683" y="3774648"/>
                <a:ext cx="644441" cy="644441"/>
              </a:xfrm>
              <a:prstGeom prst="ellipse">
                <a:avLst/>
              </a:prstGeom>
              <a:solidFill>
                <a:srgbClr val="00B0AD">
                  <a:alpha val="5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latin typeface="Graphik" panose="020B0503030202060203" pitchFamily="34" charset="0"/>
                </a:endParaRPr>
              </a:p>
            </p:txBody>
          </p:sp>
          <p:pic>
            <p:nvPicPr>
              <p:cNvPr id="249" name="Picture 29" descr="A picture containing clipart&#10;&#10;Description automatically generated">
                <a:extLst>
                  <a:ext uri="{FF2B5EF4-FFF2-40B4-BE49-F238E27FC236}">
                    <a16:creationId xmlns:a16="http://schemas.microsoft.com/office/drawing/2014/main" id="{11F7EB37-B24D-E6D4-B1D0-FF4CA392A2B9}"/>
                  </a:ext>
                </a:extLst>
              </p:cNvPr>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163903" y="3826868"/>
                <a:ext cx="540000" cy="540000"/>
              </a:xfrm>
              <a:prstGeom prst="rect">
                <a:avLst/>
              </a:prstGeom>
            </p:spPr>
          </p:pic>
        </p:grpSp>
      </p:grpSp>
      <p:cxnSp>
        <p:nvCxnSpPr>
          <p:cNvPr id="36" name="Straight Connector 127">
            <a:extLst>
              <a:ext uri="{FF2B5EF4-FFF2-40B4-BE49-F238E27FC236}">
                <a16:creationId xmlns:a16="http://schemas.microsoft.com/office/drawing/2014/main" id="{9F577E26-5DCA-D30D-CAA0-824984C219F2}"/>
              </a:ext>
            </a:extLst>
          </p:cNvPr>
          <p:cNvCxnSpPr/>
          <p:nvPr/>
        </p:nvCxnSpPr>
        <p:spPr>
          <a:xfrm>
            <a:off x="820517" y="3371898"/>
            <a:ext cx="10836525"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3" name="Groupe 2">
            <a:extLst>
              <a:ext uri="{FF2B5EF4-FFF2-40B4-BE49-F238E27FC236}">
                <a16:creationId xmlns:a16="http://schemas.microsoft.com/office/drawing/2014/main" id="{6C0A1724-3CC0-1FC8-97BA-2DE286EE79AF}"/>
              </a:ext>
            </a:extLst>
          </p:cNvPr>
          <p:cNvGrpSpPr/>
          <p:nvPr/>
        </p:nvGrpSpPr>
        <p:grpSpPr>
          <a:xfrm>
            <a:off x="861072" y="6286498"/>
            <a:ext cx="1417408" cy="494551"/>
            <a:chOff x="80233" y="5624489"/>
            <a:chExt cx="1417408" cy="494551"/>
          </a:xfrm>
        </p:grpSpPr>
        <p:sp>
          <p:nvSpPr>
            <p:cNvPr id="11" name="Rectangle: Rounded Corners 58">
              <a:extLst>
                <a:ext uri="{FF2B5EF4-FFF2-40B4-BE49-F238E27FC236}">
                  <a16:creationId xmlns:a16="http://schemas.microsoft.com/office/drawing/2014/main" id="{90396094-DB70-C38D-AF7E-9091FFB2F624}"/>
                </a:ext>
              </a:extLst>
            </p:cNvPr>
            <p:cNvSpPr/>
            <p:nvPr/>
          </p:nvSpPr>
          <p:spPr>
            <a:xfrm>
              <a:off x="80233" y="5624489"/>
              <a:ext cx="1417408" cy="494551"/>
            </a:xfrm>
            <a:prstGeom prst="roundRect">
              <a:avLst>
                <a:gd name="adj" fmla="val 5346"/>
              </a:avLst>
            </a:prstGeom>
            <a:solidFill>
              <a:schemeClr val="bg1"/>
            </a:solidFill>
            <a:ln w="6350">
              <a:solidFill>
                <a:schemeClr val="tx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tIns="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E20025"/>
                  </a:solidFill>
                  <a:effectLst/>
                  <a:uLnTx/>
                  <a:uFillTx/>
                  <a:latin typeface="Vinci Sans Light"/>
                  <a:ea typeface="+mn-ea"/>
                  <a:cs typeface="+mn-cs"/>
                </a:rPr>
                <a:t>Legend</a:t>
              </a:r>
              <a:endParaRPr kumimoji="0" lang="en-US" sz="1050" b="1" i="0" u="none" strike="noStrike" kern="1200" cap="none" spc="0" normalizeH="0" baseline="0" noProof="0">
                <a:ln>
                  <a:noFill/>
                </a:ln>
                <a:solidFill>
                  <a:srgbClr val="E20025"/>
                </a:solidFill>
                <a:effectLst/>
                <a:uLnTx/>
                <a:uFillTx/>
                <a:latin typeface="Vinci Sans Light"/>
                <a:ea typeface="+mn-ea"/>
                <a:cs typeface="+mn-cs"/>
              </a:endParaRPr>
            </a:p>
          </p:txBody>
        </p:sp>
        <p:sp>
          <p:nvSpPr>
            <p:cNvPr id="15" name="Flowchart: Alternate Process 92">
              <a:extLst>
                <a:ext uri="{FF2B5EF4-FFF2-40B4-BE49-F238E27FC236}">
                  <a16:creationId xmlns:a16="http://schemas.microsoft.com/office/drawing/2014/main" id="{95C8B2A8-0C11-A69E-7CC6-D0344D041A50}"/>
                </a:ext>
              </a:extLst>
            </p:cNvPr>
            <p:cNvSpPr/>
            <p:nvPr/>
          </p:nvSpPr>
          <p:spPr>
            <a:xfrm>
              <a:off x="161716" y="5843847"/>
              <a:ext cx="598716" cy="145321"/>
            </a:xfrm>
            <a:prstGeom prst="flowChartAlternateProcess">
              <a:avLst/>
            </a:prstGeom>
            <a:solidFill>
              <a:srgbClr val="7FD2D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Vinci Sans Light"/>
                  <a:ea typeface="+mn-ea"/>
                  <a:cs typeface="+mn-cs"/>
                </a:rPr>
                <a:t>Process Step</a:t>
              </a:r>
            </a:p>
          </p:txBody>
        </p:sp>
        <p:sp>
          <p:nvSpPr>
            <p:cNvPr id="16" name="Flowchart: Decision 96">
              <a:extLst>
                <a:ext uri="{FF2B5EF4-FFF2-40B4-BE49-F238E27FC236}">
                  <a16:creationId xmlns:a16="http://schemas.microsoft.com/office/drawing/2014/main" id="{99528ED5-58A2-9752-2A2B-6A15AF4BD91D}"/>
                </a:ext>
              </a:extLst>
            </p:cNvPr>
            <p:cNvSpPr/>
            <p:nvPr/>
          </p:nvSpPr>
          <p:spPr>
            <a:xfrm>
              <a:off x="841916" y="5779400"/>
              <a:ext cx="549751" cy="274214"/>
            </a:xfrm>
            <a:prstGeom prst="flowChartDecision">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Vinci Sans Light"/>
                  <a:ea typeface="+mn-ea"/>
                  <a:cs typeface="+mn-cs"/>
                </a:rPr>
                <a:t>Process Decision </a:t>
              </a:r>
            </a:p>
          </p:txBody>
        </p:sp>
      </p:grpSp>
      <p:sp>
        <p:nvSpPr>
          <p:cNvPr id="46" name="Flowchart: Alternate Process 85">
            <a:extLst>
              <a:ext uri="{FF2B5EF4-FFF2-40B4-BE49-F238E27FC236}">
                <a16:creationId xmlns:a16="http://schemas.microsoft.com/office/drawing/2014/main" id="{D044A624-07F0-CF56-BEA4-4E3F7F200431}"/>
              </a:ext>
            </a:extLst>
          </p:cNvPr>
          <p:cNvSpPr/>
          <p:nvPr/>
        </p:nvSpPr>
        <p:spPr>
          <a:xfrm>
            <a:off x="8216953" y="939215"/>
            <a:ext cx="953267" cy="720000"/>
          </a:xfrm>
          <a:prstGeom prst="flowChartAlternateProcess">
            <a:avLst/>
          </a:prstGeom>
          <a:solidFill>
            <a:srgbClr val="7FD2D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rgbClr val="FFFFFF"/>
                </a:solidFill>
                <a:latin typeface="Graphik"/>
              </a:rPr>
              <a:t>5.0 New product </a:t>
            </a:r>
            <a:r>
              <a:rPr lang="en-US" sz="900" err="1">
                <a:solidFill>
                  <a:srgbClr val="FFFFFF"/>
                </a:solidFill>
                <a:latin typeface="Graphik"/>
              </a:rPr>
              <a:t>developpment</a:t>
            </a:r>
            <a:endParaRPr kumimoji="0" lang="en-US" sz="900" b="0" i="0" u="none" strike="noStrike" kern="1200" cap="none" spc="0" normalizeH="0" baseline="0" noProof="0">
              <a:ln>
                <a:noFill/>
              </a:ln>
              <a:solidFill>
                <a:srgbClr val="FFFFFF"/>
              </a:solidFill>
              <a:effectLst/>
              <a:uLnTx/>
              <a:uFillTx/>
              <a:latin typeface="Graphik"/>
              <a:ea typeface="+mn-ea"/>
              <a:cs typeface="+mn-cs"/>
            </a:endParaRPr>
          </a:p>
        </p:txBody>
      </p:sp>
      <p:cxnSp>
        <p:nvCxnSpPr>
          <p:cNvPr id="49" name="Connector: Elbow 18">
            <a:extLst>
              <a:ext uri="{FF2B5EF4-FFF2-40B4-BE49-F238E27FC236}">
                <a16:creationId xmlns:a16="http://schemas.microsoft.com/office/drawing/2014/main" id="{4FB1B523-8581-2683-A4C2-7D5882C0122C}"/>
              </a:ext>
            </a:extLst>
          </p:cNvPr>
          <p:cNvCxnSpPr>
            <a:cxnSpLocks/>
            <a:stCxn id="198" idx="3"/>
            <a:endCxn id="46" idx="1"/>
          </p:cNvCxnSpPr>
          <p:nvPr/>
        </p:nvCxnSpPr>
        <p:spPr>
          <a:xfrm flipV="1">
            <a:off x="7826872" y="1299215"/>
            <a:ext cx="390081" cy="1593795"/>
          </a:xfrm>
          <a:prstGeom prst="bentConnector3">
            <a:avLst>
              <a:gd name="adj1" fmla="val 50000"/>
            </a:avLst>
          </a:prstGeom>
          <a:ln w="12700">
            <a:solidFill>
              <a:schemeClr val="accent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78" name="Connector: Elbow 18">
            <a:extLst>
              <a:ext uri="{FF2B5EF4-FFF2-40B4-BE49-F238E27FC236}">
                <a16:creationId xmlns:a16="http://schemas.microsoft.com/office/drawing/2014/main" id="{2569E60E-9599-83F0-F1F0-E365CB3DD59C}"/>
              </a:ext>
            </a:extLst>
          </p:cNvPr>
          <p:cNvCxnSpPr>
            <a:cxnSpLocks/>
            <a:stCxn id="46" idx="3"/>
            <a:endCxn id="41" idx="1"/>
          </p:cNvCxnSpPr>
          <p:nvPr/>
        </p:nvCxnSpPr>
        <p:spPr>
          <a:xfrm>
            <a:off x="9170220" y="1299215"/>
            <a:ext cx="509832" cy="1148329"/>
          </a:xfrm>
          <a:prstGeom prst="bentConnector3">
            <a:avLst>
              <a:gd name="adj1" fmla="val 50000"/>
            </a:avLst>
          </a:prstGeom>
          <a:ln w="12700">
            <a:solidFill>
              <a:schemeClr val="accent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82" name="ZoneTexte 81">
            <a:extLst>
              <a:ext uri="{FF2B5EF4-FFF2-40B4-BE49-F238E27FC236}">
                <a16:creationId xmlns:a16="http://schemas.microsoft.com/office/drawing/2014/main" id="{FE6A7E02-ACB6-259A-D13E-21A5D2B1CCB3}"/>
              </a:ext>
            </a:extLst>
          </p:cNvPr>
          <p:cNvSpPr txBox="1"/>
          <p:nvPr/>
        </p:nvSpPr>
        <p:spPr>
          <a:xfrm>
            <a:off x="8421001" y="5951626"/>
            <a:ext cx="6157912" cy="307777"/>
          </a:xfrm>
          <a:prstGeom prst="rect">
            <a:avLst/>
          </a:prstGeom>
          <a:noFill/>
        </p:spPr>
        <p:txBody>
          <a:bodyPr wrap="square">
            <a:spAutoFit/>
          </a:bodyPr>
          <a:lstStyle/>
          <a:p>
            <a:r>
              <a:rPr lang="en-US" sz="1400">
                <a:solidFill>
                  <a:schemeClr val="accent1"/>
                </a:solidFill>
              </a:rPr>
              <a:t>* Optionally, Data Office can help with step 5.0</a:t>
            </a:r>
            <a:endParaRPr lang="fr-FR" sz="1400">
              <a:solidFill>
                <a:schemeClr val="accent1"/>
              </a:solidFill>
            </a:endParaRPr>
          </a:p>
        </p:txBody>
      </p:sp>
      <p:grpSp>
        <p:nvGrpSpPr>
          <p:cNvPr id="94" name="Groupe 93">
            <a:extLst>
              <a:ext uri="{FF2B5EF4-FFF2-40B4-BE49-F238E27FC236}">
                <a16:creationId xmlns:a16="http://schemas.microsoft.com/office/drawing/2014/main" id="{8AB5BD18-BACE-BDAE-A056-D56E6B6292B7}"/>
              </a:ext>
            </a:extLst>
          </p:cNvPr>
          <p:cNvGrpSpPr/>
          <p:nvPr/>
        </p:nvGrpSpPr>
        <p:grpSpPr>
          <a:xfrm>
            <a:off x="233026" y="943680"/>
            <a:ext cx="564013" cy="791805"/>
            <a:chOff x="233026" y="1991597"/>
            <a:chExt cx="564013" cy="791805"/>
          </a:xfrm>
        </p:grpSpPr>
        <p:grpSp>
          <p:nvGrpSpPr>
            <p:cNvPr id="92" name="Groupe 91">
              <a:extLst>
                <a:ext uri="{FF2B5EF4-FFF2-40B4-BE49-F238E27FC236}">
                  <a16:creationId xmlns:a16="http://schemas.microsoft.com/office/drawing/2014/main" id="{334414A8-301E-B80D-8713-3AE16AB7ABC2}"/>
                </a:ext>
              </a:extLst>
            </p:cNvPr>
            <p:cNvGrpSpPr/>
            <p:nvPr/>
          </p:nvGrpSpPr>
          <p:grpSpPr>
            <a:xfrm>
              <a:off x="317032" y="1991597"/>
              <a:ext cx="396000" cy="396000"/>
              <a:chOff x="963033" y="1638703"/>
              <a:chExt cx="644441" cy="644441"/>
            </a:xfrm>
          </p:grpSpPr>
          <p:sp>
            <p:nvSpPr>
              <p:cNvPr id="85" name="Ellipse 84">
                <a:extLst>
                  <a:ext uri="{FF2B5EF4-FFF2-40B4-BE49-F238E27FC236}">
                    <a16:creationId xmlns:a16="http://schemas.microsoft.com/office/drawing/2014/main" id="{67AB8C95-BD7D-69B3-129B-9EA71A9D846B}"/>
                  </a:ext>
                </a:extLst>
              </p:cNvPr>
              <p:cNvSpPr/>
              <p:nvPr/>
            </p:nvSpPr>
            <p:spPr>
              <a:xfrm>
                <a:off x="963033" y="1638703"/>
                <a:ext cx="644441" cy="644441"/>
              </a:xfrm>
              <a:prstGeom prst="ellipse">
                <a:avLst/>
              </a:prstGeom>
              <a:solidFill>
                <a:srgbClr val="00B0AD">
                  <a:alpha val="5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latin typeface="Graphik" panose="020B0503030202060203" pitchFamily="34" charset="0"/>
                </a:endParaRPr>
              </a:p>
            </p:txBody>
          </p:sp>
          <p:pic>
            <p:nvPicPr>
              <p:cNvPr id="83" name="Image 82">
                <a:extLst>
                  <a:ext uri="{FF2B5EF4-FFF2-40B4-BE49-F238E27FC236}">
                    <a16:creationId xmlns:a16="http://schemas.microsoft.com/office/drawing/2014/main" id="{7FD76B97-DC65-CB49-4C5B-B7162A684B46}"/>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15253" y="1690923"/>
                <a:ext cx="540000" cy="540000"/>
              </a:xfrm>
              <a:prstGeom prst="rect">
                <a:avLst/>
              </a:prstGeom>
            </p:spPr>
          </p:pic>
        </p:grpSp>
        <p:sp>
          <p:nvSpPr>
            <p:cNvPr id="84" name="ZoneTexte 83">
              <a:extLst>
                <a:ext uri="{FF2B5EF4-FFF2-40B4-BE49-F238E27FC236}">
                  <a16:creationId xmlns:a16="http://schemas.microsoft.com/office/drawing/2014/main" id="{DD053BEB-5FD4-2AA6-FE06-E379F36B9CFC}"/>
                </a:ext>
              </a:extLst>
            </p:cNvPr>
            <p:cNvSpPr txBox="1"/>
            <p:nvPr/>
          </p:nvSpPr>
          <p:spPr>
            <a:xfrm>
              <a:off x="233026" y="2387533"/>
              <a:ext cx="564013" cy="395869"/>
            </a:xfrm>
            <a:prstGeom prst="rect">
              <a:avLst/>
            </a:prstGeom>
            <a:noFill/>
          </p:spPr>
          <p:txBody>
            <a:bodyPr wrap="square" lIns="36000" tIns="36000" rIns="36000" bIns="36000" rtlCol="0">
              <a:spAutoFit/>
            </a:bodyPr>
            <a:lstStyle/>
            <a:p>
              <a:pPr algn="ctr">
                <a:spcBef>
                  <a:spcPts val="600"/>
                </a:spcBef>
              </a:pPr>
              <a:r>
                <a:rPr lang="en-US" sz="800" b="1"/>
                <a:t>Data </a:t>
              </a:r>
            </a:p>
            <a:p>
              <a:pPr algn="ctr">
                <a:spcBef>
                  <a:spcPts val="600"/>
                </a:spcBef>
              </a:pPr>
              <a:r>
                <a:rPr lang="en-US" sz="800" b="1"/>
                <a:t>Factory</a:t>
              </a:r>
            </a:p>
          </p:txBody>
        </p:sp>
      </p:grpSp>
      <p:grpSp>
        <p:nvGrpSpPr>
          <p:cNvPr id="93" name="Groupe 92">
            <a:extLst>
              <a:ext uri="{FF2B5EF4-FFF2-40B4-BE49-F238E27FC236}">
                <a16:creationId xmlns:a16="http://schemas.microsoft.com/office/drawing/2014/main" id="{7055D30D-FF06-25B9-5FCE-742DE75D0185}"/>
              </a:ext>
            </a:extLst>
          </p:cNvPr>
          <p:cNvGrpSpPr/>
          <p:nvPr/>
        </p:nvGrpSpPr>
        <p:grpSpPr>
          <a:xfrm>
            <a:off x="-74756" y="1802782"/>
            <a:ext cx="1179576" cy="726244"/>
            <a:chOff x="-74756" y="1056445"/>
            <a:chExt cx="1179576" cy="726244"/>
          </a:xfrm>
        </p:grpSpPr>
        <p:grpSp>
          <p:nvGrpSpPr>
            <p:cNvPr id="88" name="Groupe 87">
              <a:extLst>
                <a:ext uri="{FF2B5EF4-FFF2-40B4-BE49-F238E27FC236}">
                  <a16:creationId xmlns:a16="http://schemas.microsoft.com/office/drawing/2014/main" id="{2FFE8DC0-9DA8-1659-F9A7-D2EF73EB2A52}"/>
                </a:ext>
              </a:extLst>
            </p:cNvPr>
            <p:cNvGrpSpPr/>
            <p:nvPr/>
          </p:nvGrpSpPr>
          <p:grpSpPr>
            <a:xfrm>
              <a:off x="317032" y="1056445"/>
              <a:ext cx="396000" cy="396000"/>
              <a:chOff x="728400" y="1697531"/>
              <a:chExt cx="810000" cy="810000"/>
            </a:xfrm>
          </p:grpSpPr>
          <p:sp>
            <p:nvSpPr>
              <p:cNvPr id="89" name="Ellipse 88">
                <a:extLst>
                  <a:ext uri="{FF2B5EF4-FFF2-40B4-BE49-F238E27FC236}">
                    <a16:creationId xmlns:a16="http://schemas.microsoft.com/office/drawing/2014/main" id="{6F488C5D-E408-1573-9571-4CDCADFC2118}"/>
                  </a:ext>
                </a:extLst>
              </p:cNvPr>
              <p:cNvSpPr/>
              <p:nvPr/>
            </p:nvSpPr>
            <p:spPr>
              <a:xfrm>
                <a:off x="728400" y="1697531"/>
                <a:ext cx="810000" cy="810000"/>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latin typeface="Graphik" panose="020B0503030202060203" pitchFamily="34" charset="0"/>
                </a:endParaRPr>
              </a:p>
            </p:txBody>
          </p:sp>
          <p:pic>
            <p:nvPicPr>
              <p:cNvPr id="90" name="Picture 74" descr="A picture containing vector graphics&#10;&#10;Description automatically generated">
                <a:extLst>
                  <a:ext uri="{FF2B5EF4-FFF2-40B4-BE49-F238E27FC236}">
                    <a16:creationId xmlns:a16="http://schemas.microsoft.com/office/drawing/2014/main" id="{242B5114-87B6-7B2E-CF49-E52CE5C5C30F}"/>
                  </a:ext>
                </a:extLst>
              </p:cNvPr>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93200" y="1762331"/>
                <a:ext cx="680400" cy="680400"/>
              </a:xfrm>
              <a:prstGeom prst="rect">
                <a:avLst/>
              </a:prstGeom>
            </p:spPr>
          </p:pic>
        </p:grpSp>
        <p:sp>
          <p:nvSpPr>
            <p:cNvPr id="91" name="TextBox 28">
              <a:extLst>
                <a:ext uri="{FF2B5EF4-FFF2-40B4-BE49-F238E27FC236}">
                  <a16:creationId xmlns:a16="http://schemas.microsoft.com/office/drawing/2014/main" id="{C7D5CD76-5E0E-492E-53AF-D7D0DBB16A3F}"/>
                </a:ext>
              </a:extLst>
            </p:cNvPr>
            <p:cNvSpPr txBox="1"/>
            <p:nvPr/>
          </p:nvSpPr>
          <p:spPr>
            <a:xfrm>
              <a:off x="-74756" y="1455189"/>
              <a:ext cx="1179576" cy="327500"/>
            </a:xfrm>
            <a:prstGeom prst="rect">
              <a:avLst/>
            </a:prstGeom>
            <a:noFill/>
          </p:spPr>
          <p:txBody>
            <a:bodyPr wrap="square" lIns="0" tIns="0" rIns="0" bIns="0" rtlCol="0">
              <a:no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Data</a:t>
              </a:r>
            </a:p>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Office</a:t>
              </a:r>
            </a:p>
          </p:txBody>
        </p:sp>
      </p:grpSp>
      <p:cxnSp>
        <p:nvCxnSpPr>
          <p:cNvPr id="96" name="Straight Connector 127">
            <a:extLst>
              <a:ext uri="{FF2B5EF4-FFF2-40B4-BE49-F238E27FC236}">
                <a16:creationId xmlns:a16="http://schemas.microsoft.com/office/drawing/2014/main" id="{477C04CA-2779-B79D-44EB-CD3439608682}"/>
              </a:ext>
            </a:extLst>
          </p:cNvPr>
          <p:cNvCxnSpPr/>
          <p:nvPr/>
        </p:nvCxnSpPr>
        <p:spPr>
          <a:xfrm>
            <a:off x="861072" y="1728912"/>
            <a:ext cx="10836525"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2" name="Connector: Elbow 18">
            <a:extLst>
              <a:ext uri="{FF2B5EF4-FFF2-40B4-BE49-F238E27FC236}">
                <a16:creationId xmlns:a16="http://schemas.microsoft.com/office/drawing/2014/main" id="{5402E9F1-4701-2517-C8CD-AE97A2E23B60}"/>
              </a:ext>
            </a:extLst>
          </p:cNvPr>
          <p:cNvCxnSpPr>
            <a:cxnSpLocks/>
          </p:cNvCxnSpPr>
          <p:nvPr/>
        </p:nvCxnSpPr>
        <p:spPr>
          <a:xfrm flipV="1">
            <a:off x="3550312" y="2853114"/>
            <a:ext cx="2361896" cy="937202"/>
          </a:xfrm>
          <a:prstGeom prst="bentConnector2">
            <a:avLst/>
          </a:prstGeom>
          <a:ln w="12700">
            <a:solidFill>
              <a:schemeClr val="accent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98" name="Flowchart: Alternate Process 85">
            <a:extLst>
              <a:ext uri="{FF2B5EF4-FFF2-40B4-BE49-F238E27FC236}">
                <a16:creationId xmlns:a16="http://schemas.microsoft.com/office/drawing/2014/main" id="{4AE796F1-264B-D27B-325A-B0C428E3AD60}"/>
              </a:ext>
            </a:extLst>
          </p:cNvPr>
          <p:cNvSpPr/>
          <p:nvPr/>
        </p:nvSpPr>
        <p:spPr>
          <a:xfrm>
            <a:off x="6868156" y="2533010"/>
            <a:ext cx="958716" cy="720000"/>
          </a:xfrm>
          <a:prstGeom prst="flowChartAlternateProcess">
            <a:avLst/>
          </a:prstGeom>
          <a:solidFill>
            <a:srgbClr val="7FD2D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rgbClr val="FFFFFF"/>
                </a:solidFill>
                <a:latin typeface="Graphik"/>
              </a:rPr>
              <a:t>4.0 New product specification *</a:t>
            </a:r>
            <a:endParaRPr kumimoji="0" lang="en-US" sz="900" b="0" i="0" u="none" strike="noStrike" kern="1200" cap="none" spc="0" normalizeH="0" baseline="0" noProof="0">
              <a:ln>
                <a:noFill/>
              </a:ln>
              <a:solidFill>
                <a:srgbClr val="FFFFFF"/>
              </a:solidFill>
              <a:effectLst/>
              <a:uLnTx/>
              <a:uFillTx/>
              <a:latin typeface="Graphik"/>
              <a:ea typeface="+mn-ea"/>
              <a:cs typeface="+mn-cs"/>
            </a:endParaRPr>
          </a:p>
        </p:txBody>
      </p:sp>
      <p:sp>
        <p:nvSpPr>
          <p:cNvPr id="200" name="Flowchart: Alternate Process 84">
            <a:extLst>
              <a:ext uri="{FF2B5EF4-FFF2-40B4-BE49-F238E27FC236}">
                <a16:creationId xmlns:a16="http://schemas.microsoft.com/office/drawing/2014/main" id="{09698E6C-D338-3104-1F88-1652F8770423}"/>
              </a:ext>
            </a:extLst>
          </p:cNvPr>
          <p:cNvSpPr/>
          <p:nvPr/>
        </p:nvSpPr>
        <p:spPr>
          <a:xfrm>
            <a:off x="4056260" y="2533010"/>
            <a:ext cx="900000" cy="720000"/>
          </a:xfrm>
          <a:prstGeom prst="flowChartAlternateProcess">
            <a:avLst/>
          </a:prstGeom>
          <a:solidFill>
            <a:srgbClr val="7FD2D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a:solidFill>
                  <a:srgbClr val="FFFFFF"/>
                </a:solidFill>
                <a:latin typeface="Graphik"/>
              </a:rPr>
              <a:t>3.1 Close ticket by denying request</a:t>
            </a:r>
          </a:p>
        </p:txBody>
      </p:sp>
      <p:sp>
        <p:nvSpPr>
          <p:cNvPr id="201" name="Flowchart: Alternate Process 85">
            <a:extLst>
              <a:ext uri="{FF2B5EF4-FFF2-40B4-BE49-F238E27FC236}">
                <a16:creationId xmlns:a16="http://schemas.microsoft.com/office/drawing/2014/main" id="{E2F6EE69-5637-A5C9-FFE1-F9A41432FF95}"/>
              </a:ext>
            </a:extLst>
          </p:cNvPr>
          <p:cNvSpPr/>
          <p:nvPr/>
        </p:nvSpPr>
        <p:spPr>
          <a:xfrm>
            <a:off x="5462208" y="2530679"/>
            <a:ext cx="900000" cy="720000"/>
          </a:xfrm>
          <a:prstGeom prst="flowChartAlternateProcess">
            <a:avLst/>
          </a:prstGeom>
          <a:solidFill>
            <a:srgbClr val="7FD2D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rgbClr val="FFFFFF"/>
                </a:solidFill>
                <a:latin typeface="Graphik"/>
              </a:rPr>
              <a:t>3.2 Inform Data Office</a:t>
            </a:r>
            <a:endParaRPr kumimoji="0" lang="en-US" sz="900" b="0" i="0" u="none" strike="noStrike" kern="1200" cap="none" spc="0" normalizeH="0" baseline="0" noProof="0">
              <a:ln>
                <a:noFill/>
              </a:ln>
              <a:solidFill>
                <a:srgbClr val="FFFFFF"/>
              </a:solidFill>
              <a:effectLst/>
              <a:uLnTx/>
              <a:uFillTx/>
              <a:latin typeface="Graphik"/>
              <a:ea typeface="+mn-ea"/>
              <a:cs typeface="+mn-cs"/>
            </a:endParaRPr>
          </a:p>
        </p:txBody>
      </p:sp>
      <p:sp>
        <p:nvSpPr>
          <p:cNvPr id="21" name="ZoneTexte 20">
            <a:extLst>
              <a:ext uri="{FF2B5EF4-FFF2-40B4-BE49-F238E27FC236}">
                <a16:creationId xmlns:a16="http://schemas.microsoft.com/office/drawing/2014/main" id="{3DDEC655-7DDF-CF15-FFDD-AA7691D97F91}"/>
              </a:ext>
            </a:extLst>
          </p:cNvPr>
          <p:cNvSpPr txBox="1"/>
          <p:nvPr/>
        </p:nvSpPr>
        <p:spPr>
          <a:xfrm>
            <a:off x="1418946" y="5192042"/>
            <a:ext cx="960519" cy="230832"/>
          </a:xfrm>
          <a:prstGeom prst="rect">
            <a:avLst/>
          </a:prstGeom>
          <a:noFill/>
        </p:spPr>
        <p:txBody>
          <a:bodyPr wrap="none" rtlCol="0">
            <a:spAutoFit/>
          </a:bodyPr>
          <a:lstStyle/>
          <a:p>
            <a:pPr algn="ctr"/>
            <a:r>
              <a:rPr lang="en-US" sz="900" b="1"/>
              <a:t>Data Marketplace</a:t>
            </a:r>
          </a:p>
        </p:txBody>
      </p:sp>
      <p:pic>
        <p:nvPicPr>
          <p:cNvPr id="22" name="Graphique 21">
            <a:extLst>
              <a:ext uri="{FF2B5EF4-FFF2-40B4-BE49-F238E27FC236}">
                <a16:creationId xmlns:a16="http://schemas.microsoft.com/office/drawing/2014/main" id="{216EEB34-8BD6-C3D5-70C5-F16B331FF26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764206" y="4904101"/>
            <a:ext cx="270000" cy="270000"/>
          </a:xfrm>
          <a:prstGeom prst="ellipse">
            <a:avLst/>
          </a:prstGeom>
        </p:spPr>
      </p:pic>
      <p:sp>
        <p:nvSpPr>
          <p:cNvPr id="23" name="ZoneTexte 22">
            <a:extLst>
              <a:ext uri="{FF2B5EF4-FFF2-40B4-BE49-F238E27FC236}">
                <a16:creationId xmlns:a16="http://schemas.microsoft.com/office/drawing/2014/main" id="{7226EAA2-4B4D-C841-7334-E3A9CCC0EBD4}"/>
              </a:ext>
            </a:extLst>
          </p:cNvPr>
          <p:cNvSpPr txBox="1"/>
          <p:nvPr/>
        </p:nvSpPr>
        <p:spPr>
          <a:xfrm>
            <a:off x="4411689" y="3352887"/>
            <a:ext cx="960519" cy="230832"/>
          </a:xfrm>
          <a:prstGeom prst="rect">
            <a:avLst/>
          </a:prstGeom>
          <a:noFill/>
        </p:spPr>
        <p:txBody>
          <a:bodyPr wrap="none" rtlCol="0">
            <a:spAutoFit/>
          </a:bodyPr>
          <a:lstStyle/>
          <a:p>
            <a:pPr algn="ctr"/>
            <a:r>
              <a:rPr lang="en-US" sz="900" b="1"/>
              <a:t>Data Marketplace</a:t>
            </a:r>
          </a:p>
        </p:txBody>
      </p:sp>
      <p:pic>
        <p:nvPicPr>
          <p:cNvPr id="24" name="Graphique 23">
            <a:extLst>
              <a:ext uri="{FF2B5EF4-FFF2-40B4-BE49-F238E27FC236}">
                <a16:creationId xmlns:a16="http://schemas.microsoft.com/office/drawing/2014/main" id="{EF8554D2-F8A7-638A-716C-AB21FE67087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756949" y="3064946"/>
            <a:ext cx="270000" cy="270000"/>
          </a:xfrm>
          <a:prstGeom prst="ellipse">
            <a:avLst/>
          </a:prstGeom>
        </p:spPr>
      </p:pic>
      <p:sp>
        <p:nvSpPr>
          <p:cNvPr id="27" name="ZoneTexte 26">
            <a:extLst>
              <a:ext uri="{FF2B5EF4-FFF2-40B4-BE49-F238E27FC236}">
                <a16:creationId xmlns:a16="http://schemas.microsoft.com/office/drawing/2014/main" id="{326E98E1-A7CD-17EA-D3FB-E1EC7E508228}"/>
              </a:ext>
            </a:extLst>
          </p:cNvPr>
          <p:cNvSpPr txBox="1"/>
          <p:nvPr/>
        </p:nvSpPr>
        <p:spPr>
          <a:xfrm>
            <a:off x="7330880" y="3386317"/>
            <a:ext cx="960519" cy="230832"/>
          </a:xfrm>
          <a:prstGeom prst="rect">
            <a:avLst/>
          </a:prstGeom>
          <a:noFill/>
        </p:spPr>
        <p:txBody>
          <a:bodyPr wrap="none" rtlCol="0">
            <a:spAutoFit/>
          </a:bodyPr>
          <a:lstStyle/>
          <a:p>
            <a:pPr algn="ctr"/>
            <a:r>
              <a:rPr lang="en-US" sz="900" b="1"/>
              <a:t>Data Marketplace</a:t>
            </a:r>
          </a:p>
        </p:txBody>
      </p:sp>
      <p:pic>
        <p:nvPicPr>
          <p:cNvPr id="28" name="Graphique 27">
            <a:extLst>
              <a:ext uri="{FF2B5EF4-FFF2-40B4-BE49-F238E27FC236}">
                <a16:creationId xmlns:a16="http://schemas.microsoft.com/office/drawing/2014/main" id="{27AB2617-E1CB-71AC-EDD4-E33C864109F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76140" y="3098376"/>
            <a:ext cx="270000" cy="270000"/>
          </a:xfrm>
          <a:prstGeom prst="ellipse">
            <a:avLst/>
          </a:prstGeom>
        </p:spPr>
      </p:pic>
      <p:sp>
        <p:nvSpPr>
          <p:cNvPr id="29" name="ZoneTexte 28">
            <a:extLst>
              <a:ext uri="{FF2B5EF4-FFF2-40B4-BE49-F238E27FC236}">
                <a16:creationId xmlns:a16="http://schemas.microsoft.com/office/drawing/2014/main" id="{2E049496-A7D2-DB17-3233-7D983AD75DB4}"/>
              </a:ext>
            </a:extLst>
          </p:cNvPr>
          <p:cNvSpPr txBox="1"/>
          <p:nvPr/>
        </p:nvSpPr>
        <p:spPr>
          <a:xfrm>
            <a:off x="10064994" y="2948981"/>
            <a:ext cx="960519" cy="230832"/>
          </a:xfrm>
          <a:prstGeom prst="rect">
            <a:avLst/>
          </a:prstGeom>
          <a:noFill/>
        </p:spPr>
        <p:txBody>
          <a:bodyPr wrap="none" rtlCol="0">
            <a:spAutoFit/>
          </a:bodyPr>
          <a:lstStyle/>
          <a:p>
            <a:pPr algn="ctr"/>
            <a:r>
              <a:rPr lang="en-US" sz="900" b="1"/>
              <a:t>Data Marketplace</a:t>
            </a:r>
          </a:p>
        </p:txBody>
      </p:sp>
      <p:pic>
        <p:nvPicPr>
          <p:cNvPr id="30" name="Graphique 29">
            <a:extLst>
              <a:ext uri="{FF2B5EF4-FFF2-40B4-BE49-F238E27FC236}">
                <a16:creationId xmlns:a16="http://schemas.microsoft.com/office/drawing/2014/main" id="{19BAA6C3-EA7A-9041-B9F9-A0DFEAB9632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410254" y="2661040"/>
            <a:ext cx="270000" cy="270000"/>
          </a:xfrm>
          <a:prstGeom prst="ellipse">
            <a:avLst/>
          </a:prstGeom>
        </p:spPr>
      </p:pic>
      <p:sp>
        <p:nvSpPr>
          <p:cNvPr id="37" name="ZoneTexte 36">
            <a:extLst>
              <a:ext uri="{FF2B5EF4-FFF2-40B4-BE49-F238E27FC236}">
                <a16:creationId xmlns:a16="http://schemas.microsoft.com/office/drawing/2014/main" id="{8447D738-A8E1-18EB-7AFF-A9426B017121}"/>
              </a:ext>
            </a:extLst>
          </p:cNvPr>
          <p:cNvSpPr txBox="1"/>
          <p:nvPr/>
        </p:nvSpPr>
        <p:spPr>
          <a:xfrm>
            <a:off x="11242000" y="5232181"/>
            <a:ext cx="960519" cy="230832"/>
          </a:xfrm>
          <a:prstGeom prst="rect">
            <a:avLst/>
          </a:prstGeom>
          <a:noFill/>
        </p:spPr>
        <p:txBody>
          <a:bodyPr wrap="none" rtlCol="0">
            <a:spAutoFit/>
          </a:bodyPr>
          <a:lstStyle/>
          <a:p>
            <a:pPr algn="ctr"/>
            <a:r>
              <a:rPr lang="en-US" sz="900" b="1"/>
              <a:t>Data Marketplace</a:t>
            </a:r>
          </a:p>
        </p:txBody>
      </p:sp>
      <p:pic>
        <p:nvPicPr>
          <p:cNvPr id="38" name="Graphique 37">
            <a:extLst>
              <a:ext uri="{FF2B5EF4-FFF2-40B4-BE49-F238E27FC236}">
                <a16:creationId xmlns:a16="http://schemas.microsoft.com/office/drawing/2014/main" id="{356ECF80-3CBC-3B83-7435-421B1EB8ABF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587260" y="4944240"/>
            <a:ext cx="270000" cy="270000"/>
          </a:xfrm>
          <a:prstGeom prst="ellipse">
            <a:avLst/>
          </a:prstGeom>
        </p:spPr>
      </p:pic>
      <p:pic>
        <p:nvPicPr>
          <p:cNvPr id="42" name="Graphique 41">
            <a:extLst>
              <a:ext uri="{FF2B5EF4-FFF2-40B4-BE49-F238E27FC236}">
                <a16:creationId xmlns:a16="http://schemas.microsoft.com/office/drawing/2014/main" id="{2EBA6EDA-A7BA-F5E9-3FD4-AF3BBA5755B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578014" y="2609550"/>
            <a:ext cx="270000" cy="270000"/>
          </a:xfrm>
          <a:prstGeom prst="ellipse">
            <a:avLst/>
          </a:prstGeom>
        </p:spPr>
      </p:pic>
      <p:sp>
        <p:nvSpPr>
          <p:cNvPr id="43" name="ZoneTexte 42">
            <a:extLst>
              <a:ext uri="{FF2B5EF4-FFF2-40B4-BE49-F238E27FC236}">
                <a16:creationId xmlns:a16="http://schemas.microsoft.com/office/drawing/2014/main" id="{4DEB4D4C-1E7C-7D21-3ECB-12B82EB8C13D}"/>
              </a:ext>
            </a:extLst>
          </p:cNvPr>
          <p:cNvSpPr txBox="1"/>
          <p:nvPr/>
        </p:nvSpPr>
        <p:spPr>
          <a:xfrm>
            <a:off x="9245875" y="2943564"/>
            <a:ext cx="934278" cy="230832"/>
          </a:xfrm>
          <a:prstGeom prst="rect">
            <a:avLst/>
          </a:prstGeom>
          <a:noFill/>
        </p:spPr>
        <p:txBody>
          <a:bodyPr wrap="square" rtlCol="0">
            <a:spAutoFit/>
          </a:bodyPr>
          <a:lstStyle/>
          <a:p>
            <a:pPr algn="ctr"/>
            <a:r>
              <a:rPr lang="fr-FR" sz="900" b="1"/>
              <a:t>Data </a:t>
            </a:r>
            <a:r>
              <a:rPr lang="fr-FR" sz="900" b="1" err="1"/>
              <a:t>Catalog</a:t>
            </a:r>
            <a:endParaRPr lang="fr-FR" sz="900" b="1"/>
          </a:p>
        </p:txBody>
      </p:sp>
      <p:sp>
        <p:nvSpPr>
          <p:cNvPr id="2" name="Rectangle 1">
            <a:extLst>
              <a:ext uri="{FF2B5EF4-FFF2-40B4-BE49-F238E27FC236}">
                <a16:creationId xmlns:a16="http://schemas.microsoft.com/office/drawing/2014/main" id="{9674A7BA-45C2-FF5A-2BB5-DF2A8397D579}"/>
              </a:ext>
            </a:extLst>
          </p:cNvPr>
          <p:cNvSpPr/>
          <p:nvPr/>
        </p:nvSpPr>
        <p:spPr>
          <a:xfrm>
            <a:off x="0" y="0"/>
            <a:ext cx="12182394" cy="6858000"/>
          </a:xfrm>
          <a:prstGeom prst="rect">
            <a:avLst/>
          </a:prstGeom>
          <a:solidFill>
            <a:schemeClr val="bg1">
              <a:lumMod val="95000"/>
              <a:alpha val="50000"/>
            </a:schemeClr>
          </a:solidFill>
          <a:ln w="6350">
            <a:solidFill>
              <a:schemeClr val="accent6"/>
            </a:solid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a:solidFill>
                  <a:sysClr val="windowText" lastClr="000000"/>
                </a:solidFill>
              </a:rPr>
              <a:t>For </a:t>
            </a:r>
            <a:r>
              <a:rPr lang="fr-FR" err="1">
                <a:solidFill>
                  <a:sysClr val="windowText" lastClr="000000"/>
                </a:solidFill>
              </a:rPr>
              <a:t>Later</a:t>
            </a:r>
            <a:r>
              <a:rPr lang="fr-FR">
                <a:solidFill>
                  <a:sysClr val="windowText" lastClr="000000"/>
                </a:solidFill>
              </a:rPr>
              <a:t> Use</a:t>
            </a:r>
          </a:p>
        </p:txBody>
      </p:sp>
    </p:spTree>
    <p:extLst>
      <p:ext uri="{BB962C8B-B14F-4D97-AF65-F5344CB8AC3E}">
        <p14:creationId xmlns:p14="http://schemas.microsoft.com/office/powerpoint/2010/main" val="2251311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e 3">
            <a:extLst>
              <a:ext uri="{FF2B5EF4-FFF2-40B4-BE49-F238E27FC236}">
                <a16:creationId xmlns:a16="http://schemas.microsoft.com/office/drawing/2014/main" id="{16B03B20-392F-7A81-4025-C0EA01FDA6A4}"/>
              </a:ext>
            </a:extLst>
          </p:cNvPr>
          <p:cNvGrpSpPr/>
          <p:nvPr/>
        </p:nvGrpSpPr>
        <p:grpSpPr>
          <a:xfrm>
            <a:off x="301796" y="3559693"/>
            <a:ext cx="504000" cy="612094"/>
            <a:chOff x="242176" y="3436341"/>
            <a:chExt cx="504000" cy="612094"/>
          </a:xfrm>
        </p:grpSpPr>
        <p:sp>
          <p:nvSpPr>
            <p:cNvPr id="8" name="TextBox 67">
              <a:extLst>
                <a:ext uri="{FF2B5EF4-FFF2-40B4-BE49-F238E27FC236}">
                  <a16:creationId xmlns:a16="http://schemas.microsoft.com/office/drawing/2014/main" id="{74708410-C330-2367-C544-D72BF3B59C7E}"/>
                </a:ext>
              </a:extLst>
            </p:cNvPr>
            <p:cNvSpPr txBox="1"/>
            <p:nvPr/>
          </p:nvSpPr>
          <p:spPr>
            <a:xfrm>
              <a:off x="242176" y="3832435"/>
              <a:ext cx="504000" cy="216000"/>
            </a:xfrm>
            <a:prstGeom prst="rect">
              <a:avLst/>
            </a:prstGeom>
            <a:noFill/>
          </p:spPr>
          <p:txBody>
            <a:bodyPr wrap="square" lIns="0" tIns="0" rIns="0" bIns="0" rtlCol="0">
              <a:no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r>
                <a:rPr lang="en-US" sz="800" b="1">
                  <a:solidFill>
                    <a:srgbClr val="000000"/>
                  </a:solidFill>
                </a:rPr>
                <a:t>Data consumer</a:t>
              </a:r>
              <a:endParaRPr kumimoji="0" lang="en-US" sz="800" b="1" i="0" u="none" strike="noStrike" kern="1200" cap="none" spc="0" normalizeH="0" baseline="0" noProof="0">
                <a:ln>
                  <a:noFill/>
                </a:ln>
                <a:solidFill>
                  <a:srgbClr val="000000"/>
                </a:solidFill>
                <a:effectLst/>
                <a:uLnTx/>
                <a:uFillTx/>
              </a:endParaRPr>
            </a:p>
          </p:txBody>
        </p:sp>
        <p:grpSp>
          <p:nvGrpSpPr>
            <p:cNvPr id="10" name="Groupe 9">
              <a:extLst>
                <a:ext uri="{FF2B5EF4-FFF2-40B4-BE49-F238E27FC236}">
                  <a16:creationId xmlns:a16="http://schemas.microsoft.com/office/drawing/2014/main" id="{4B4E8EA4-9C3B-52F2-BC85-AEB5F62D551F}"/>
                </a:ext>
              </a:extLst>
            </p:cNvPr>
            <p:cNvGrpSpPr/>
            <p:nvPr/>
          </p:nvGrpSpPr>
          <p:grpSpPr>
            <a:xfrm>
              <a:off x="296129" y="3436341"/>
              <a:ext cx="396094" cy="396094"/>
              <a:chOff x="2367288" y="2338691"/>
              <a:chExt cx="644441" cy="644441"/>
            </a:xfrm>
          </p:grpSpPr>
          <p:sp>
            <p:nvSpPr>
              <p:cNvPr id="12" name="Ellipse 11">
                <a:extLst>
                  <a:ext uri="{FF2B5EF4-FFF2-40B4-BE49-F238E27FC236}">
                    <a16:creationId xmlns:a16="http://schemas.microsoft.com/office/drawing/2014/main" id="{C441679A-A6D6-8CA6-696F-EE5AAF4412CD}"/>
                  </a:ext>
                </a:extLst>
              </p:cNvPr>
              <p:cNvSpPr/>
              <p:nvPr/>
            </p:nvSpPr>
            <p:spPr>
              <a:xfrm>
                <a:off x="2367288" y="2338691"/>
                <a:ext cx="644441" cy="644441"/>
              </a:xfrm>
              <a:prstGeom prst="ellipse">
                <a:avLst/>
              </a:prstGeom>
              <a:solidFill>
                <a:srgbClr val="86D5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endParaRPr>
              </a:p>
            </p:txBody>
          </p:sp>
          <p:pic>
            <p:nvPicPr>
              <p:cNvPr id="13" name="Image 12">
                <a:extLst>
                  <a:ext uri="{FF2B5EF4-FFF2-40B4-BE49-F238E27FC236}">
                    <a16:creationId xmlns:a16="http://schemas.microsoft.com/office/drawing/2014/main" id="{BA923AD8-1548-096B-8A78-2AE4F6A7594A}"/>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2419508" y="2390911"/>
                <a:ext cx="539999" cy="540000"/>
              </a:xfrm>
              <a:prstGeom prst="rect">
                <a:avLst/>
              </a:prstGeom>
            </p:spPr>
          </p:pic>
        </p:grpSp>
      </p:grpSp>
      <p:sp>
        <p:nvSpPr>
          <p:cNvPr id="5" name="Titre 4">
            <a:extLst>
              <a:ext uri="{FF2B5EF4-FFF2-40B4-BE49-F238E27FC236}">
                <a16:creationId xmlns:a16="http://schemas.microsoft.com/office/drawing/2014/main" id="{7F3EE3B5-83B6-B09B-DF50-71723C71793B}"/>
              </a:ext>
            </a:extLst>
          </p:cNvPr>
          <p:cNvSpPr>
            <a:spLocks noGrp="1"/>
          </p:cNvSpPr>
          <p:nvPr>
            <p:ph type="title"/>
          </p:nvPr>
        </p:nvSpPr>
        <p:spPr>
          <a:prstGeom prst="rect">
            <a:avLst/>
          </a:prstGeom>
        </p:spPr>
        <p:txBody>
          <a:bodyPr/>
          <a:lstStyle/>
          <a:p>
            <a:r>
              <a:rPr lang="en-US">
                <a:solidFill>
                  <a:schemeClr val="tx2"/>
                </a:solidFill>
              </a:rPr>
              <a:t>Give Access </a:t>
            </a:r>
            <a:r>
              <a:rPr lang="en-US"/>
              <a:t>to Data Product in Data Marketplace</a:t>
            </a:r>
          </a:p>
        </p:txBody>
      </p:sp>
      <p:cxnSp>
        <p:nvCxnSpPr>
          <p:cNvPr id="33" name="Straight Connector 139">
            <a:extLst>
              <a:ext uri="{FF2B5EF4-FFF2-40B4-BE49-F238E27FC236}">
                <a16:creationId xmlns:a16="http://schemas.microsoft.com/office/drawing/2014/main" id="{AA5F7757-5F5B-DE6F-5597-0DA90EB44045}"/>
              </a:ext>
            </a:extLst>
          </p:cNvPr>
          <p:cNvCxnSpPr/>
          <p:nvPr/>
        </p:nvCxnSpPr>
        <p:spPr>
          <a:xfrm>
            <a:off x="907943" y="3453243"/>
            <a:ext cx="10836525"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2" name="Connector: Elbow 18">
            <a:extLst>
              <a:ext uri="{FF2B5EF4-FFF2-40B4-BE49-F238E27FC236}">
                <a16:creationId xmlns:a16="http://schemas.microsoft.com/office/drawing/2014/main" id="{CC1AC279-59AA-AA0F-177E-BD3980677B6C}"/>
              </a:ext>
            </a:extLst>
          </p:cNvPr>
          <p:cNvCxnSpPr>
            <a:cxnSpLocks/>
            <a:stCxn id="44" idx="2"/>
            <a:endCxn id="57" idx="1"/>
          </p:cNvCxnSpPr>
          <p:nvPr/>
        </p:nvCxnSpPr>
        <p:spPr>
          <a:xfrm rot="16200000" flipH="1">
            <a:off x="2961868" y="2312712"/>
            <a:ext cx="949095" cy="333663"/>
          </a:xfrm>
          <a:prstGeom prst="bentConnector2">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A181A8DA-FFD4-13EC-6969-ED4C307D2C06}"/>
              </a:ext>
            </a:extLst>
          </p:cNvPr>
          <p:cNvSpPr/>
          <p:nvPr/>
        </p:nvSpPr>
        <p:spPr>
          <a:xfrm>
            <a:off x="5554829" y="2303576"/>
            <a:ext cx="349909" cy="222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raphik"/>
                <a:ea typeface="+mn-ea"/>
                <a:cs typeface="+mn-cs"/>
              </a:rPr>
              <a:t>Yes</a:t>
            </a:r>
          </a:p>
        </p:txBody>
      </p:sp>
      <p:sp>
        <p:nvSpPr>
          <p:cNvPr id="61" name="Rectangle 60">
            <a:extLst>
              <a:ext uri="{FF2B5EF4-FFF2-40B4-BE49-F238E27FC236}">
                <a16:creationId xmlns:a16="http://schemas.microsoft.com/office/drawing/2014/main" id="{05207884-BB0C-9B89-84FF-26CD115D4D84}"/>
              </a:ext>
            </a:extLst>
          </p:cNvPr>
          <p:cNvSpPr/>
          <p:nvPr/>
        </p:nvSpPr>
        <p:spPr>
          <a:xfrm>
            <a:off x="3175250" y="2950089"/>
            <a:ext cx="345352" cy="222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raphik"/>
                <a:ea typeface="+mn-ea"/>
                <a:cs typeface="+mn-cs"/>
              </a:rPr>
              <a:t>No</a:t>
            </a:r>
          </a:p>
        </p:txBody>
      </p:sp>
      <p:sp>
        <p:nvSpPr>
          <p:cNvPr id="14" name="Flowchart: Alternate Process 38">
            <a:extLst>
              <a:ext uri="{FF2B5EF4-FFF2-40B4-BE49-F238E27FC236}">
                <a16:creationId xmlns:a16="http://schemas.microsoft.com/office/drawing/2014/main" id="{31769534-2D6F-7EC9-60F5-0FB04FD78D19}"/>
              </a:ext>
            </a:extLst>
          </p:cNvPr>
          <p:cNvSpPr/>
          <p:nvPr/>
        </p:nvSpPr>
        <p:spPr>
          <a:xfrm>
            <a:off x="1490918" y="3587610"/>
            <a:ext cx="900000" cy="720000"/>
          </a:xfrm>
          <a:prstGeom prst="flowChartAlternateProcess">
            <a:avLst/>
          </a:prstGeom>
          <a:solidFill>
            <a:srgbClr val="86D5A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ea typeface="+mn-ea"/>
                <a:cs typeface="+mn-cs"/>
              </a:rPr>
              <a:t>Create a ticket to access to Data Product</a:t>
            </a:r>
          </a:p>
        </p:txBody>
      </p:sp>
      <p:sp>
        <p:nvSpPr>
          <p:cNvPr id="44" name="Flowchart: Decision 82">
            <a:extLst>
              <a:ext uri="{FF2B5EF4-FFF2-40B4-BE49-F238E27FC236}">
                <a16:creationId xmlns:a16="http://schemas.microsoft.com/office/drawing/2014/main" id="{E181DA62-11EA-9ECA-7471-D09A179C6383}"/>
              </a:ext>
            </a:extLst>
          </p:cNvPr>
          <p:cNvSpPr/>
          <p:nvPr/>
        </p:nvSpPr>
        <p:spPr>
          <a:xfrm>
            <a:off x="2644140" y="1284997"/>
            <a:ext cx="1250887" cy="720000"/>
          </a:xfrm>
          <a:prstGeom prst="flowChartDecision">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Graphik"/>
                <a:ea typeface="+mn-ea"/>
                <a:cs typeface="+mn-cs"/>
              </a:rPr>
              <a:t>Arbitration?</a:t>
            </a:r>
          </a:p>
        </p:txBody>
      </p:sp>
      <p:cxnSp>
        <p:nvCxnSpPr>
          <p:cNvPr id="52" name="Connector: Elbow 18">
            <a:extLst>
              <a:ext uri="{FF2B5EF4-FFF2-40B4-BE49-F238E27FC236}">
                <a16:creationId xmlns:a16="http://schemas.microsoft.com/office/drawing/2014/main" id="{8A8187BF-6DD1-0B10-BA40-1BF031DB6F0D}"/>
              </a:ext>
            </a:extLst>
          </p:cNvPr>
          <p:cNvCxnSpPr>
            <a:cxnSpLocks/>
            <a:stCxn id="14" idx="3"/>
            <a:endCxn id="44" idx="1"/>
          </p:cNvCxnSpPr>
          <p:nvPr/>
        </p:nvCxnSpPr>
        <p:spPr>
          <a:xfrm flipV="1">
            <a:off x="2390918" y="1644997"/>
            <a:ext cx="253222" cy="2302613"/>
          </a:xfrm>
          <a:prstGeom prst="bentConnector3">
            <a:avLst>
              <a:gd name="adj1" fmla="val 50000"/>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7" name="Flowchart: Alternate Process 84">
            <a:extLst>
              <a:ext uri="{FF2B5EF4-FFF2-40B4-BE49-F238E27FC236}">
                <a16:creationId xmlns:a16="http://schemas.microsoft.com/office/drawing/2014/main" id="{69A423E6-35F2-61AB-69DC-0724F949D798}"/>
              </a:ext>
            </a:extLst>
          </p:cNvPr>
          <p:cNvSpPr/>
          <p:nvPr/>
        </p:nvSpPr>
        <p:spPr>
          <a:xfrm>
            <a:off x="3603247" y="2594092"/>
            <a:ext cx="900000" cy="720000"/>
          </a:xfrm>
          <a:prstGeom prst="flowChartAlternateProcess">
            <a:avLst/>
          </a:prstGeom>
          <a:solidFill>
            <a:srgbClr val="7FD2D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a:solidFill>
                  <a:srgbClr val="FFFFFF"/>
                </a:solidFill>
                <a:latin typeface="Graphik"/>
              </a:rPr>
              <a:t>Close ticket by denying request</a:t>
            </a:r>
          </a:p>
        </p:txBody>
      </p:sp>
      <p:cxnSp>
        <p:nvCxnSpPr>
          <p:cNvPr id="117" name="Straight Connector 127">
            <a:extLst>
              <a:ext uri="{FF2B5EF4-FFF2-40B4-BE49-F238E27FC236}">
                <a16:creationId xmlns:a16="http://schemas.microsoft.com/office/drawing/2014/main" id="{5B6614ED-66C2-D8A5-EF8E-9B3150B81DB5}"/>
              </a:ext>
            </a:extLst>
          </p:cNvPr>
          <p:cNvCxnSpPr/>
          <p:nvPr/>
        </p:nvCxnSpPr>
        <p:spPr>
          <a:xfrm>
            <a:off x="879764" y="2224998"/>
            <a:ext cx="10836525"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7" name="Groupe 6">
            <a:extLst>
              <a:ext uri="{FF2B5EF4-FFF2-40B4-BE49-F238E27FC236}">
                <a16:creationId xmlns:a16="http://schemas.microsoft.com/office/drawing/2014/main" id="{15DD8F1E-8424-E193-93D1-B5F90D67BD7F}"/>
              </a:ext>
            </a:extLst>
          </p:cNvPr>
          <p:cNvGrpSpPr/>
          <p:nvPr/>
        </p:nvGrpSpPr>
        <p:grpSpPr>
          <a:xfrm>
            <a:off x="-72268" y="2427470"/>
            <a:ext cx="1179576" cy="723594"/>
            <a:chOff x="100258" y="2427470"/>
            <a:chExt cx="1179576" cy="723594"/>
          </a:xfrm>
        </p:grpSpPr>
        <p:sp>
          <p:nvSpPr>
            <p:cNvPr id="9" name="TextBox 28">
              <a:extLst>
                <a:ext uri="{FF2B5EF4-FFF2-40B4-BE49-F238E27FC236}">
                  <a16:creationId xmlns:a16="http://schemas.microsoft.com/office/drawing/2014/main" id="{44B5BB4B-3F62-B324-1841-92415FDF6041}"/>
                </a:ext>
              </a:extLst>
            </p:cNvPr>
            <p:cNvSpPr txBox="1"/>
            <p:nvPr/>
          </p:nvSpPr>
          <p:spPr>
            <a:xfrm>
              <a:off x="100258" y="2823564"/>
              <a:ext cx="1179576" cy="327500"/>
            </a:xfrm>
            <a:prstGeom prst="rect">
              <a:avLst/>
            </a:prstGeom>
            <a:noFill/>
          </p:spPr>
          <p:txBody>
            <a:bodyPr wrap="square" lIns="0" tIns="0" rIns="0" bIns="0" rtlCol="0">
              <a:no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Data</a:t>
              </a:r>
            </a:p>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Steward</a:t>
              </a:r>
            </a:p>
          </p:txBody>
        </p:sp>
        <p:grpSp>
          <p:nvGrpSpPr>
            <p:cNvPr id="11" name="Groupe 10">
              <a:extLst>
                <a:ext uri="{FF2B5EF4-FFF2-40B4-BE49-F238E27FC236}">
                  <a16:creationId xmlns:a16="http://schemas.microsoft.com/office/drawing/2014/main" id="{33365917-15EA-1C0D-2730-61446870E44E}"/>
                </a:ext>
              </a:extLst>
            </p:cNvPr>
            <p:cNvGrpSpPr/>
            <p:nvPr/>
          </p:nvGrpSpPr>
          <p:grpSpPr>
            <a:xfrm>
              <a:off x="491999" y="2427470"/>
              <a:ext cx="396094" cy="396094"/>
              <a:chOff x="4118929" y="4914966"/>
              <a:chExt cx="644441" cy="644441"/>
            </a:xfrm>
          </p:grpSpPr>
          <p:sp>
            <p:nvSpPr>
              <p:cNvPr id="26" name="Ellipse 25">
                <a:extLst>
                  <a:ext uri="{FF2B5EF4-FFF2-40B4-BE49-F238E27FC236}">
                    <a16:creationId xmlns:a16="http://schemas.microsoft.com/office/drawing/2014/main" id="{FD286A56-1BBE-4071-26A8-4FF1740A86F5}"/>
                  </a:ext>
                </a:extLst>
              </p:cNvPr>
              <p:cNvSpPr/>
              <p:nvPr/>
            </p:nvSpPr>
            <p:spPr>
              <a:xfrm>
                <a:off x="4118929" y="4914966"/>
                <a:ext cx="644441" cy="644441"/>
              </a:xfrm>
              <a:prstGeom prst="ellipse">
                <a:avLst/>
              </a:prstGeom>
              <a:solidFill>
                <a:srgbClr val="00B0AD">
                  <a:alpha val="5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latin typeface="Graphik" panose="020B0503030202060203" pitchFamily="34" charset="0"/>
                </a:endParaRPr>
              </a:p>
            </p:txBody>
          </p:sp>
          <p:pic>
            <p:nvPicPr>
              <p:cNvPr id="28" name="Image 27">
                <a:extLst>
                  <a:ext uri="{FF2B5EF4-FFF2-40B4-BE49-F238E27FC236}">
                    <a16:creationId xmlns:a16="http://schemas.microsoft.com/office/drawing/2014/main" id="{64A0573B-C2F6-51A7-AFAE-6EF78F18D763}"/>
                  </a:ext>
                </a:extLst>
              </p:cNvPr>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171150" y="4969307"/>
                <a:ext cx="540000" cy="535756"/>
              </a:xfrm>
              <a:prstGeom prst="rect">
                <a:avLst/>
              </a:prstGeom>
            </p:spPr>
          </p:pic>
        </p:grpSp>
      </p:grpSp>
      <p:cxnSp>
        <p:nvCxnSpPr>
          <p:cNvPr id="47" name="Connector: Elbow 18">
            <a:extLst>
              <a:ext uri="{FF2B5EF4-FFF2-40B4-BE49-F238E27FC236}">
                <a16:creationId xmlns:a16="http://schemas.microsoft.com/office/drawing/2014/main" id="{C3B2D655-4E0E-0C30-2701-96061E981035}"/>
              </a:ext>
            </a:extLst>
          </p:cNvPr>
          <p:cNvCxnSpPr>
            <a:cxnSpLocks/>
            <a:stCxn id="44" idx="3"/>
            <a:endCxn id="82" idx="0"/>
          </p:cNvCxnSpPr>
          <p:nvPr/>
        </p:nvCxnSpPr>
        <p:spPr>
          <a:xfrm>
            <a:off x="3895027" y="1644997"/>
            <a:ext cx="1659802" cy="950285"/>
          </a:xfrm>
          <a:prstGeom prst="bentConnector2">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nvGrpSpPr>
          <p:cNvPr id="63" name="Groupe 62">
            <a:extLst>
              <a:ext uri="{FF2B5EF4-FFF2-40B4-BE49-F238E27FC236}">
                <a16:creationId xmlns:a16="http://schemas.microsoft.com/office/drawing/2014/main" id="{D364DE39-7ABB-EA0F-17B1-22517109BD40}"/>
              </a:ext>
            </a:extLst>
          </p:cNvPr>
          <p:cNvGrpSpPr/>
          <p:nvPr/>
        </p:nvGrpSpPr>
        <p:grpSpPr>
          <a:xfrm>
            <a:off x="-72267" y="1498738"/>
            <a:ext cx="1179574" cy="703318"/>
            <a:chOff x="100259" y="1498738"/>
            <a:chExt cx="1179574" cy="703318"/>
          </a:xfrm>
        </p:grpSpPr>
        <p:sp>
          <p:nvSpPr>
            <p:cNvPr id="64" name="TextBox 103">
              <a:extLst>
                <a:ext uri="{FF2B5EF4-FFF2-40B4-BE49-F238E27FC236}">
                  <a16:creationId xmlns:a16="http://schemas.microsoft.com/office/drawing/2014/main" id="{54C9BDD4-9886-9233-7D37-DDE4CD63C553}"/>
                </a:ext>
              </a:extLst>
            </p:cNvPr>
            <p:cNvSpPr txBox="1"/>
            <p:nvPr/>
          </p:nvSpPr>
          <p:spPr>
            <a:xfrm>
              <a:off x="100259" y="1894832"/>
              <a:ext cx="1179574" cy="307224"/>
            </a:xfrm>
            <a:prstGeom prst="rect">
              <a:avLst/>
            </a:prstGeom>
            <a:noFill/>
          </p:spPr>
          <p:txBody>
            <a:bodyPr wrap="square" lIns="0" tIns="0" rIns="0" bIns="0" rtlCol="0">
              <a:no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Data</a:t>
              </a:r>
            </a:p>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Graphik"/>
                  <a:ea typeface="+mn-ea"/>
                  <a:cs typeface="+mn-cs"/>
                </a:rPr>
                <a:t>Owner</a:t>
              </a:r>
            </a:p>
          </p:txBody>
        </p:sp>
        <p:grpSp>
          <p:nvGrpSpPr>
            <p:cNvPr id="65" name="Groupe 64">
              <a:extLst>
                <a:ext uri="{FF2B5EF4-FFF2-40B4-BE49-F238E27FC236}">
                  <a16:creationId xmlns:a16="http://schemas.microsoft.com/office/drawing/2014/main" id="{F32B5A2D-C223-606F-BD53-B3E575A615D9}"/>
                </a:ext>
              </a:extLst>
            </p:cNvPr>
            <p:cNvGrpSpPr/>
            <p:nvPr/>
          </p:nvGrpSpPr>
          <p:grpSpPr>
            <a:xfrm>
              <a:off x="491999" y="1498738"/>
              <a:ext cx="396094" cy="396094"/>
              <a:chOff x="3111683" y="3774648"/>
              <a:chExt cx="644441" cy="644441"/>
            </a:xfrm>
          </p:grpSpPr>
          <p:sp>
            <p:nvSpPr>
              <p:cNvPr id="67" name="Ellipse 66">
                <a:extLst>
                  <a:ext uri="{FF2B5EF4-FFF2-40B4-BE49-F238E27FC236}">
                    <a16:creationId xmlns:a16="http://schemas.microsoft.com/office/drawing/2014/main" id="{706CFAEA-1E90-1A62-06AC-40F45050E2BC}"/>
                  </a:ext>
                </a:extLst>
              </p:cNvPr>
              <p:cNvSpPr/>
              <p:nvPr/>
            </p:nvSpPr>
            <p:spPr>
              <a:xfrm>
                <a:off x="3111683" y="3774648"/>
                <a:ext cx="644441" cy="644441"/>
              </a:xfrm>
              <a:prstGeom prst="ellipse">
                <a:avLst/>
              </a:prstGeom>
              <a:solidFill>
                <a:srgbClr val="00B0AD">
                  <a:alpha val="5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latin typeface="Graphik" panose="020B0503030202060203" pitchFamily="34" charset="0"/>
                </a:endParaRPr>
              </a:p>
            </p:txBody>
          </p:sp>
          <p:pic>
            <p:nvPicPr>
              <p:cNvPr id="68" name="Picture 29" descr="A picture containing clipart&#10;&#10;Description automatically generated">
                <a:extLst>
                  <a:ext uri="{FF2B5EF4-FFF2-40B4-BE49-F238E27FC236}">
                    <a16:creationId xmlns:a16="http://schemas.microsoft.com/office/drawing/2014/main" id="{BEE8EE54-D87C-DA12-1A04-810FE1DA5ACD}"/>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163903" y="3826868"/>
                <a:ext cx="540000" cy="540000"/>
              </a:xfrm>
              <a:prstGeom prst="rect">
                <a:avLst/>
              </a:prstGeom>
            </p:spPr>
          </p:pic>
        </p:grpSp>
      </p:grpSp>
      <p:sp>
        <p:nvSpPr>
          <p:cNvPr id="82" name="Flowchart: Alternate Process 84">
            <a:extLst>
              <a:ext uri="{FF2B5EF4-FFF2-40B4-BE49-F238E27FC236}">
                <a16:creationId xmlns:a16="http://schemas.microsoft.com/office/drawing/2014/main" id="{B99A5D03-4DE7-09A0-2DBB-BEEC648078D7}"/>
              </a:ext>
            </a:extLst>
          </p:cNvPr>
          <p:cNvSpPr/>
          <p:nvPr/>
        </p:nvSpPr>
        <p:spPr>
          <a:xfrm>
            <a:off x="4627732" y="2595282"/>
            <a:ext cx="1854194" cy="720000"/>
          </a:xfrm>
          <a:prstGeom prst="flowChartAlternateProcess">
            <a:avLst/>
          </a:prstGeom>
          <a:solidFill>
            <a:srgbClr val="7FD2D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a:solidFill>
                  <a:srgbClr val="FFFFFF"/>
                </a:solidFill>
                <a:latin typeface="Graphik"/>
              </a:rPr>
              <a:t>Give access to Data Consumer by following </a:t>
            </a:r>
            <a:r>
              <a:rPr kumimoji="0" lang="en-US" sz="900" b="0" u="none" strike="noStrike" kern="1200" cap="none" spc="0" normalizeH="0" baseline="0" noProof="0">
                <a:ln>
                  <a:noFill/>
                </a:ln>
                <a:solidFill>
                  <a:srgbClr val="FFFFFF"/>
                </a:solidFill>
                <a:effectLst/>
                <a:uLnTx/>
                <a:uFillTx/>
                <a:latin typeface="Graphik"/>
                <a:ea typeface="+mn-ea"/>
                <a:cs typeface="+mn-cs"/>
              </a:rPr>
              <a:t>Deliveries Conditions</a:t>
            </a:r>
            <a:endParaRPr lang="en-US" sz="900">
              <a:solidFill>
                <a:srgbClr val="FFFFFF"/>
              </a:solidFill>
              <a:latin typeface="Graphik"/>
            </a:endParaRPr>
          </a:p>
        </p:txBody>
      </p:sp>
      <p:sp>
        <p:nvSpPr>
          <p:cNvPr id="88" name="Flowchart: Alternate Process 84">
            <a:extLst>
              <a:ext uri="{FF2B5EF4-FFF2-40B4-BE49-F238E27FC236}">
                <a16:creationId xmlns:a16="http://schemas.microsoft.com/office/drawing/2014/main" id="{69DE2DA4-DD66-A313-EF19-302FF5D100EE}"/>
              </a:ext>
            </a:extLst>
          </p:cNvPr>
          <p:cNvSpPr/>
          <p:nvPr/>
        </p:nvSpPr>
        <p:spPr>
          <a:xfrm>
            <a:off x="6926747" y="2594092"/>
            <a:ext cx="900000" cy="720000"/>
          </a:xfrm>
          <a:prstGeom prst="flowChartAlternateProcess">
            <a:avLst/>
          </a:prstGeom>
          <a:solidFill>
            <a:srgbClr val="7FD2D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900">
                <a:solidFill>
                  <a:srgbClr val="FFFFFF"/>
                </a:solidFill>
                <a:latin typeface="Graphik"/>
              </a:rPr>
              <a:t>Close ticket</a:t>
            </a:r>
          </a:p>
        </p:txBody>
      </p:sp>
      <p:cxnSp>
        <p:nvCxnSpPr>
          <p:cNvPr id="89" name="Connector: Elbow 37">
            <a:extLst>
              <a:ext uri="{FF2B5EF4-FFF2-40B4-BE49-F238E27FC236}">
                <a16:creationId xmlns:a16="http://schemas.microsoft.com/office/drawing/2014/main" id="{3C907565-E12C-DF14-594B-4E89ABEC1794}"/>
              </a:ext>
            </a:extLst>
          </p:cNvPr>
          <p:cNvCxnSpPr>
            <a:cxnSpLocks/>
            <a:stCxn id="82" idx="3"/>
            <a:endCxn id="88" idx="1"/>
          </p:cNvCxnSpPr>
          <p:nvPr/>
        </p:nvCxnSpPr>
        <p:spPr>
          <a:xfrm flipV="1">
            <a:off x="6481926" y="2954092"/>
            <a:ext cx="444821" cy="1190"/>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0" name="Flowchart: Alternate Process 38">
            <a:extLst>
              <a:ext uri="{FF2B5EF4-FFF2-40B4-BE49-F238E27FC236}">
                <a16:creationId xmlns:a16="http://schemas.microsoft.com/office/drawing/2014/main" id="{B752B496-DC47-65A9-CF94-411EDC1E95E8}"/>
              </a:ext>
            </a:extLst>
          </p:cNvPr>
          <p:cNvSpPr/>
          <p:nvPr/>
        </p:nvSpPr>
        <p:spPr>
          <a:xfrm>
            <a:off x="8350013" y="3587609"/>
            <a:ext cx="900000" cy="720000"/>
          </a:xfrm>
          <a:prstGeom prst="flowChartAlternateProcess">
            <a:avLst/>
          </a:prstGeom>
          <a:solidFill>
            <a:srgbClr val="86D5A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ea typeface="+mn-ea"/>
                <a:cs typeface="+mn-cs"/>
              </a:rPr>
              <a:t>Ticket closing notification</a:t>
            </a:r>
          </a:p>
        </p:txBody>
      </p:sp>
      <p:cxnSp>
        <p:nvCxnSpPr>
          <p:cNvPr id="31" name="Connector: Elbow 18">
            <a:extLst>
              <a:ext uri="{FF2B5EF4-FFF2-40B4-BE49-F238E27FC236}">
                <a16:creationId xmlns:a16="http://schemas.microsoft.com/office/drawing/2014/main" id="{3BE94816-9183-DD90-9A7F-FA5B338FC6C3}"/>
              </a:ext>
            </a:extLst>
          </p:cNvPr>
          <p:cNvCxnSpPr>
            <a:cxnSpLocks/>
            <a:stCxn id="88" idx="3"/>
            <a:endCxn id="30" idx="0"/>
          </p:cNvCxnSpPr>
          <p:nvPr/>
        </p:nvCxnSpPr>
        <p:spPr>
          <a:xfrm>
            <a:off x="7826747" y="2954092"/>
            <a:ext cx="973266" cy="633517"/>
          </a:xfrm>
          <a:prstGeom prst="bentConnector2">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nvGrpSpPr>
          <p:cNvPr id="2" name="Groupe 1">
            <a:extLst>
              <a:ext uri="{FF2B5EF4-FFF2-40B4-BE49-F238E27FC236}">
                <a16:creationId xmlns:a16="http://schemas.microsoft.com/office/drawing/2014/main" id="{4B5C5D30-2EFA-73EF-3441-8533E39C2BFC}"/>
              </a:ext>
            </a:extLst>
          </p:cNvPr>
          <p:cNvGrpSpPr/>
          <p:nvPr/>
        </p:nvGrpSpPr>
        <p:grpSpPr>
          <a:xfrm>
            <a:off x="9606" y="53478"/>
            <a:ext cx="552948" cy="421043"/>
            <a:chOff x="1007542" y="176192"/>
            <a:chExt cx="552948" cy="421043"/>
          </a:xfrm>
        </p:grpSpPr>
        <p:sp>
          <p:nvSpPr>
            <p:cNvPr id="6" name="Ellipse 5">
              <a:extLst>
                <a:ext uri="{FF2B5EF4-FFF2-40B4-BE49-F238E27FC236}">
                  <a16:creationId xmlns:a16="http://schemas.microsoft.com/office/drawing/2014/main" id="{B929983A-D613-479E-3AE9-C943A47BBBEB}"/>
                </a:ext>
              </a:extLst>
            </p:cNvPr>
            <p:cNvSpPr/>
            <p:nvPr/>
          </p:nvSpPr>
          <p:spPr>
            <a:xfrm>
              <a:off x="1073495" y="176192"/>
              <a:ext cx="421043" cy="421043"/>
            </a:xfrm>
            <a:prstGeom prst="ellipse">
              <a:avLst/>
            </a:prstGeom>
            <a:solidFill>
              <a:schemeClr val="accent1"/>
            </a:solidFill>
            <a:ln w="6350">
              <a:solidFill>
                <a:schemeClr val="accent6"/>
              </a:solid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ZoneTexte 14">
              <a:extLst>
                <a:ext uri="{FF2B5EF4-FFF2-40B4-BE49-F238E27FC236}">
                  <a16:creationId xmlns:a16="http://schemas.microsoft.com/office/drawing/2014/main" id="{DB430A5E-7D62-8D24-C77D-7317CA798AB2}"/>
                </a:ext>
              </a:extLst>
            </p:cNvPr>
            <p:cNvSpPr txBox="1"/>
            <p:nvPr/>
          </p:nvSpPr>
          <p:spPr>
            <a:xfrm>
              <a:off x="1007542" y="202047"/>
              <a:ext cx="552948" cy="369332"/>
            </a:xfrm>
            <a:prstGeom prst="rect">
              <a:avLst/>
            </a:prstGeom>
            <a:noFill/>
          </p:spPr>
          <p:txBody>
            <a:bodyPr wrap="square" rtlCol="0">
              <a:spAutoFit/>
            </a:bodyPr>
            <a:lstStyle/>
            <a:p>
              <a:pPr algn="ctr"/>
              <a:r>
                <a:rPr lang="fr-FR">
                  <a:solidFill>
                    <a:schemeClr val="bg1"/>
                  </a:solidFill>
                </a:rPr>
                <a:t>5</a:t>
              </a:r>
            </a:p>
          </p:txBody>
        </p:sp>
      </p:grpSp>
      <p:cxnSp>
        <p:nvCxnSpPr>
          <p:cNvPr id="230" name="Connector: Elbow 18">
            <a:extLst>
              <a:ext uri="{FF2B5EF4-FFF2-40B4-BE49-F238E27FC236}">
                <a16:creationId xmlns:a16="http://schemas.microsoft.com/office/drawing/2014/main" id="{BC550612-9F14-B198-1D26-9AABB4D2784D}"/>
              </a:ext>
            </a:extLst>
          </p:cNvPr>
          <p:cNvCxnSpPr>
            <a:cxnSpLocks/>
            <a:stCxn id="57" idx="2"/>
            <a:endCxn id="30" idx="1"/>
          </p:cNvCxnSpPr>
          <p:nvPr/>
        </p:nvCxnSpPr>
        <p:spPr>
          <a:xfrm rot="16200000" flipH="1">
            <a:off x="5884872" y="1482467"/>
            <a:ext cx="633517" cy="4296766"/>
          </a:xfrm>
          <a:prstGeom prst="bentConnector2">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nvGrpSpPr>
          <p:cNvPr id="16" name="Groupe 15">
            <a:extLst>
              <a:ext uri="{FF2B5EF4-FFF2-40B4-BE49-F238E27FC236}">
                <a16:creationId xmlns:a16="http://schemas.microsoft.com/office/drawing/2014/main" id="{5A0F88FC-D4D4-7EBB-AD1F-9EB1B4E1B6FD}"/>
              </a:ext>
            </a:extLst>
          </p:cNvPr>
          <p:cNvGrpSpPr/>
          <p:nvPr/>
        </p:nvGrpSpPr>
        <p:grpSpPr>
          <a:xfrm>
            <a:off x="861072" y="6286498"/>
            <a:ext cx="1417408" cy="494551"/>
            <a:chOff x="80233" y="5624489"/>
            <a:chExt cx="1417408" cy="494551"/>
          </a:xfrm>
        </p:grpSpPr>
        <p:sp>
          <p:nvSpPr>
            <p:cNvPr id="17" name="Rectangle: Rounded Corners 58">
              <a:extLst>
                <a:ext uri="{FF2B5EF4-FFF2-40B4-BE49-F238E27FC236}">
                  <a16:creationId xmlns:a16="http://schemas.microsoft.com/office/drawing/2014/main" id="{F21A7116-1333-FEB4-933E-148BAAAE6EE2}"/>
                </a:ext>
              </a:extLst>
            </p:cNvPr>
            <p:cNvSpPr/>
            <p:nvPr/>
          </p:nvSpPr>
          <p:spPr>
            <a:xfrm>
              <a:off x="80233" y="5624489"/>
              <a:ext cx="1417408" cy="494551"/>
            </a:xfrm>
            <a:prstGeom prst="roundRect">
              <a:avLst>
                <a:gd name="adj" fmla="val 5346"/>
              </a:avLst>
            </a:prstGeom>
            <a:solidFill>
              <a:schemeClr val="bg1"/>
            </a:solidFill>
            <a:ln w="6350">
              <a:solidFill>
                <a:schemeClr val="tx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tIns="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E20025"/>
                  </a:solidFill>
                  <a:effectLst/>
                  <a:uLnTx/>
                  <a:uFillTx/>
                  <a:latin typeface="Vinci Sans Light"/>
                  <a:ea typeface="+mn-ea"/>
                  <a:cs typeface="+mn-cs"/>
                </a:rPr>
                <a:t>Legend</a:t>
              </a:r>
              <a:endParaRPr kumimoji="0" lang="en-US" sz="1050" b="1" i="0" u="none" strike="noStrike" kern="1200" cap="none" spc="0" normalizeH="0" baseline="0" noProof="0">
                <a:ln>
                  <a:noFill/>
                </a:ln>
                <a:solidFill>
                  <a:srgbClr val="E20025"/>
                </a:solidFill>
                <a:effectLst/>
                <a:uLnTx/>
                <a:uFillTx/>
                <a:latin typeface="Vinci Sans Light"/>
                <a:ea typeface="+mn-ea"/>
                <a:cs typeface="+mn-cs"/>
              </a:endParaRPr>
            </a:p>
          </p:txBody>
        </p:sp>
        <p:sp>
          <p:nvSpPr>
            <p:cNvPr id="18" name="Flowchart: Alternate Process 92">
              <a:extLst>
                <a:ext uri="{FF2B5EF4-FFF2-40B4-BE49-F238E27FC236}">
                  <a16:creationId xmlns:a16="http://schemas.microsoft.com/office/drawing/2014/main" id="{E15BC61E-3991-CFC4-D294-CBA7CB8E23B2}"/>
                </a:ext>
              </a:extLst>
            </p:cNvPr>
            <p:cNvSpPr/>
            <p:nvPr/>
          </p:nvSpPr>
          <p:spPr>
            <a:xfrm>
              <a:off x="161716" y="5843847"/>
              <a:ext cx="598716" cy="145321"/>
            </a:xfrm>
            <a:prstGeom prst="flowChartAlternateProcess">
              <a:avLst/>
            </a:prstGeom>
            <a:solidFill>
              <a:srgbClr val="7FD2D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Vinci Sans Light"/>
                  <a:ea typeface="+mn-ea"/>
                  <a:cs typeface="+mn-cs"/>
                </a:rPr>
                <a:t>Process Step</a:t>
              </a:r>
            </a:p>
          </p:txBody>
        </p:sp>
        <p:sp>
          <p:nvSpPr>
            <p:cNvPr id="19" name="Flowchart: Decision 96">
              <a:extLst>
                <a:ext uri="{FF2B5EF4-FFF2-40B4-BE49-F238E27FC236}">
                  <a16:creationId xmlns:a16="http://schemas.microsoft.com/office/drawing/2014/main" id="{678DFAD1-A52B-5130-89E8-6F3D795A21B7}"/>
                </a:ext>
              </a:extLst>
            </p:cNvPr>
            <p:cNvSpPr/>
            <p:nvPr/>
          </p:nvSpPr>
          <p:spPr>
            <a:xfrm>
              <a:off x="841916" y="5779400"/>
              <a:ext cx="549751" cy="274214"/>
            </a:xfrm>
            <a:prstGeom prst="flowChartDecision">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Vinci Sans Light"/>
                  <a:ea typeface="+mn-ea"/>
                  <a:cs typeface="+mn-cs"/>
                </a:rPr>
                <a:t>Process Decision </a:t>
              </a:r>
            </a:p>
          </p:txBody>
        </p:sp>
      </p:grpSp>
      <p:sp>
        <p:nvSpPr>
          <p:cNvPr id="20" name="ZoneTexte 19">
            <a:extLst>
              <a:ext uri="{FF2B5EF4-FFF2-40B4-BE49-F238E27FC236}">
                <a16:creationId xmlns:a16="http://schemas.microsoft.com/office/drawing/2014/main" id="{157C9CFA-D84F-4603-C624-73FE6792DD37}"/>
              </a:ext>
            </a:extLst>
          </p:cNvPr>
          <p:cNvSpPr txBox="1"/>
          <p:nvPr/>
        </p:nvSpPr>
        <p:spPr>
          <a:xfrm>
            <a:off x="2159420" y="5687342"/>
            <a:ext cx="8333569" cy="369332"/>
          </a:xfrm>
          <a:prstGeom prst="rect">
            <a:avLst/>
          </a:prstGeom>
          <a:noFill/>
        </p:spPr>
        <p:txBody>
          <a:bodyPr wrap="square" rtlCol="0">
            <a:spAutoFit/>
          </a:bodyPr>
          <a:lstStyle/>
          <a:p>
            <a:r>
              <a:rPr lang="en-US"/>
              <a:t>When you withdraw access to data, don’t forget to withdraw access in the data marketplace</a:t>
            </a:r>
          </a:p>
        </p:txBody>
      </p:sp>
      <p:sp>
        <p:nvSpPr>
          <p:cNvPr id="23" name="ZoneTexte 22">
            <a:extLst>
              <a:ext uri="{FF2B5EF4-FFF2-40B4-BE49-F238E27FC236}">
                <a16:creationId xmlns:a16="http://schemas.microsoft.com/office/drawing/2014/main" id="{35D301AA-F9D6-DA78-F861-5894FEEE06ED}"/>
              </a:ext>
            </a:extLst>
          </p:cNvPr>
          <p:cNvSpPr txBox="1"/>
          <p:nvPr/>
        </p:nvSpPr>
        <p:spPr>
          <a:xfrm>
            <a:off x="1910658" y="4396171"/>
            <a:ext cx="960519" cy="230832"/>
          </a:xfrm>
          <a:prstGeom prst="rect">
            <a:avLst/>
          </a:prstGeom>
          <a:noFill/>
        </p:spPr>
        <p:txBody>
          <a:bodyPr wrap="none" rtlCol="0">
            <a:spAutoFit/>
          </a:bodyPr>
          <a:lstStyle/>
          <a:p>
            <a:pPr algn="ctr"/>
            <a:r>
              <a:rPr lang="en-US" sz="900" b="1"/>
              <a:t>Data Marketplace</a:t>
            </a:r>
          </a:p>
        </p:txBody>
      </p:sp>
      <p:pic>
        <p:nvPicPr>
          <p:cNvPr id="24" name="Graphique 23">
            <a:extLst>
              <a:ext uri="{FF2B5EF4-FFF2-40B4-BE49-F238E27FC236}">
                <a16:creationId xmlns:a16="http://schemas.microsoft.com/office/drawing/2014/main" id="{CBFF293E-A8BD-460D-9A0A-CED107CEFD4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255918" y="4108230"/>
            <a:ext cx="270000" cy="270000"/>
          </a:xfrm>
          <a:prstGeom prst="ellipse">
            <a:avLst/>
          </a:prstGeom>
        </p:spPr>
      </p:pic>
      <p:grpSp>
        <p:nvGrpSpPr>
          <p:cNvPr id="38" name="Groupe 37">
            <a:extLst>
              <a:ext uri="{FF2B5EF4-FFF2-40B4-BE49-F238E27FC236}">
                <a16:creationId xmlns:a16="http://schemas.microsoft.com/office/drawing/2014/main" id="{268F6EE2-E7F3-3C33-883D-721EA862777C}"/>
              </a:ext>
            </a:extLst>
          </p:cNvPr>
          <p:cNvGrpSpPr/>
          <p:nvPr/>
        </p:nvGrpSpPr>
        <p:grpSpPr>
          <a:xfrm>
            <a:off x="3992727" y="3187669"/>
            <a:ext cx="960519" cy="518773"/>
            <a:chOff x="3992727" y="3193279"/>
            <a:chExt cx="960519" cy="518773"/>
          </a:xfrm>
        </p:grpSpPr>
        <p:sp>
          <p:nvSpPr>
            <p:cNvPr id="25" name="ZoneTexte 24">
              <a:extLst>
                <a:ext uri="{FF2B5EF4-FFF2-40B4-BE49-F238E27FC236}">
                  <a16:creationId xmlns:a16="http://schemas.microsoft.com/office/drawing/2014/main" id="{68CCCB00-7D89-CB94-C5B8-1BBAE39D8FE7}"/>
                </a:ext>
              </a:extLst>
            </p:cNvPr>
            <p:cNvSpPr txBox="1"/>
            <p:nvPr/>
          </p:nvSpPr>
          <p:spPr>
            <a:xfrm>
              <a:off x="3992727" y="3481220"/>
              <a:ext cx="960519" cy="230832"/>
            </a:xfrm>
            <a:prstGeom prst="rect">
              <a:avLst/>
            </a:prstGeom>
            <a:noFill/>
          </p:spPr>
          <p:txBody>
            <a:bodyPr wrap="none" rtlCol="0">
              <a:spAutoFit/>
            </a:bodyPr>
            <a:lstStyle/>
            <a:p>
              <a:pPr algn="ctr"/>
              <a:r>
                <a:rPr lang="en-US" sz="900" b="1"/>
                <a:t>Data Marketplace</a:t>
              </a:r>
            </a:p>
          </p:txBody>
        </p:sp>
        <p:pic>
          <p:nvPicPr>
            <p:cNvPr id="27" name="Graphique 26">
              <a:extLst>
                <a:ext uri="{FF2B5EF4-FFF2-40B4-BE49-F238E27FC236}">
                  <a16:creationId xmlns:a16="http://schemas.microsoft.com/office/drawing/2014/main" id="{8E44D8E3-2A87-3D2E-BB64-4AA7BB0274A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337987" y="3193279"/>
              <a:ext cx="270000" cy="270000"/>
            </a:xfrm>
            <a:prstGeom prst="ellipse">
              <a:avLst/>
            </a:prstGeom>
          </p:spPr>
        </p:pic>
      </p:grpSp>
      <p:grpSp>
        <p:nvGrpSpPr>
          <p:cNvPr id="39" name="Groupe 38">
            <a:extLst>
              <a:ext uri="{FF2B5EF4-FFF2-40B4-BE49-F238E27FC236}">
                <a16:creationId xmlns:a16="http://schemas.microsoft.com/office/drawing/2014/main" id="{B904E41A-D760-31E2-7938-2CE85D1F2EDB}"/>
              </a:ext>
            </a:extLst>
          </p:cNvPr>
          <p:cNvGrpSpPr/>
          <p:nvPr/>
        </p:nvGrpSpPr>
        <p:grpSpPr>
          <a:xfrm>
            <a:off x="7274330" y="3187669"/>
            <a:ext cx="960519" cy="518773"/>
            <a:chOff x="7274330" y="3182058"/>
            <a:chExt cx="960519" cy="518773"/>
          </a:xfrm>
        </p:grpSpPr>
        <p:sp>
          <p:nvSpPr>
            <p:cNvPr id="34" name="ZoneTexte 33">
              <a:extLst>
                <a:ext uri="{FF2B5EF4-FFF2-40B4-BE49-F238E27FC236}">
                  <a16:creationId xmlns:a16="http://schemas.microsoft.com/office/drawing/2014/main" id="{1CD06B10-53D6-830A-436F-37CE1C975ED7}"/>
                </a:ext>
              </a:extLst>
            </p:cNvPr>
            <p:cNvSpPr txBox="1"/>
            <p:nvPr/>
          </p:nvSpPr>
          <p:spPr>
            <a:xfrm>
              <a:off x="7274330" y="3469999"/>
              <a:ext cx="960519" cy="230832"/>
            </a:xfrm>
            <a:prstGeom prst="rect">
              <a:avLst/>
            </a:prstGeom>
            <a:noFill/>
          </p:spPr>
          <p:txBody>
            <a:bodyPr wrap="none" rtlCol="0">
              <a:spAutoFit/>
            </a:bodyPr>
            <a:lstStyle/>
            <a:p>
              <a:pPr algn="ctr"/>
              <a:r>
                <a:rPr lang="en-US" sz="900" b="1"/>
                <a:t>Data Marketplace</a:t>
              </a:r>
            </a:p>
          </p:txBody>
        </p:sp>
        <p:pic>
          <p:nvPicPr>
            <p:cNvPr id="35" name="Graphique 34">
              <a:extLst>
                <a:ext uri="{FF2B5EF4-FFF2-40B4-BE49-F238E27FC236}">
                  <a16:creationId xmlns:a16="http://schemas.microsoft.com/office/drawing/2014/main" id="{31FC4C60-0DC2-D0E5-C572-6CE1402ED83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19590" y="3182058"/>
              <a:ext cx="270000" cy="270000"/>
            </a:xfrm>
            <a:prstGeom prst="ellipse">
              <a:avLst/>
            </a:prstGeom>
          </p:spPr>
        </p:pic>
      </p:grpSp>
      <p:sp>
        <p:nvSpPr>
          <p:cNvPr id="36" name="ZoneTexte 35">
            <a:extLst>
              <a:ext uri="{FF2B5EF4-FFF2-40B4-BE49-F238E27FC236}">
                <a16:creationId xmlns:a16="http://schemas.microsoft.com/office/drawing/2014/main" id="{2871AC36-C21B-6E51-0899-112171D0896F}"/>
              </a:ext>
            </a:extLst>
          </p:cNvPr>
          <p:cNvSpPr txBox="1"/>
          <p:nvPr/>
        </p:nvSpPr>
        <p:spPr>
          <a:xfrm>
            <a:off x="8695272" y="4397050"/>
            <a:ext cx="960519" cy="230832"/>
          </a:xfrm>
          <a:prstGeom prst="rect">
            <a:avLst/>
          </a:prstGeom>
          <a:noFill/>
        </p:spPr>
        <p:txBody>
          <a:bodyPr wrap="none" rtlCol="0">
            <a:spAutoFit/>
          </a:bodyPr>
          <a:lstStyle/>
          <a:p>
            <a:pPr algn="ctr"/>
            <a:r>
              <a:rPr lang="en-US" sz="900" b="1"/>
              <a:t>Data Marketplace</a:t>
            </a:r>
          </a:p>
        </p:txBody>
      </p:sp>
      <p:pic>
        <p:nvPicPr>
          <p:cNvPr id="37" name="Graphique 36">
            <a:extLst>
              <a:ext uri="{FF2B5EF4-FFF2-40B4-BE49-F238E27FC236}">
                <a16:creationId xmlns:a16="http://schemas.microsoft.com/office/drawing/2014/main" id="{D8A3FA82-6F13-0119-EDFE-87ED85C80D1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40532" y="4109109"/>
            <a:ext cx="270000" cy="270000"/>
          </a:xfrm>
          <a:prstGeom prst="ellipse">
            <a:avLst/>
          </a:prstGeom>
        </p:spPr>
      </p:pic>
      <p:sp>
        <p:nvSpPr>
          <p:cNvPr id="3" name="Rectangle 2">
            <a:extLst>
              <a:ext uri="{FF2B5EF4-FFF2-40B4-BE49-F238E27FC236}">
                <a16:creationId xmlns:a16="http://schemas.microsoft.com/office/drawing/2014/main" id="{DAC47B5E-81D9-C5F7-BC57-FEDDB6C9D59B}"/>
              </a:ext>
            </a:extLst>
          </p:cNvPr>
          <p:cNvSpPr/>
          <p:nvPr/>
        </p:nvSpPr>
        <p:spPr>
          <a:xfrm>
            <a:off x="0" y="0"/>
            <a:ext cx="12182394" cy="6858000"/>
          </a:xfrm>
          <a:prstGeom prst="rect">
            <a:avLst/>
          </a:prstGeom>
          <a:solidFill>
            <a:schemeClr val="bg1">
              <a:lumMod val="95000"/>
              <a:alpha val="50000"/>
            </a:schemeClr>
          </a:solidFill>
          <a:ln w="6350">
            <a:solidFill>
              <a:schemeClr val="accent6"/>
            </a:solid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a:solidFill>
                  <a:sysClr val="windowText" lastClr="000000"/>
                </a:solidFill>
              </a:rPr>
              <a:t>For </a:t>
            </a:r>
            <a:r>
              <a:rPr lang="fr-FR" err="1">
                <a:solidFill>
                  <a:sysClr val="windowText" lastClr="000000"/>
                </a:solidFill>
              </a:rPr>
              <a:t>Later</a:t>
            </a:r>
            <a:r>
              <a:rPr lang="fr-FR">
                <a:solidFill>
                  <a:sysClr val="windowText" lastClr="000000"/>
                </a:solidFill>
              </a:rPr>
              <a:t> Use</a:t>
            </a:r>
          </a:p>
        </p:txBody>
      </p:sp>
    </p:spTree>
    <p:extLst>
      <p:ext uri="{BB962C8B-B14F-4D97-AF65-F5344CB8AC3E}">
        <p14:creationId xmlns:p14="http://schemas.microsoft.com/office/powerpoint/2010/main" val="4196752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5" name="Connecteur droit 24">
            <a:extLst>
              <a:ext uri="{FF2B5EF4-FFF2-40B4-BE49-F238E27FC236}">
                <a16:creationId xmlns:a16="http://schemas.microsoft.com/office/drawing/2014/main" id="{79897770-6B1D-90BC-023E-F776DAA742B4}"/>
              </a:ext>
            </a:extLst>
          </p:cNvPr>
          <p:cNvCxnSpPr>
            <a:cxnSpLocks/>
          </p:cNvCxnSpPr>
          <p:nvPr/>
        </p:nvCxnSpPr>
        <p:spPr>
          <a:xfrm flipH="1">
            <a:off x="3739664" y="4734379"/>
            <a:ext cx="1182856" cy="736238"/>
          </a:xfrm>
          <a:prstGeom prst="line">
            <a:avLst/>
          </a:prstGeom>
          <a:ln cap="rnd"/>
        </p:spPr>
        <p:style>
          <a:lnRef idx="2">
            <a:schemeClr val="accent1"/>
          </a:lnRef>
          <a:fillRef idx="0">
            <a:schemeClr val="accent1"/>
          </a:fillRef>
          <a:effectRef idx="1">
            <a:schemeClr val="accent1"/>
          </a:effectRef>
          <a:fontRef idx="minor">
            <a:schemeClr val="tx1"/>
          </a:fontRef>
        </p:style>
      </p:cxnSp>
      <p:cxnSp>
        <p:nvCxnSpPr>
          <p:cNvPr id="46" name="Connecteur droit 45">
            <a:extLst>
              <a:ext uri="{FF2B5EF4-FFF2-40B4-BE49-F238E27FC236}">
                <a16:creationId xmlns:a16="http://schemas.microsoft.com/office/drawing/2014/main" id="{477C27C8-E080-14A7-5ADC-3989C7DE97D5}"/>
              </a:ext>
            </a:extLst>
          </p:cNvPr>
          <p:cNvCxnSpPr>
            <a:cxnSpLocks/>
            <a:endCxn id="3" idx="4"/>
          </p:cNvCxnSpPr>
          <p:nvPr/>
        </p:nvCxnSpPr>
        <p:spPr>
          <a:xfrm flipV="1">
            <a:off x="5902834" y="4983165"/>
            <a:ext cx="0" cy="601969"/>
          </a:xfrm>
          <a:prstGeom prst="line">
            <a:avLst/>
          </a:prstGeom>
          <a:ln cap="rnd"/>
        </p:spPr>
        <p:style>
          <a:lnRef idx="2">
            <a:schemeClr val="accent1"/>
          </a:lnRef>
          <a:fillRef idx="0">
            <a:schemeClr val="accent1"/>
          </a:fillRef>
          <a:effectRef idx="1">
            <a:schemeClr val="accent1"/>
          </a:effectRef>
          <a:fontRef idx="minor">
            <a:schemeClr val="tx1"/>
          </a:fontRef>
        </p:style>
      </p:cxnSp>
      <p:cxnSp>
        <p:nvCxnSpPr>
          <p:cNvPr id="13" name="Connecteur droit 12">
            <a:extLst>
              <a:ext uri="{FF2B5EF4-FFF2-40B4-BE49-F238E27FC236}">
                <a16:creationId xmlns:a16="http://schemas.microsoft.com/office/drawing/2014/main" id="{9D326D52-2816-C1E7-F0E3-F0181025123E}"/>
              </a:ext>
            </a:extLst>
          </p:cNvPr>
          <p:cNvCxnSpPr>
            <a:cxnSpLocks/>
            <a:stCxn id="3" idx="5"/>
          </p:cNvCxnSpPr>
          <p:nvPr/>
        </p:nvCxnSpPr>
        <p:spPr>
          <a:xfrm>
            <a:off x="6884675" y="4578931"/>
            <a:ext cx="1421623" cy="412580"/>
          </a:xfrm>
          <a:prstGeom prst="line">
            <a:avLst/>
          </a:prstGeom>
          <a:ln cap="rnd"/>
        </p:spPr>
        <p:style>
          <a:lnRef idx="2">
            <a:schemeClr val="accent1"/>
          </a:lnRef>
          <a:fillRef idx="0">
            <a:schemeClr val="accent1"/>
          </a:fillRef>
          <a:effectRef idx="1">
            <a:schemeClr val="accent1"/>
          </a:effectRef>
          <a:fontRef idx="minor">
            <a:schemeClr val="tx1"/>
          </a:fontRef>
        </p:style>
      </p:cxnSp>
      <p:cxnSp>
        <p:nvCxnSpPr>
          <p:cNvPr id="24" name="Connecteur droit 23">
            <a:extLst>
              <a:ext uri="{FF2B5EF4-FFF2-40B4-BE49-F238E27FC236}">
                <a16:creationId xmlns:a16="http://schemas.microsoft.com/office/drawing/2014/main" id="{7027EF50-64C4-8A23-D2A9-408B3C03831E}"/>
              </a:ext>
            </a:extLst>
          </p:cNvPr>
          <p:cNvCxnSpPr>
            <a:cxnSpLocks/>
            <a:stCxn id="3" idx="6"/>
          </p:cNvCxnSpPr>
          <p:nvPr/>
        </p:nvCxnSpPr>
        <p:spPr>
          <a:xfrm flipV="1">
            <a:off x="7291367" y="3189226"/>
            <a:ext cx="958304" cy="413799"/>
          </a:xfrm>
          <a:prstGeom prst="line">
            <a:avLst/>
          </a:prstGeom>
          <a:ln cap="rnd"/>
        </p:spPr>
        <p:style>
          <a:lnRef idx="2">
            <a:schemeClr val="accent1"/>
          </a:lnRef>
          <a:fillRef idx="0">
            <a:schemeClr val="accent1"/>
          </a:fillRef>
          <a:effectRef idx="1">
            <a:schemeClr val="accent1"/>
          </a:effectRef>
          <a:fontRef idx="minor">
            <a:schemeClr val="tx1"/>
          </a:fontRef>
        </p:style>
      </p:cxnSp>
      <p:cxnSp>
        <p:nvCxnSpPr>
          <p:cNvPr id="34" name="Connecteur droit 33">
            <a:extLst>
              <a:ext uri="{FF2B5EF4-FFF2-40B4-BE49-F238E27FC236}">
                <a16:creationId xmlns:a16="http://schemas.microsoft.com/office/drawing/2014/main" id="{24D443E1-05FA-3F56-CF1C-2E444E6E745A}"/>
              </a:ext>
            </a:extLst>
          </p:cNvPr>
          <p:cNvCxnSpPr>
            <a:cxnSpLocks/>
            <a:stCxn id="3" idx="7"/>
          </p:cNvCxnSpPr>
          <p:nvPr/>
        </p:nvCxnSpPr>
        <p:spPr>
          <a:xfrm flipV="1">
            <a:off x="6884675" y="1659475"/>
            <a:ext cx="513236" cy="967644"/>
          </a:xfrm>
          <a:prstGeom prst="line">
            <a:avLst/>
          </a:prstGeom>
          <a:ln cap="rnd"/>
        </p:spPr>
        <p:style>
          <a:lnRef idx="2">
            <a:schemeClr val="accent1"/>
          </a:lnRef>
          <a:fillRef idx="0">
            <a:schemeClr val="accent1"/>
          </a:fillRef>
          <a:effectRef idx="1">
            <a:schemeClr val="accent1"/>
          </a:effectRef>
          <a:fontRef idx="minor">
            <a:schemeClr val="tx1"/>
          </a:fontRef>
        </p:style>
      </p:cxnSp>
      <p:cxnSp>
        <p:nvCxnSpPr>
          <p:cNvPr id="36" name="Connecteur droit 35">
            <a:extLst>
              <a:ext uri="{FF2B5EF4-FFF2-40B4-BE49-F238E27FC236}">
                <a16:creationId xmlns:a16="http://schemas.microsoft.com/office/drawing/2014/main" id="{FDA6F382-99A4-9FB9-45AF-424F1E4C8EE3}"/>
              </a:ext>
            </a:extLst>
          </p:cNvPr>
          <p:cNvCxnSpPr>
            <a:cxnSpLocks/>
          </p:cNvCxnSpPr>
          <p:nvPr/>
        </p:nvCxnSpPr>
        <p:spPr>
          <a:xfrm flipH="1" flipV="1">
            <a:off x="5902833" y="1758427"/>
            <a:ext cx="0" cy="619906"/>
          </a:xfrm>
          <a:prstGeom prst="line">
            <a:avLst/>
          </a:prstGeom>
          <a:ln cap="rnd"/>
        </p:spPr>
        <p:style>
          <a:lnRef idx="2">
            <a:schemeClr val="accent1"/>
          </a:lnRef>
          <a:fillRef idx="0">
            <a:schemeClr val="accent1"/>
          </a:fillRef>
          <a:effectRef idx="1">
            <a:schemeClr val="accent1"/>
          </a:effectRef>
          <a:fontRef idx="minor">
            <a:schemeClr val="tx1"/>
          </a:fontRef>
        </p:style>
      </p:cxnSp>
      <p:cxnSp>
        <p:nvCxnSpPr>
          <p:cNvPr id="10" name="Connecteur droit 9">
            <a:extLst>
              <a:ext uri="{FF2B5EF4-FFF2-40B4-BE49-F238E27FC236}">
                <a16:creationId xmlns:a16="http://schemas.microsoft.com/office/drawing/2014/main" id="{B80648CA-1DDE-6BF7-B719-D551B245A788}"/>
              </a:ext>
            </a:extLst>
          </p:cNvPr>
          <p:cNvCxnSpPr>
            <a:cxnSpLocks/>
          </p:cNvCxnSpPr>
          <p:nvPr/>
        </p:nvCxnSpPr>
        <p:spPr>
          <a:xfrm flipH="1" flipV="1">
            <a:off x="3794797" y="1839196"/>
            <a:ext cx="1127723" cy="943371"/>
          </a:xfrm>
          <a:prstGeom prst="line">
            <a:avLst/>
          </a:prstGeom>
          <a:ln cap="rnd"/>
        </p:spPr>
        <p:style>
          <a:lnRef idx="2">
            <a:schemeClr val="accent1"/>
          </a:lnRef>
          <a:fillRef idx="0">
            <a:schemeClr val="accent1"/>
          </a:fillRef>
          <a:effectRef idx="1">
            <a:schemeClr val="accent1"/>
          </a:effectRef>
          <a:fontRef idx="minor">
            <a:schemeClr val="tx1"/>
          </a:fontRef>
        </p:style>
      </p:cxnSp>
      <p:cxnSp>
        <p:nvCxnSpPr>
          <p:cNvPr id="44" name="Connecteur droit 43">
            <a:extLst>
              <a:ext uri="{FF2B5EF4-FFF2-40B4-BE49-F238E27FC236}">
                <a16:creationId xmlns:a16="http://schemas.microsoft.com/office/drawing/2014/main" id="{46DB22DE-715F-320C-AD43-51A7BC3897A5}"/>
              </a:ext>
            </a:extLst>
          </p:cNvPr>
          <p:cNvCxnSpPr>
            <a:cxnSpLocks/>
          </p:cNvCxnSpPr>
          <p:nvPr/>
        </p:nvCxnSpPr>
        <p:spPr>
          <a:xfrm flipH="1" flipV="1">
            <a:off x="3490179" y="3519607"/>
            <a:ext cx="1055151" cy="238866"/>
          </a:xfrm>
          <a:prstGeom prst="line">
            <a:avLst/>
          </a:prstGeom>
          <a:ln cap="rnd"/>
        </p:spPr>
        <p:style>
          <a:lnRef idx="2">
            <a:schemeClr val="accent1"/>
          </a:lnRef>
          <a:fillRef idx="0">
            <a:schemeClr val="accent1"/>
          </a:fillRef>
          <a:effectRef idx="1">
            <a:schemeClr val="accent1"/>
          </a:effectRef>
          <a:fontRef idx="minor">
            <a:schemeClr val="tx1"/>
          </a:fontRef>
        </p:style>
      </p:cxnSp>
      <p:sp>
        <p:nvSpPr>
          <p:cNvPr id="70" name="Ellipse 69">
            <a:extLst>
              <a:ext uri="{FF2B5EF4-FFF2-40B4-BE49-F238E27FC236}">
                <a16:creationId xmlns:a16="http://schemas.microsoft.com/office/drawing/2014/main" id="{CBC39C0F-0C8F-8EFB-C18E-E8D44B7D2837}"/>
              </a:ext>
            </a:extLst>
          </p:cNvPr>
          <p:cNvSpPr/>
          <p:nvPr/>
        </p:nvSpPr>
        <p:spPr>
          <a:xfrm>
            <a:off x="4514300" y="2378333"/>
            <a:ext cx="2777067" cy="2760280"/>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b="1">
              <a:solidFill>
                <a:prstClr val="white"/>
              </a:solidFill>
              <a:latin typeface="Graphik" panose="020B0503030202060203" pitchFamily="34" charset="0"/>
            </a:endParaRPr>
          </a:p>
        </p:txBody>
      </p:sp>
      <p:sp>
        <p:nvSpPr>
          <p:cNvPr id="2" name="Titre 1">
            <a:extLst>
              <a:ext uri="{FF2B5EF4-FFF2-40B4-BE49-F238E27FC236}">
                <a16:creationId xmlns:a16="http://schemas.microsoft.com/office/drawing/2014/main" id="{87995D15-8630-70A2-6343-BE363C602592}"/>
              </a:ext>
            </a:extLst>
          </p:cNvPr>
          <p:cNvSpPr>
            <a:spLocks noGrp="1"/>
          </p:cNvSpPr>
          <p:nvPr>
            <p:ph type="title"/>
          </p:nvPr>
        </p:nvSpPr>
        <p:spPr/>
        <p:txBody>
          <a:bodyPr/>
          <a:lstStyle/>
          <a:p>
            <a:br>
              <a:rPr lang="en-US" sz="2400"/>
            </a:br>
            <a:br>
              <a:rPr lang="en-US" sz="2400"/>
            </a:br>
            <a:br>
              <a:rPr lang="en-US" sz="2400"/>
            </a:br>
            <a:r>
              <a:rPr lang="en-US" sz="2400"/>
              <a:t>The catalog of services proposed by the Data Office and the Data Platform teams enables domains to quickly increase the business value derived from enterprise data</a:t>
            </a:r>
            <a:endParaRPr lang="fr-FR" sz="2400"/>
          </a:p>
        </p:txBody>
      </p:sp>
      <p:sp>
        <p:nvSpPr>
          <p:cNvPr id="3" name="Ellipse 2">
            <a:extLst>
              <a:ext uri="{FF2B5EF4-FFF2-40B4-BE49-F238E27FC236}">
                <a16:creationId xmlns:a16="http://schemas.microsoft.com/office/drawing/2014/main" id="{A7834C39-491B-53F1-A7CF-F51594A287E5}"/>
              </a:ext>
            </a:extLst>
          </p:cNvPr>
          <p:cNvSpPr/>
          <p:nvPr/>
        </p:nvSpPr>
        <p:spPr>
          <a:xfrm>
            <a:off x="4514300" y="2378333"/>
            <a:ext cx="2777067" cy="2760280"/>
          </a:xfrm>
          <a:prstGeom prst="ellipse">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b="1">
              <a:solidFill>
                <a:prstClr val="white"/>
              </a:solidFill>
              <a:latin typeface="Graphik" panose="020B0503030202060203" pitchFamily="34" charset="0"/>
            </a:endParaRPr>
          </a:p>
        </p:txBody>
      </p:sp>
      <p:sp>
        <p:nvSpPr>
          <p:cNvPr id="4" name="Arc partiel 3">
            <a:extLst>
              <a:ext uri="{FF2B5EF4-FFF2-40B4-BE49-F238E27FC236}">
                <a16:creationId xmlns:a16="http://schemas.microsoft.com/office/drawing/2014/main" id="{80E77D16-B01F-018B-0C58-AAA4C51871E2}"/>
              </a:ext>
            </a:extLst>
          </p:cNvPr>
          <p:cNvSpPr/>
          <p:nvPr/>
        </p:nvSpPr>
        <p:spPr>
          <a:xfrm>
            <a:off x="4767751" y="2630305"/>
            <a:ext cx="2294026" cy="2278913"/>
          </a:xfrm>
          <a:prstGeom prst="pie">
            <a:avLst>
              <a:gd name="adj1" fmla="val 0"/>
              <a:gd name="adj2" fmla="val 10807864"/>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solidFill>
                <a:prstClr val="white"/>
              </a:solidFill>
              <a:latin typeface="Graphik" panose="020B0503030202060203" pitchFamily="34" charset="0"/>
            </a:endParaRPr>
          </a:p>
        </p:txBody>
      </p:sp>
      <p:sp>
        <p:nvSpPr>
          <p:cNvPr id="5" name="Arc partiel 4">
            <a:extLst>
              <a:ext uri="{FF2B5EF4-FFF2-40B4-BE49-F238E27FC236}">
                <a16:creationId xmlns:a16="http://schemas.microsoft.com/office/drawing/2014/main" id="{02B79BE7-8C30-D41B-3B0C-E4E0EED486EB}"/>
              </a:ext>
            </a:extLst>
          </p:cNvPr>
          <p:cNvSpPr/>
          <p:nvPr/>
        </p:nvSpPr>
        <p:spPr>
          <a:xfrm rot="10800000">
            <a:off x="4764602" y="2593735"/>
            <a:ext cx="2294025" cy="2362326"/>
          </a:xfrm>
          <a:prstGeom prst="pie">
            <a:avLst>
              <a:gd name="adj1" fmla="val 0"/>
              <a:gd name="adj2" fmla="val 10807864"/>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solidFill>
                <a:prstClr val="white"/>
              </a:solidFill>
              <a:latin typeface="Graphik" panose="020B0503030202060203" pitchFamily="34" charset="0"/>
            </a:endParaRPr>
          </a:p>
        </p:txBody>
      </p:sp>
      <p:sp>
        <p:nvSpPr>
          <p:cNvPr id="6" name="ZoneTexte 5">
            <a:extLst>
              <a:ext uri="{FF2B5EF4-FFF2-40B4-BE49-F238E27FC236}">
                <a16:creationId xmlns:a16="http://schemas.microsoft.com/office/drawing/2014/main" id="{1258A950-BC31-98F9-2AB0-C3263D76CFB1}"/>
              </a:ext>
            </a:extLst>
          </p:cNvPr>
          <p:cNvSpPr txBox="1"/>
          <p:nvPr/>
        </p:nvSpPr>
        <p:spPr>
          <a:xfrm>
            <a:off x="5186596" y="3206018"/>
            <a:ext cx="1436401" cy="338554"/>
          </a:xfrm>
          <a:prstGeom prst="rect">
            <a:avLst/>
          </a:prstGeom>
          <a:noFill/>
        </p:spPr>
        <p:txBody>
          <a:bodyPr wrap="square" rtlCol="0">
            <a:spAutoFit/>
          </a:bodyPr>
          <a:lstStyle/>
          <a:p>
            <a:pPr algn="ctr">
              <a:spcBef>
                <a:spcPts val="600"/>
              </a:spcBef>
            </a:pPr>
            <a:r>
              <a:rPr lang="en-US" sz="1600" b="1"/>
              <a:t>DATA OFFICE</a:t>
            </a:r>
          </a:p>
        </p:txBody>
      </p:sp>
      <p:sp>
        <p:nvSpPr>
          <p:cNvPr id="7" name="ZoneTexte 6">
            <a:extLst>
              <a:ext uri="{FF2B5EF4-FFF2-40B4-BE49-F238E27FC236}">
                <a16:creationId xmlns:a16="http://schemas.microsoft.com/office/drawing/2014/main" id="{F416BB30-7DE4-6D4D-7676-0A446237569C}"/>
              </a:ext>
            </a:extLst>
          </p:cNvPr>
          <p:cNvSpPr txBox="1"/>
          <p:nvPr/>
        </p:nvSpPr>
        <p:spPr>
          <a:xfrm>
            <a:off x="5088334" y="3893056"/>
            <a:ext cx="1632924" cy="584775"/>
          </a:xfrm>
          <a:prstGeom prst="rect">
            <a:avLst/>
          </a:prstGeom>
          <a:noFill/>
        </p:spPr>
        <p:txBody>
          <a:bodyPr wrap="square" rtlCol="0">
            <a:spAutoFit/>
          </a:bodyPr>
          <a:lstStyle/>
          <a:p>
            <a:pPr algn="ctr">
              <a:spcBef>
                <a:spcPts val="600"/>
              </a:spcBef>
            </a:pPr>
            <a:r>
              <a:rPr lang="en-US" sz="1600" b="1"/>
              <a:t>DATA PLATFORM TEAM</a:t>
            </a:r>
          </a:p>
        </p:txBody>
      </p:sp>
      <p:sp>
        <p:nvSpPr>
          <p:cNvPr id="8" name="TextBox 90">
            <a:extLst>
              <a:ext uri="{FF2B5EF4-FFF2-40B4-BE49-F238E27FC236}">
                <a16:creationId xmlns:a16="http://schemas.microsoft.com/office/drawing/2014/main" id="{FE54A02C-9B93-0ADB-00DE-8C373312AE65}"/>
              </a:ext>
            </a:extLst>
          </p:cNvPr>
          <p:cNvSpPr txBox="1"/>
          <p:nvPr/>
        </p:nvSpPr>
        <p:spPr>
          <a:xfrm>
            <a:off x="4750069" y="2605971"/>
            <a:ext cx="2305528" cy="2305005"/>
          </a:xfrm>
          <a:prstGeom prst="rect">
            <a:avLst/>
          </a:prstGeom>
          <a:noFill/>
        </p:spPr>
        <p:txBody>
          <a:bodyPr wrap="square" lIns="0" tIns="0" rIns="0" bIns="0" rtlCol="0">
            <a:prstTxWarp prst="textArchUp">
              <a:avLst>
                <a:gd name="adj" fmla="val 11095572"/>
              </a:avLst>
            </a:prstTxWarp>
            <a:noAutofit/>
          </a:bodyPr>
          <a:lstStyle/>
          <a:p>
            <a:pPr algn="l" defTabSz="228600">
              <a:spcAft>
                <a:spcPts val="1200"/>
              </a:spcAft>
            </a:pPr>
            <a:r>
              <a:rPr lang="en-US" sz="1200" b="1" noProof="0"/>
              <a:t>DATA MARKETPLACE - SELF-SERVCE DATA PLATFORM</a:t>
            </a:r>
          </a:p>
        </p:txBody>
      </p:sp>
      <p:cxnSp>
        <p:nvCxnSpPr>
          <p:cNvPr id="11" name="Connecteur droit 10">
            <a:extLst>
              <a:ext uri="{FF2B5EF4-FFF2-40B4-BE49-F238E27FC236}">
                <a16:creationId xmlns:a16="http://schemas.microsoft.com/office/drawing/2014/main" id="{BBFAA1B4-5467-57E2-BCFE-A14A22070901}"/>
              </a:ext>
            </a:extLst>
          </p:cNvPr>
          <p:cNvCxnSpPr>
            <a:cxnSpLocks/>
          </p:cNvCxnSpPr>
          <p:nvPr/>
        </p:nvCxnSpPr>
        <p:spPr>
          <a:xfrm flipH="1" flipV="1">
            <a:off x="7397912" y="1814923"/>
            <a:ext cx="3675472" cy="9733"/>
          </a:xfrm>
          <a:prstGeom prst="line">
            <a:avLst/>
          </a:prstGeom>
          <a:ln cap="rnd"/>
        </p:spPr>
        <p:style>
          <a:lnRef idx="2">
            <a:schemeClr val="accent1"/>
          </a:lnRef>
          <a:fillRef idx="0">
            <a:schemeClr val="accent1"/>
          </a:fillRef>
          <a:effectRef idx="1">
            <a:schemeClr val="accent1"/>
          </a:effectRef>
          <a:fontRef idx="minor">
            <a:schemeClr val="tx1"/>
          </a:fontRef>
        </p:style>
      </p:cxnSp>
      <p:sp>
        <p:nvSpPr>
          <p:cNvPr id="16" name="ZoneTexte 15">
            <a:extLst>
              <a:ext uri="{FF2B5EF4-FFF2-40B4-BE49-F238E27FC236}">
                <a16:creationId xmlns:a16="http://schemas.microsoft.com/office/drawing/2014/main" id="{EF159C1A-00E8-1CC1-3E2D-08AB93F2BBCF}"/>
              </a:ext>
            </a:extLst>
          </p:cNvPr>
          <p:cNvSpPr txBox="1"/>
          <p:nvPr/>
        </p:nvSpPr>
        <p:spPr>
          <a:xfrm>
            <a:off x="8288526" y="4411213"/>
            <a:ext cx="3642054" cy="646331"/>
          </a:xfrm>
          <a:prstGeom prst="rect">
            <a:avLst/>
          </a:prstGeom>
          <a:noFill/>
        </p:spPr>
        <p:txBody>
          <a:bodyPr wrap="square" rtlCol="0">
            <a:spAutoFit/>
          </a:bodyPr>
          <a:lstStyle/>
          <a:p>
            <a:r>
              <a:rPr lang="en-US" sz="1200"/>
              <a:t>A</a:t>
            </a:r>
            <a:r>
              <a:rPr lang="en-US" sz="1200" b="1">
                <a:solidFill>
                  <a:schemeClr val="accent4"/>
                </a:solidFill>
              </a:rPr>
              <a:t> data platform infrastructure </a:t>
            </a:r>
            <a:r>
              <a:rPr lang="en-US" sz="1200"/>
              <a:t>helping domains to build new data-driven use cases with standard ready-to-use features</a:t>
            </a:r>
            <a:endParaRPr lang="en-US" sz="1200">
              <a:highlight>
                <a:srgbClr val="FFFF00"/>
              </a:highlight>
            </a:endParaRPr>
          </a:p>
        </p:txBody>
      </p:sp>
      <p:sp>
        <p:nvSpPr>
          <p:cNvPr id="17" name="ZoneTexte 16">
            <a:extLst>
              <a:ext uri="{FF2B5EF4-FFF2-40B4-BE49-F238E27FC236}">
                <a16:creationId xmlns:a16="http://schemas.microsoft.com/office/drawing/2014/main" id="{FD87B896-FD49-4AD3-EEF0-129EF2F28504}"/>
              </a:ext>
            </a:extLst>
          </p:cNvPr>
          <p:cNvSpPr txBox="1"/>
          <p:nvPr/>
        </p:nvSpPr>
        <p:spPr>
          <a:xfrm>
            <a:off x="816336" y="4986868"/>
            <a:ext cx="2985867" cy="461665"/>
          </a:xfrm>
          <a:prstGeom prst="rect">
            <a:avLst/>
          </a:prstGeom>
          <a:noFill/>
        </p:spPr>
        <p:txBody>
          <a:bodyPr wrap="square" rtlCol="0">
            <a:spAutoFit/>
          </a:bodyPr>
          <a:lstStyle/>
          <a:p>
            <a:r>
              <a:rPr lang="en-US" sz="1200" b="1">
                <a:solidFill>
                  <a:schemeClr val="accent4"/>
                </a:solidFill>
              </a:rPr>
              <a:t>Provide best practices </a:t>
            </a:r>
            <a:r>
              <a:rPr lang="en-US" sz="1200"/>
              <a:t>for new data products (E-Capex…)</a:t>
            </a:r>
          </a:p>
        </p:txBody>
      </p:sp>
      <p:sp>
        <p:nvSpPr>
          <p:cNvPr id="18" name="ZoneTexte 17">
            <a:extLst>
              <a:ext uri="{FF2B5EF4-FFF2-40B4-BE49-F238E27FC236}">
                <a16:creationId xmlns:a16="http://schemas.microsoft.com/office/drawing/2014/main" id="{311ED92A-9BE5-00DE-A0BF-470D441D588E}"/>
              </a:ext>
            </a:extLst>
          </p:cNvPr>
          <p:cNvSpPr txBox="1"/>
          <p:nvPr/>
        </p:nvSpPr>
        <p:spPr>
          <a:xfrm>
            <a:off x="8302294" y="2811887"/>
            <a:ext cx="3139001" cy="461665"/>
          </a:xfrm>
          <a:prstGeom prst="rect">
            <a:avLst/>
          </a:prstGeom>
          <a:noFill/>
        </p:spPr>
        <p:txBody>
          <a:bodyPr wrap="square" rtlCol="0">
            <a:spAutoFit/>
          </a:bodyPr>
          <a:lstStyle/>
          <a:p>
            <a:r>
              <a:rPr lang="en-US" sz="1200"/>
              <a:t>Define the </a:t>
            </a:r>
            <a:r>
              <a:rPr lang="en-US" sz="1200" b="1">
                <a:solidFill>
                  <a:schemeClr val="accent4"/>
                </a:solidFill>
              </a:rPr>
              <a:t>key principles </a:t>
            </a:r>
            <a:r>
              <a:rPr lang="en-US" sz="1200"/>
              <a:t>(processes and tools) for </a:t>
            </a:r>
            <a:r>
              <a:rPr lang="en-US" sz="1200" b="1">
                <a:solidFill>
                  <a:schemeClr val="accent4"/>
                </a:solidFill>
              </a:rPr>
              <a:t>sharing</a:t>
            </a:r>
            <a:r>
              <a:rPr lang="en-US" sz="1200" b="1"/>
              <a:t> </a:t>
            </a:r>
            <a:r>
              <a:rPr lang="en-US" sz="1200"/>
              <a:t>data within the VC organization</a:t>
            </a:r>
          </a:p>
        </p:txBody>
      </p:sp>
      <p:sp>
        <p:nvSpPr>
          <p:cNvPr id="19" name="ZoneTexte 18">
            <a:extLst>
              <a:ext uri="{FF2B5EF4-FFF2-40B4-BE49-F238E27FC236}">
                <a16:creationId xmlns:a16="http://schemas.microsoft.com/office/drawing/2014/main" id="{CA7DF692-ECF2-A065-8F34-6AD61C4E5B7D}"/>
              </a:ext>
            </a:extLst>
          </p:cNvPr>
          <p:cNvSpPr txBox="1"/>
          <p:nvPr/>
        </p:nvSpPr>
        <p:spPr>
          <a:xfrm>
            <a:off x="7494510" y="1353258"/>
            <a:ext cx="3807474" cy="461665"/>
          </a:xfrm>
          <a:prstGeom prst="rect">
            <a:avLst/>
          </a:prstGeom>
          <a:noFill/>
        </p:spPr>
        <p:txBody>
          <a:bodyPr wrap="square" rtlCol="0">
            <a:spAutoFit/>
          </a:bodyPr>
          <a:lstStyle/>
          <a:p>
            <a:r>
              <a:rPr lang="en-US" sz="1200" b="1">
                <a:solidFill>
                  <a:schemeClr val="accent4"/>
                </a:solidFill>
              </a:rPr>
              <a:t>Maintain a data catalog </a:t>
            </a:r>
            <a:r>
              <a:rPr lang="en-US" sz="1200"/>
              <a:t>of data products across the entire VC organization</a:t>
            </a:r>
          </a:p>
        </p:txBody>
      </p:sp>
      <p:sp>
        <p:nvSpPr>
          <p:cNvPr id="20" name="ZoneTexte 19">
            <a:extLst>
              <a:ext uri="{FF2B5EF4-FFF2-40B4-BE49-F238E27FC236}">
                <a16:creationId xmlns:a16="http://schemas.microsoft.com/office/drawing/2014/main" id="{8BADDE5B-D991-24BC-0E39-64441A83F62C}"/>
              </a:ext>
            </a:extLst>
          </p:cNvPr>
          <p:cNvSpPr txBox="1"/>
          <p:nvPr/>
        </p:nvSpPr>
        <p:spPr>
          <a:xfrm>
            <a:off x="827363" y="1340307"/>
            <a:ext cx="3315756" cy="461665"/>
          </a:xfrm>
          <a:prstGeom prst="rect">
            <a:avLst/>
          </a:prstGeom>
          <a:noFill/>
        </p:spPr>
        <p:txBody>
          <a:bodyPr wrap="square" rtlCol="0">
            <a:spAutoFit/>
          </a:bodyPr>
          <a:lstStyle/>
          <a:p>
            <a:r>
              <a:rPr lang="en-US" sz="1200" b="1">
                <a:solidFill>
                  <a:schemeClr val="accent4"/>
                </a:solidFill>
              </a:rPr>
              <a:t>Scope new data-driven business use cases for domains</a:t>
            </a:r>
          </a:p>
        </p:txBody>
      </p:sp>
      <p:sp>
        <p:nvSpPr>
          <p:cNvPr id="23" name="ZoneTexte 22">
            <a:extLst>
              <a:ext uri="{FF2B5EF4-FFF2-40B4-BE49-F238E27FC236}">
                <a16:creationId xmlns:a16="http://schemas.microsoft.com/office/drawing/2014/main" id="{6CE769CF-D433-C83B-3D34-04D4DF231390}"/>
              </a:ext>
            </a:extLst>
          </p:cNvPr>
          <p:cNvSpPr txBox="1"/>
          <p:nvPr/>
        </p:nvSpPr>
        <p:spPr>
          <a:xfrm>
            <a:off x="7494509" y="1864395"/>
            <a:ext cx="2978701" cy="261610"/>
          </a:xfrm>
          <a:prstGeom prst="rect">
            <a:avLst/>
          </a:prstGeom>
          <a:noFill/>
        </p:spPr>
        <p:txBody>
          <a:bodyPr wrap="none" rtlCol="0">
            <a:spAutoFit/>
          </a:bodyPr>
          <a:lstStyle/>
          <a:p>
            <a:r>
              <a:rPr lang="en-US" sz="1100"/>
              <a:t>KPI : Number of published data sources, User traffic</a:t>
            </a:r>
            <a:endParaRPr lang="fr-FR" sz="1100"/>
          </a:p>
        </p:txBody>
      </p:sp>
      <p:cxnSp>
        <p:nvCxnSpPr>
          <p:cNvPr id="28" name="Connecteur droit 27">
            <a:extLst>
              <a:ext uri="{FF2B5EF4-FFF2-40B4-BE49-F238E27FC236}">
                <a16:creationId xmlns:a16="http://schemas.microsoft.com/office/drawing/2014/main" id="{F1C57596-07F2-CD4F-502C-06E063CCD9BD}"/>
              </a:ext>
            </a:extLst>
          </p:cNvPr>
          <p:cNvCxnSpPr>
            <a:cxnSpLocks/>
          </p:cNvCxnSpPr>
          <p:nvPr/>
        </p:nvCxnSpPr>
        <p:spPr>
          <a:xfrm flipH="1">
            <a:off x="906478" y="5470617"/>
            <a:ext cx="2827090" cy="0"/>
          </a:xfrm>
          <a:prstGeom prst="line">
            <a:avLst/>
          </a:prstGeom>
          <a:ln cap="rnd"/>
        </p:spPr>
        <p:style>
          <a:lnRef idx="2">
            <a:schemeClr val="accent1"/>
          </a:lnRef>
          <a:fillRef idx="0">
            <a:schemeClr val="accent1"/>
          </a:fillRef>
          <a:effectRef idx="1">
            <a:schemeClr val="accent1"/>
          </a:effectRef>
          <a:fontRef idx="minor">
            <a:schemeClr val="tx1"/>
          </a:fontRef>
        </p:style>
      </p:cxnSp>
      <p:cxnSp>
        <p:nvCxnSpPr>
          <p:cNvPr id="30" name="Connecteur droit 29">
            <a:extLst>
              <a:ext uri="{FF2B5EF4-FFF2-40B4-BE49-F238E27FC236}">
                <a16:creationId xmlns:a16="http://schemas.microsoft.com/office/drawing/2014/main" id="{E45208C5-8CED-A2C5-CB21-7BD3E4CD71CC}"/>
              </a:ext>
            </a:extLst>
          </p:cNvPr>
          <p:cNvCxnSpPr>
            <a:cxnSpLocks/>
          </p:cNvCxnSpPr>
          <p:nvPr/>
        </p:nvCxnSpPr>
        <p:spPr>
          <a:xfrm flipH="1">
            <a:off x="8315488" y="5138613"/>
            <a:ext cx="3300512" cy="0"/>
          </a:xfrm>
          <a:prstGeom prst="line">
            <a:avLst/>
          </a:prstGeom>
          <a:ln cap="rnd"/>
        </p:spPr>
        <p:style>
          <a:lnRef idx="2">
            <a:schemeClr val="accent1"/>
          </a:lnRef>
          <a:fillRef idx="0">
            <a:schemeClr val="accent1"/>
          </a:fillRef>
          <a:effectRef idx="1">
            <a:schemeClr val="accent1"/>
          </a:effectRef>
          <a:fontRef idx="minor">
            <a:schemeClr val="tx1"/>
          </a:fontRef>
        </p:style>
      </p:cxnSp>
      <p:sp>
        <p:nvSpPr>
          <p:cNvPr id="32" name="ZoneTexte 31">
            <a:extLst>
              <a:ext uri="{FF2B5EF4-FFF2-40B4-BE49-F238E27FC236}">
                <a16:creationId xmlns:a16="http://schemas.microsoft.com/office/drawing/2014/main" id="{D77A01F6-55A1-F7F7-2E41-530216F84776}"/>
              </a:ext>
            </a:extLst>
          </p:cNvPr>
          <p:cNvSpPr txBox="1"/>
          <p:nvPr/>
        </p:nvSpPr>
        <p:spPr>
          <a:xfrm>
            <a:off x="581463" y="2856572"/>
            <a:ext cx="3500237" cy="646331"/>
          </a:xfrm>
          <a:prstGeom prst="rect">
            <a:avLst/>
          </a:prstGeom>
          <a:noFill/>
        </p:spPr>
        <p:txBody>
          <a:bodyPr wrap="square" rtlCol="0">
            <a:spAutoFit/>
          </a:bodyPr>
          <a:lstStyle/>
          <a:p>
            <a:r>
              <a:rPr lang="en-US" sz="1200" b="1">
                <a:solidFill>
                  <a:schemeClr val="accent4"/>
                </a:solidFill>
              </a:rPr>
              <a:t>Support the domains</a:t>
            </a:r>
            <a:r>
              <a:rPr lang="en-US" sz="1200">
                <a:solidFill>
                  <a:schemeClr val="accent4"/>
                </a:solidFill>
              </a:rPr>
              <a:t> </a:t>
            </a:r>
            <a:r>
              <a:rPr lang="en-US" sz="1200"/>
              <a:t>in the implementation of </a:t>
            </a:r>
            <a:r>
              <a:rPr lang="en-US" sz="1200" b="1">
                <a:solidFill>
                  <a:schemeClr val="accent4"/>
                </a:solidFill>
              </a:rPr>
              <a:t>new roles </a:t>
            </a:r>
            <a:r>
              <a:rPr lang="en-US" sz="1200">
                <a:solidFill>
                  <a:schemeClr val="accent4"/>
                </a:solidFill>
              </a:rPr>
              <a:t>(</a:t>
            </a:r>
            <a:r>
              <a:rPr lang="en-US" sz="1200" b="1">
                <a:solidFill>
                  <a:schemeClr val="accent4"/>
                </a:solidFill>
              </a:rPr>
              <a:t>Data Product Owner</a:t>
            </a:r>
            <a:r>
              <a:rPr lang="en-US" sz="1200">
                <a:solidFill>
                  <a:schemeClr val="accent4"/>
                </a:solidFill>
              </a:rPr>
              <a:t>, </a:t>
            </a:r>
            <a:r>
              <a:rPr lang="en-US" sz="1200" b="1">
                <a:solidFill>
                  <a:schemeClr val="accent4"/>
                </a:solidFill>
              </a:rPr>
              <a:t>Data Steward</a:t>
            </a:r>
            <a:r>
              <a:rPr lang="en-US" sz="1200">
                <a:solidFill>
                  <a:schemeClr val="accent4"/>
                </a:solidFill>
              </a:rPr>
              <a:t>) </a:t>
            </a:r>
            <a:r>
              <a:rPr lang="en-US" sz="1200" b="1">
                <a:solidFill>
                  <a:schemeClr val="accent4"/>
                </a:solidFill>
              </a:rPr>
              <a:t>&amp; acculturation</a:t>
            </a:r>
          </a:p>
        </p:txBody>
      </p:sp>
      <p:cxnSp>
        <p:nvCxnSpPr>
          <p:cNvPr id="39" name="Connecteur droit 38">
            <a:extLst>
              <a:ext uri="{FF2B5EF4-FFF2-40B4-BE49-F238E27FC236}">
                <a16:creationId xmlns:a16="http://schemas.microsoft.com/office/drawing/2014/main" id="{A9F3A8C2-EBC8-AC9A-EE41-2BB9AF77B035}"/>
              </a:ext>
            </a:extLst>
          </p:cNvPr>
          <p:cNvCxnSpPr>
            <a:cxnSpLocks/>
          </p:cNvCxnSpPr>
          <p:nvPr/>
        </p:nvCxnSpPr>
        <p:spPr>
          <a:xfrm flipH="1" flipV="1">
            <a:off x="906478" y="1821019"/>
            <a:ext cx="2883730" cy="9733"/>
          </a:xfrm>
          <a:prstGeom prst="line">
            <a:avLst/>
          </a:prstGeom>
          <a:ln cap="rnd"/>
        </p:spPr>
        <p:style>
          <a:lnRef idx="2">
            <a:schemeClr val="accent1"/>
          </a:lnRef>
          <a:fillRef idx="0">
            <a:schemeClr val="accent1"/>
          </a:fillRef>
          <a:effectRef idx="1">
            <a:schemeClr val="accent1"/>
          </a:effectRef>
          <a:fontRef idx="minor">
            <a:schemeClr val="tx1"/>
          </a:fontRef>
        </p:style>
      </p:cxnSp>
      <p:sp>
        <p:nvSpPr>
          <p:cNvPr id="42" name="ZoneTexte 41">
            <a:extLst>
              <a:ext uri="{FF2B5EF4-FFF2-40B4-BE49-F238E27FC236}">
                <a16:creationId xmlns:a16="http://schemas.microsoft.com/office/drawing/2014/main" id="{F1488BE2-212C-2688-FD2B-B793DECAEF5B}"/>
              </a:ext>
            </a:extLst>
          </p:cNvPr>
          <p:cNvSpPr txBox="1"/>
          <p:nvPr/>
        </p:nvSpPr>
        <p:spPr>
          <a:xfrm>
            <a:off x="871110" y="1880595"/>
            <a:ext cx="2827090" cy="261610"/>
          </a:xfrm>
          <a:prstGeom prst="rect">
            <a:avLst/>
          </a:prstGeom>
          <a:noFill/>
        </p:spPr>
        <p:txBody>
          <a:bodyPr wrap="square" rtlCol="0">
            <a:spAutoFit/>
          </a:bodyPr>
          <a:lstStyle/>
          <a:p>
            <a:r>
              <a:rPr lang="en-US" sz="1100"/>
              <a:t>KPI : Number of use cases scoped by data office</a:t>
            </a:r>
            <a:endParaRPr lang="fr-FR" sz="1100"/>
          </a:p>
        </p:txBody>
      </p:sp>
      <p:cxnSp>
        <p:nvCxnSpPr>
          <p:cNvPr id="43" name="Connecteur droit 42">
            <a:extLst>
              <a:ext uri="{FF2B5EF4-FFF2-40B4-BE49-F238E27FC236}">
                <a16:creationId xmlns:a16="http://schemas.microsoft.com/office/drawing/2014/main" id="{0E86542A-A3BF-61CC-D861-33EFAEAC554D}"/>
              </a:ext>
            </a:extLst>
          </p:cNvPr>
          <p:cNvCxnSpPr>
            <a:cxnSpLocks/>
          </p:cNvCxnSpPr>
          <p:nvPr/>
        </p:nvCxnSpPr>
        <p:spPr>
          <a:xfrm flipH="1">
            <a:off x="663089" y="3519607"/>
            <a:ext cx="2827090" cy="0"/>
          </a:xfrm>
          <a:prstGeom prst="line">
            <a:avLst/>
          </a:prstGeom>
          <a:ln cap="rnd"/>
        </p:spPr>
        <p:style>
          <a:lnRef idx="2">
            <a:schemeClr val="accent1"/>
          </a:lnRef>
          <a:fillRef idx="0">
            <a:schemeClr val="accent1"/>
          </a:fillRef>
          <a:effectRef idx="1">
            <a:schemeClr val="accent1"/>
          </a:effectRef>
          <a:fontRef idx="minor">
            <a:schemeClr val="tx1"/>
          </a:fontRef>
        </p:style>
      </p:cxnSp>
      <p:sp>
        <p:nvSpPr>
          <p:cNvPr id="47" name="ZoneTexte 46">
            <a:extLst>
              <a:ext uri="{FF2B5EF4-FFF2-40B4-BE49-F238E27FC236}">
                <a16:creationId xmlns:a16="http://schemas.microsoft.com/office/drawing/2014/main" id="{E9240DFF-5376-A9C2-6C13-EE881885F3B5}"/>
              </a:ext>
            </a:extLst>
          </p:cNvPr>
          <p:cNvSpPr txBox="1"/>
          <p:nvPr/>
        </p:nvSpPr>
        <p:spPr>
          <a:xfrm>
            <a:off x="576000" y="3553014"/>
            <a:ext cx="3122200" cy="430887"/>
          </a:xfrm>
          <a:prstGeom prst="rect">
            <a:avLst/>
          </a:prstGeom>
          <a:noFill/>
        </p:spPr>
        <p:txBody>
          <a:bodyPr wrap="square" rtlCol="0">
            <a:spAutoFit/>
          </a:bodyPr>
          <a:lstStyle/>
          <a:p>
            <a:r>
              <a:rPr lang="en-US" sz="1100"/>
              <a:t>KPI : Number of domains implementing the new role model </a:t>
            </a:r>
            <a:endParaRPr lang="fr-FR" sz="1100"/>
          </a:p>
        </p:txBody>
      </p:sp>
      <p:sp>
        <p:nvSpPr>
          <p:cNvPr id="12" name="ZoneTexte 11">
            <a:extLst>
              <a:ext uri="{FF2B5EF4-FFF2-40B4-BE49-F238E27FC236}">
                <a16:creationId xmlns:a16="http://schemas.microsoft.com/office/drawing/2014/main" id="{8FB7CEE2-20C9-52C1-C755-63E97AE6A56E}"/>
              </a:ext>
            </a:extLst>
          </p:cNvPr>
          <p:cNvSpPr txBox="1"/>
          <p:nvPr/>
        </p:nvSpPr>
        <p:spPr>
          <a:xfrm>
            <a:off x="8324312" y="5186923"/>
            <a:ext cx="3296095" cy="430887"/>
          </a:xfrm>
          <a:prstGeom prst="rect">
            <a:avLst/>
          </a:prstGeom>
          <a:noFill/>
        </p:spPr>
        <p:txBody>
          <a:bodyPr wrap="none" rtlCol="0">
            <a:spAutoFit/>
          </a:bodyPr>
          <a:lstStyle/>
          <a:p>
            <a:r>
              <a:rPr lang="en-US" sz="1100"/>
              <a:t>KPI : Number of use cases hosted in the data platform, </a:t>
            </a:r>
          </a:p>
          <a:p>
            <a:r>
              <a:rPr lang="fr-FR" sz="1100"/>
              <a:t>Time for the provision of the infrastructure</a:t>
            </a:r>
          </a:p>
        </p:txBody>
      </p:sp>
      <p:cxnSp>
        <p:nvCxnSpPr>
          <p:cNvPr id="21" name="Connecteur droit 20">
            <a:extLst>
              <a:ext uri="{FF2B5EF4-FFF2-40B4-BE49-F238E27FC236}">
                <a16:creationId xmlns:a16="http://schemas.microsoft.com/office/drawing/2014/main" id="{26BA551E-8D2B-245A-FB26-9574031FAF2A}"/>
              </a:ext>
            </a:extLst>
          </p:cNvPr>
          <p:cNvCxnSpPr>
            <a:cxnSpLocks/>
          </p:cNvCxnSpPr>
          <p:nvPr/>
        </p:nvCxnSpPr>
        <p:spPr>
          <a:xfrm flipH="1">
            <a:off x="8253227" y="3329650"/>
            <a:ext cx="3048757" cy="14148"/>
          </a:xfrm>
          <a:prstGeom prst="line">
            <a:avLst/>
          </a:prstGeom>
          <a:ln cap="rnd"/>
        </p:spPr>
        <p:style>
          <a:lnRef idx="2">
            <a:schemeClr val="accent1"/>
          </a:lnRef>
          <a:fillRef idx="0">
            <a:schemeClr val="accent1"/>
          </a:fillRef>
          <a:effectRef idx="1">
            <a:schemeClr val="accent1"/>
          </a:effectRef>
          <a:fontRef idx="minor">
            <a:schemeClr val="tx1"/>
          </a:fontRef>
        </p:style>
      </p:cxnSp>
      <p:sp>
        <p:nvSpPr>
          <p:cNvPr id="35" name="ZoneTexte 34">
            <a:extLst>
              <a:ext uri="{FF2B5EF4-FFF2-40B4-BE49-F238E27FC236}">
                <a16:creationId xmlns:a16="http://schemas.microsoft.com/office/drawing/2014/main" id="{29A18311-D014-95C3-04A3-058DCFA5FD08}"/>
              </a:ext>
            </a:extLst>
          </p:cNvPr>
          <p:cNvSpPr txBox="1"/>
          <p:nvPr/>
        </p:nvSpPr>
        <p:spPr>
          <a:xfrm>
            <a:off x="856618" y="5496502"/>
            <a:ext cx="2827090" cy="261610"/>
          </a:xfrm>
          <a:prstGeom prst="rect">
            <a:avLst/>
          </a:prstGeom>
          <a:noFill/>
        </p:spPr>
        <p:txBody>
          <a:bodyPr wrap="square" rtlCol="0">
            <a:spAutoFit/>
          </a:bodyPr>
          <a:lstStyle/>
          <a:p>
            <a:r>
              <a:rPr lang="en-US" sz="1100"/>
              <a:t>KPI : Number of use cases supported</a:t>
            </a:r>
            <a:endParaRPr lang="fr-FR" sz="1100"/>
          </a:p>
        </p:txBody>
      </p:sp>
      <p:cxnSp>
        <p:nvCxnSpPr>
          <p:cNvPr id="38" name="Connecteur droit 37">
            <a:extLst>
              <a:ext uri="{FF2B5EF4-FFF2-40B4-BE49-F238E27FC236}">
                <a16:creationId xmlns:a16="http://schemas.microsoft.com/office/drawing/2014/main" id="{09667868-E897-E52B-779B-AD835BB67CAA}"/>
              </a:ext>
            </a:extLst>
          </p:cNvPr>
          <p:cNvCxnSpPr>
            <a:cxnSpLocks/>
          </p:cNvCxnSpPr>
          <p:nvPr/>
        </p:nvCxnSpPr>
        <p:spPr>
          <a:xfrm flipH="1">
            <a:off x="4890658" y="1755063"/>
            <a:ext cx="2024351" cy="1096"/>
          </a:xfrm>
          <a:prstGeom prst="line">
            <a:avLst/>
          </a:prstGeom>
          <a:ln cap="rnd"/>
        </p:spPr>
        <p:style>
          <a:lnRef idx="2">
            <a:schemeClr val="accent1"/>
          </a:lnRef>
          <a:fillRef idx="0">
            <a:schemeClr val="accent1"/>
          </a:fillRef>
          <a:effectRef idx="1">
            <a:schemeClr val="accent1"/>
          </a:effectRef>
          <a:fontRef idx="minor">
            <a:schemeClr val="tx1"/>
          </a:fontRef>
        </p:style>
      </p:cxnSp>
      <p:sp>
        <p:nvSpPr>
          <p:cNvPr id="41" name="ZoneTexte 40">
            <a:extLst>
              <a:ext uri="{FF2B5EF4-FFF2-40B4-BE49-F238E27FC236}">
                <a16:creationId xmlns:a16="http://schemas.microsoft.com/office/drawing/2014/main" id="{372DF9F8-AF76-83A6-3EB4-8027934B0DE2}"/>
              </a:ext>
            </a:extLst>
          </p:cNvPr>
          <p:cNvSpPr txBox="1"/>
          <p:nvPr/>
        </p:nvSpPr>
        <p:spPr>
          <a:xfrm>
            <a:off x="4706473" y="1266174"/>
            <a:ext cx="2315071" cy="461665"/>
          </a:xfrm>
          <a:prstGeom prst="rect">
            <a:avLst/>
          </a:prstGeom>
          <a:noFill/>
        </p:spPr>
        <p:txBody>
          <a:bodyPr wrap="square" rtlCol="0">
            <a:spAutoFit/>
          </a:bodyPr>
          <a:lstStyle/>
          <a:p>
            <a:pPr algn="ctr"/>
            <a:r>
              <a:rPr lang="en-US" sz="1200" b="1">
                <a:solidFill>
                  <a:schemeClr val="accent4"/>
                </a:solidFill>
              </a:rPr>
              <a:t>Develop data culture in the VC organization</a:t>
            </a:r>
          </a:p>
        </p:txBody>
      </p:sp>
      <p:cxnSp>
        <p:nvCxnSpPr>
          <p:cNvPr id="45" name="Connecteur droit 44">
            <a:extLst>
              <a:ext uri="{FF2B5EF4-FFF2-40B4-BE49-F238E27FC236}">
                <a16:creationId xmlns:a16="http://schemas.microsoft.com/office/drawing/2014/main" id="{078BA760-74BD-59B9-A491-DD21475C1794}"/>
              </a:ext>
            </a:extLst>
          </p:cNvPr>
          <p:cNvCxnSpPr>
            <a:cxnSpLocks/>
          </p:cNvCxnSpPr>
          <p:nvPr/>
        </p:nvCxnSpPr>
        <p:spPr>
          <a:xfrm flipH="1">
            <a:off x="4837001" y="5745622"/>
            <a:ext cx="2024351" cy="1096"/>
          </a:xfrm>
          <a:prstGeom prst="line">
            <a:avLst/>
          </a:prstGeom>
          <a:ln cap="rnd"/>
        </p:spPr>
        <p:style>
          <a:lnRef idx="2">
            <a:schemeClr val="accent1"/>
          </a:lnRef>
          <a:fillRef idx="0">
            <a:schemeClr val="accent1"/>
          </a:fillRef>
          <a:effectRef idx="1">
            <a:schemeClr val="accent1"/>
          </a:effectRef>
          <a:fontRef idx="minor">
            <a:schemeClr val="tx1"/>
          </a:fontRef>
        </p:style>
      </p:cxnSp>
      <p:sp>
        <p:nvSpPr>
          <p:cNvPr id="48" name="ZoneTexte 47">
            <a:extLst>
              <a:ext uri="{FF2B5EF4-FFF2-40B4-BE49-F238E27FC236}">
                <a16:creationId xmlns:a16="http://schemas.microsoft.com/office/drawing/2014/main" id="{5F2FB8BE-3481-F7E9-19C8-7095D91C745C}"/>
              </a:ext>
            </a:extLst>
          </p:cNvPr>
          <p:cNvSpPr txBox="1"/>
          <p:nvPr/>
        </p:nvSpPr>
        <p:spPr>
          <a:xfrm>
            <a:off x="4691640" y="5757147"/>
            <a:ext cx="2315071" cy="461665"/>
          </a:xfrm>
          <a:prstGeom prst="rect">
            <a:avLst/>
          </a:prstGeom>
          <a:noFill/>
          <a:ln>
            <a:noFill/>
          </a:ln>
        </p:spPr>
        <p:txBody>
          <a:bodyPr wrap="square" rtlCol="0">
            <a:spAutoFit/>
          </a:bodyPr>
          <a:lstStyle/>
          <a:p>
            <a:pPr algn="ctr"/>
            <a:r>
              <a:rPr lang="en-US" sz="1200"/>
              <a:t>Bring a </a:t>
            </a:r>
            <a:r>
              <a:rPr lang="en-US" sz="1200" b="1">
                <a:solidFill>
                  <a:schemeClr val="accent4"/>
                </a:solidFill>
              </a:rPr>
              <a:t>Sandbox (test platform) </a:t>
            </a:r>
            <a:r>
              <a:rPr lang="en-US" sz="1200"/>
              <a:t>to Analytics users</a:t>
            </a:r>
          </a:p>
        </p:txBody>
      </p:sp>
      <p:sp>
        <p:nvSpPr>
          <p:cNvPr id="49" name="ZoneTexte 48">
            <a:extLst>
              <a:ext uri="{FF2B5EF4-FFF2-40B4-BE49-F238E27FC236}">
                <a16:creationId xmlns:a16="http://schemas.microsoft.com/office/drawing/2014/main" id="{6A1A9B83-C856-8106-2712-24FB6AA57B4C}"/>
              </a:ext>
            </a:extLst>
          </p:cNvPr>
          <p:cNvSpPr txBox="1"/>
          <p:nvPr/>
        </p:nvSpPr>
        <p:spPr>
          <a:xfrm>
            <a:off x="5971468" y="5289389"/>
            <a:ext cx="2024347" cy="430887"/>
          </a:xfrm>
          <a:prstGeom prst="rect">
            <a:avLst/>
          </a:prstGeom>
          <a:noFill/>
        </p:spPr>
        <p:txBody>
          <a:bodyPr wrap="square" rtlCol="0">
            <a:spAutoFit/>
          </a:bodyPr>
          <a:lstStyle/>
          <a:p>
            <a:r>
              <a:rPr lang="en-US" sz="1100"/>
              <a:t>KPI : Number of</a:t>
            </a:r>
          </a:p>
          <a:p>
            <a:r>
              <a:rPr lang="en-US" sz="1100"/>
              <a:t>workspaces </a:t>
            </a:r>
            <a:endParaRPr lang="fr-FR" sz="1100"/>
          </a:p>
        </p:txBody>
      </p:sp>
    </p:spTree>
    <p:extLst>
      <p:ext uri="{BB962C8B-B14F-4D97-AF65-F5344CB8AC3E}">
        <p14:creationId xmlns:p14="http://schemas.microsoft.com/office/powerpoint/2010/main" val="1717254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68B8A1B-9B47-10B7-A1D0-99A9C6252095}"/>
              </a:ext>
            </a:extLst>
          </p:cNvPr>
          <p:cNvSpPr>
            <a:spLocks noGrp="1"/>
          </p:cNvSpPr>
          <p:nvPr>
            <p:ph type="title"/>
          </p:nvPr>
        </p:nvSpPr>
        <p:spPr/>
        <p:txBody>
          <a:bodyPr/>
          <a:lstStyle/>
          <a:p>
            <a:r>
              <a:rPr lang="en-US" sz="5400"/>
              <a:t>APPENDIX</a:t>
            </a:r>
          </a:p>
        </p:txBody>
      </p:sp>
      <p:sp>
        <p:nvSpPr>
          <p:cNvPr id="4" name="Espace réservé du texte 3">
            <a:extLst>
              <a:ext uri="{FF2B5EF4-FFF2-40B4-BE49-F238E27FC236}">
                <a16:creationId xmlns:a16="http://schemas.microsoft.com/office/drawing/2014/main" id="{588F59EA-2FE5-916E-73C0-3F0F9135D828}"/>
              </a:ext>
            </a:extLst>
          </p:cNvPr>
          <p:cNvSpPr>
            <a:spLocks noGrp="1"/>
          </p:cNvSpPr>
          <p:nvPr>
            <p:ph type="body" sz="quarter" idx="10"/>
          </p:nvPr>
        </p:nvSpPr>
        <p:spPr/>
        <p:txBody>
          <a:bodyPr/>
          <a:lstStyle/>
          <a:p>
            <a:endParaRPr lang="fr-FR"/>
          </a:p>
        </p:txBody>
      </p:sp>
      <p:sp>
        <p:nvSpPr>
          <p:cNvPr id="3" name="Espace réservé du texte 2">
            <a:extLst>
              <a:ext uri="{FF2B5EF4-FFF2-40B4-BE49-F238E27FC236}">
                <a16:creationId xmlns:a16="http://schemas.microsoft.com/office/drawing/2014/main" id="{9677BF05-6AFC-C0F0-BDE2-7DC3CC37D8BB}"/>
              </a:ext>
            </a:extLst>
          </p:cNvPr>
          <p:cNvSpPr>
            <a:spLocks noGrp="1"/>
          </p:cNvSpPr>
          <p:nvPr>
            <p:ph type="body" sz="quarter" idx="11"/>
          </p:nvPr>
        </p:nvSpPr>
        <p:spPr/>
        <p:txBody>
          <a:bodyPr/>
          <a:lstStyle/>
          <a:p>
            <a:r>
              <a:rPr lang="fr-FR"/>
              <a:t>5</a:t>
            </a:r>
          </a:p>
        </p:txBody>
      </p:sp>
    </p:spTree>
    <p:extLst>
      <p:ext uri="{BB962C8B-B14F-4D97-AF65-F5344CB8AC3E}">
        <p14:creationId xmlns:p14="http://schemas.microsoft.com/office/powerpoint/2010/main" val="770641179"/>
      </p:ext>
    </p:extLst>
  </p:cSld>
  <p:clrMapOvr>
    <a:masterClrMapping/>
  </p:clrMapOvr>
  <p:transition spd="slow">
    <p:cove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EB462B8-6032-BC81-5797-BF1FC588060C}"/>
              </a:ext>
            </a:extLst>
          </p:cNvPr>
          <p:cNvSpPr>
            <a:spLocks noGrp="1"/>
          </p:cNvSpPr>
          <p:nvPr>
            <p:ph type="title"/>
          </p:nvPr>
        </p:nvSpPr>
        <p:spPr/>
        <p:txBody>
          <a:bodyPr/>
          <a:lstStyle/>
          <a:p>
            <a:r>
              <a:rPr lang="fr-FR"/>
              <a:t>Glossary Data Marketplace</a:t>
            </a:r>
          </a:p>
        </p:txBody>
      </p:sp>
      <p:sp>
        <p:nvSpPr>
          <p:cNvPr id="3" name="Espace réservé du texte 2">
            <a:extLst>
              <a:ext uri="{FF2B5EF4-FFF2-40B4-BE49-F238E27FC236}">
                <a16:creationId xmlns:a16="http://schemas.microsoft.com/office/drawing/2014/main" id="{B39C0BC7-1103-4220-2BE9-DD87752C062C}"/>
              </a:ext>
            </a:extLst>
          </p:cNvPr>
          <p:cNvSpPr>
            <a:spLocks noGrp="1"/>
          </p:cNvSpPr>
          <p:nvPr>
            <p:ph type="body" idx="1"/>
          </p:nvPr>
        </p:nvSpPr>
        <p:spPr/>
        <p:txBody>
          <a:bodyPr/>
          <a:lstStyle/>
          <a:p>
            <a:r>
              <a:rPr lang="fr-FR" err="1"/>
              <a:t>Understand</a:t>
            </a:r>
            <a:r>
              <a:rPr lang="fr-FR"/>
              <a:t> Informatica </a:t>
            </a:r>
            <a:r>
              <a:rPr lang="fr-FR" err="1"/>
              <a:t>vocabulary</a:t>
            </a:r>
            <a:r>
              <a:rPr lang="fr-FR"/>
              <a:t> for Data Marketplace</a:t>
            </a:r>
          </a:p>
        </p:txBody>
      </p:sp>
      <p:sp>
        <p:nvSpPr>
          <p:cNvPr id="5" name="Espace réservé du pied de page 4">
            <a:extLst>
              <a:ext uri="{FF2B5EF4-FFF2-40B4-BE49-F238E27FC236}">
                <a16:creationId xmlns:a16="http://schemas.microsoft.com/office/drawing/2014/main" id="{8441CA59-9DB7-52C3-FDD8-ACB65366FAB5}"/>
              </a:ext>
            </a:extLst>
          </p:cNvPr>
          <p:cNvSpPr>
            <a:spLocks noGrp="1"/>
          </p:cNvSpPr>
          <p:nvPr>
            <p:ph type="ftr" sz="quarter" idx="10"/>
          </p:nvPr>
        </p:nvSpPr>
        <p:spPr/>
        <p:txBody>
          <a:bodyPr/>
          <a:lstStyle/>
          <a:p>
            <a:endParaRPr lang="fr-FR"/>
          </a:p>
        </p:txBody>
      </p:sp>
      <p:sp>
        <p:nvSpPr>
          <p:cNvPr id="7" name="ZoneTexte 6">
            <a:extLst>
              <a:ext uri="{FF2B5EF4-FFF2-40B4-BE49-F238E27FC236}">
                <a16:creationId xmlns:a16="http://schemas.microsoft.com/office/drawing/2014/main" id="{C2C72996-EA25-485C-FDD9-55B20B958A21}"/>
              </a:ext>
            </a:extLst>
          </p:cNvPr>
          <p:cNvSpPr txBox="1"/>
          <p:nvPr/>
        </p:nvSpPr>
        <p:spPr>
          <a:xfrm>
            <a:off x="0" y="3595018"/>
            <a:ext cx="2663301" cy="369332"/>
          </a:xfrm>
          <a:prstGeom prst="rect">
            <a:avLst/>
          </a:prstGeom>
          <a:noFill/>
        </p:spPr>
        <p:txBody>
          <a:bodyPr wrap="square" rtlCol="0">
            <a:spAutoFit/>
          </a:bodyPr>
          <a:lstStyle/>
          <a:p>
            <a:pPr algn="ctr"/>
            <a:r>
              <a:rPr lang="fr-FR"/>
              <a:t>Data Marketplace</a:t>
            </a:r>
          </a:p>
        </p:txBody>
      </p:sp>
      <p:graphicFrame>
        <p:nvGraphicFramePr>
          <p:cNvPr id="8" name="Tableau 7">
            <a:extLst>
              <a:ext uri="{FF2B5EF4-FFF2-40B4-BE49-F238E27FC236}">
                <a16:creationId xmlns:a16="http://schemas.microsoft.com/office/drawing/2014/main" id="{C35613DF-6556-1CD4-33F3-A1109EC71EC3}"/>
              </a:ext>
            </a:extLst>
          </p:cNvPr>
          <p:cNvGraphicFramePr>
            <a:graphicFrameLocks noGrp="1"/>
          </p:cNvGraphicFramePr>
          <p:nvPr>
            <p:custDataLst>
              <p:tags r:id="rId1"/>
            </p:custDataLst>
            <p:extLst>
              <p:ext uri="{D42A27DB-BD31-4B8C-83A1-F6EECF244321}">
                <p14:modId xmlns:p14="http://schemas.microsoft.com/office/powerpoint/2010/main" val="2845724329"/>
              </p:ext>
            </p:extLst>
          </p:nvPr>
        </p:nvGraphicFramePr>
        <p:xfrm>
          <a:off x="2431530" y="1657349"/>
          <a:ext cx="9184469" cy="4057280"/>
        </p:xfrm>
        <a:graphic>
          <a:graphicData uri="http://schemas.openxmlformats.org/drawingml/2006/table">
            <a:tbl>
              <a:tblPr>
                <a:tableStyleId>{21E4AEA4-8DFA-4A89-87EB-49C32662AFE0}</a:tableStyleId>
              </a:tblPr>
              <a:tblGrid>
                <a:gridCol w="3758769">
                  <a:extLst>
                    <a:ext uri="{9D8B030D-6E8A-4147-A177-3AD203B41FA5}">
                      <a16:colId xmlns:a16="http://schemas.microsoft.com/office/drawing/2014/main" val="3493139964"/>
                    </a:ext>
                  </a:extLst>
                </a:gridCol>
                <a:gridCol w="5425700">
                  <a:extLst>
                    <a:ext uri="{9D8B030D-6E8A-4147-A177-3AD203B41FA5}">
                      <a16:colId xmlns:a16="http://schemas.microsoft.com/office/drawing/2014/main" val="3175751149"/>
                    </a:ext>
                  </a:extLst>
                </a:gridCol>
              </a:tblGrid>
              <a:tr h="402677">
                <a:tc>
                  <a:txBody>
                    <a:bodyPr/>
                    <a:lstStyle/>
                    <a:p>
                      <a:pPr algn="ctr" fontAlgn="ctr"/>
                      <a:r>
                        <a:rPr lang="fr-FR" sz="1400" u="none" strike="noStrike">
                          <a:effectLst/>
                        </a:rPr>
                        <a:t>Domain</a:t>
                      </a:r>
                      <a:endParaRPr lang="fr-FR" sz="1400" b="0" i="0" u="none" strike="noStrike">
                        <a:solidFill>
                          <a:srgbClr val="000000"/>
                        </a:solidFill>
                        <a:effectLst/>
                        <a:latin typeface="Calibri" panose="020F0502020204030204" pitchFamily="34" charset="0"/>
                      </a:endParaRPr>
                    </a:p>
                  </a:txBody>
                  <a:tcPr marL="6475" marR="6475" marT="6475" marB="0" anchor="ctr"/>
                </a:tc>
                <a:tc>
                  <a:txBody>
                    <a:bodyPr/>
                    <a:lstStyle/>
                    <a:p>
                      <a:pPr algn="ctr" fontAlgn="ctr"/>
                      <a:r>
                        <a:rPr lang="en-US" sz="1400" u="none" strike="noStrike">
                          <a:effectLst/>
                        </a:rPr>
                        <a:t>Element grouping together several Data Products. Similar to the </a:t>
                      </a:r>
                      <a:r>
                        <a:rPr lang="en-US" sz="1400" u="none" strike="noStrike" err="1">
                          <a:effectLst/>
                        </a:rPr>
                        <a:t>OnlineHelp</a:t>
                      </a:r>
                      <a:r>
                        <a:rPr lang="en-US" sz="1400" u="none" strike="noStrike">
                          <a:effectLst/>
                        </a:rPr>
                        <a:t> domain.</a:t>
                      </a:r>
                      <a:endParaRPr lang="fr-FR" sz="1400" b="0" i="0" u="none" strike="noStrike">
                        <a:solidFill>
                          <a:srgbClr val="000000"/>
                        </a:solidFill>
                        <a:effectLst/>
                        <a:latin typeface="Calibri" panose="020F0502020204030204" pitchFamily="34" charset="0"/>
                      </a:endParaRPr>
                    </a:p>
                  </a:txBody>
                  <a:tcPr marL="6475" marR="6475" marT="6475" marB="0" anchor="ctr"/>
                </a:tc>
                <a:extLst>
                  <a:ext uri="{0D108BD9-81ED-4DB2-BD59-A6C34878D82A}">
                    <a16:rowId xmlns:a16="http://schemas.microsoft.com/office/drawing/2014/main" val="1724216755"/>
                  </a:ext>
                </a:extLst>
              </a:tr>
              <a:tr h="671127">
                <a:tc>
                  <a:txBody>
                    <a:bodyPr/>
                    <a:lstStyle/>
                    <a:p>
                      <a:pPr algn="ctr" fontAlgn="ctr"/>
                      <a:r>
                        <a:rPr lang="fr-FR" sz="1400" u="none" strike="noStrike">
                          <a:effectLst/>
                        </a:rPr>
                        <a:t>Data Product</a:t>
                      </a:r>
                      <a:endParaRPr lang="fr-FR" sz="1400" b="0" i="0" u="none" strike="noStrike">
                        <a:solidFill>
                          <a:srgbClr val="000000"/>
                        </a:solidFill>
                        <a:effectLst/>
                        <a:latin typeface="Calibri" panose="020F0502020204030204" pitchFamily="34" charset="0"/>
                      </a:endParaRPr>
                    </a:p>
                  </a:txBody>
                  <a:tcPr marL="6475" marR="6475" marT="6475" marB="0" anchor="ctr"/>
                </a:tc>
                <a:tc>
                  <a:txBody>
                    <a:bodyPr/>
                    <a:lstStyle/>
                    <a:p>
                      <a:pPr algn="ctr" fontAlgn="b"/>
                      <a:r>
                        <a:rPr lang="en-US" sz="1400" u="none" strike="noStrike">
                          <a:effectLst/>
                        </a:rPr>
                        <a:t>Main element of the marketplace made up of tables to which users request access in order to exploit the linked data.</a:t>
                      </a:r>
                      <a:endParaRPr lang="fr-FR" sz="1400" b="0" i="0" u="none" strike="noStrike">
                        <a:solidFill>
                          <a:srgbClr val="000000"/>
                        </a:solidFill>
                        <a:effectLst/>
                        <a:latin typeface="Calibri" panose="020F0502020204030204" pitchFamily="34" charset="0"/>
                      </a:endParaRPr>
                    </a:p>
                  </a:txBody>
                  <a:tcPr marL="6475" marR="6475" marT="6475" marB="0" anchor="ctr"/>
                </a:tc>
                <a:extLst>
                  <a:ext uri="{0D108BD9-81ED-4DB2-BD59-A6C34878D82A}">
                    <a16:rowId xmlns:a16="http://schemas.microsoft.com/office/drawing/2014/main" val="255791109"/>
                  </a:ext>
                </a:extLst>
              </a:tr>
              <a:tr h="805352">
                <a:tc>
                  <a:txBody>
                    <a:bodyPr/>
                    <a:lstStyle/>
                    <a:p>
                      <a:pPr algn="ctr" fontAlgn="ctr"/>
                      <a:r>
                        <a:rPr lang="fr-FR" sz="1400" u="none" strike="noStrike">
                          <a:effectLst/>
                        </a:rPr>
                        <a:t>Tables</a:t>
                      </a:r>
                      <a:endParaRPr lang="fr-FR" sz="1400" b="0" i="0" u="none" strike="noStrike">
                        <a:solidFill>
                          <a:srgbClr val="000000"/>
                        </a:solidFill>
                        <a:effectLst/>
                        <a:latin typeface="Calibri" panose="020F0502020204030204" pitchFamily="34" charset="0"/>
                      </a:endParaRPr>
                    </a:p>
                  </a:txBody>
                  <a:tcPr marL="6475" marR="6475" marT="6475" marB="0" anchor="ctr"/>
                </a:tc>
                <a:tc>
                  <a:txBody>
                    <a:bodyPr/>
                    <a:lstStyle/>
                    <a:p>
                      <a:pPr algn="ctr" fontAlgn="ctr"/>
                      <a:r>
                        <a:rPr lang="en-US" sz="1400" u="none" strike="noStrike">
                          <a:effectLst/>
                        </a:rPr>
                        <a:t>Grouping of several data elements (see definition below)</a:t>
                      </a:r>
                      <a:endParaRPr lang="fr-FR" sz="1400" b="0" i="0" u="none" strike="noStrike">
                        <a:solidFill>
                          <a:srgbClr val="000000"/>
                        </a:solidFill>
                        <a:effectLst/>
                        <a:latin typeface="Calibri" panose="020F0502020204030204" pitchFamily="34" charset="0"/>
                      </a:endParaRPr>
                    </a:p>
                  </a:txBody>
                  <a:tcPr marL="6475" marR="6475" marT="6475" marB="0" anchor="ctr"/>
                </a:tc>
                <a:extLst>
                  <a:ext uri="{0D108BD9-81ED-4DB2-BD59-A6C34878D82A}">
                    <a16:rowId xmlns:a16="http://schemas.microsoft.com/office/drawing/2014/main" val="2638956394"/>
                  </a:ext>
                </a:extLst>
              </a:tr>
              <a:tr h="805352">
                <a:tc>
                  <a:txBody>
                    <a:bodyPr/>
                    <a:lstStyle/>
                    <a:p>
                      <a:pPr algn="ctr" fontAlgn="ctr"/>
                      <a:r>
                        <a:rPr lang="fr-FR" sz="1400" u="none" strike="noStrike">
                          <a:effectLst/>
                        </a:rPr>
                        <a:t>Data </a:t>
                      </a:r>
                      <a:r>
                        <a:rPr lang="fr-FR" sz="1400" u="none" strike="noStrike" err="1">
                          <a:effectLst/>
                        </a:rPr>
                        <a:t>Element</a:t>
                      </a:r>
                      <a:endParaRPr lang="fr-FR" sz="1400" b="0" i="0" u="none" strike="noStrike">
                        <a:solidFill>
                          <a:srgbClr val="000000"/>
                        </a:solidFill>
                        <a:effectLst/>
                        <a:latin typeface="Calibri" panose="020F0502020204030204" pitchFamily="34" charset="0"/>
                      </a:endParaRPr>
                    </a:p>
                  </a:txBody>
                  <a:tcPr marL="6475" marR="6475" marT="6475" marB="0" anchor="ctr"/>
                </a:tc>
                <a:tc>
                  <a:txBody>
                    <a:bodyPr/>
                    <a:lstStyle/>
                    <a:p>
                      <a:pPr marL="0" algn="ctr" defTabSz="609585" rtl="0" eaLnBrk="1" fontAlgn="b" latinLnBrk="0" hangingPunct="1"/>
                      <a:r>
                        <a:rPr lang="en-US" sz="1400" u="none" strike="noStrike" kern="1200">
                          <a:solidFill>
                            <a:schemeClr val="dk1"/>
                          </a:solidFill>
                          <a:effectLst/>
                          <a:latin typeface="+mn-lt"/>
                          <a:ea typeface="+mn-ea"/>
                          <a:cs typeface="+mn-cs"/>
                        </a:rPr>
                        <a:t>Smallest element in the Informatica object hierarchy. Most of the time          they represent a column inside a table. Data elements come from the data catalog.</a:t>
                      </a:r>
                      <a:endParaRPr lang="fr-FR" sz="1400" u="none" strike="noStrike" kern="1200">
                        <a:solidFill>
                          <a:schemeClr val="dk1"/>
                        </a:solidFill>
                        <a:effectLst/>
                        <a:latin typeface="+mn-lt"/>
                        <a:ea typeface="+mn-ea"/>
                        <a:cs typeface="+mn-cs"/>
                      </a:endParaRPr>
                    </a:p>
                  </a:txBody>
                  <a:tcPr marL="6475" marR="6475" marT="6475" marB="0" anchor="ctr"/>
                </a:tc>
                <a:extLst>
                  <a:ext uri="{0D108BD9-81ED-4DB2-BD59-A6C34878D82A}">
                    <a16:rowId xmlns:a16="http://schemas.microsoft.com/office/drawing/2014/main" val="432631631"/>
                  </a:ext>
                </a:extLst>
              </a:tr>
              <a:tr h="671127">
                <a:tc>
                  <a:txBody>
                    <a:bodyPr/>
                    <a:lstStyle/>
                    <a:p>
                      <a:pPr algn="ctr" fontAlgn="ctr"/>
                      <a:r>
                        <a:rPr lang="fr-FR" sz="1400" u="none" strike="noStrike">
                          <a:effectLst/>
                        </a:rPr>
                        <a:t>Delivery</a:t>
                      </a:r>
                      <a:endParaRPr lang="fr-FR" sz="1400" b="0" i="0" u="none" strike="noStrike">
                        <a:solidFill>
                          <a:srgbClr val="000000"/>
                        </a:solidFill>
                        <a:effectLst/>
                        <a:latin typeface="Calibri" panose="020F0502020204030204" pitchFamily="34" charset="0"/>
                      </a:endParaRPr>
                    </a:p>
                  </a:txBody>
                  <a:tcPr marL="6475" marR="6475" marT="6475" marB="0" anchor="ctr"/>
                </a:tc>
                <a:tc>
                  <a:txBody>
                    <a:bodyPr/>
                    <a:lstStyle/>
                    <a:p>
                      <a:pPr algn="ctr" fontAlgn="b"/>
                      <a:r>
                        <a:rPr lang="en-US" sz="1400" u="none" strike="noStrike">
                          <a:effectLst/>
                        </a:rPr>
                        <a:t>Data product delivery is made of three elements: the format (pbx, tables, etc.), the method (link, access group, etc.), and the model.</a:t>
                      </a:r>
                      <a:endParaRPr lang="fr-FR" sz="1400" b="0" i="0" u="none" strike="noStrike">
                        <a:solidFill>
                          <a:srgbClr val="000000"/>
                        </a:solidFill>
                        <a:effectLst/>
                        <a:latin typeface="Calibri" panose="020F0502020204030204" pitchFamily="34" charset="0"/>
                      </a:endParaRPr>
                    </a:p>
                  </a:txBody>
                  <a:tcPr marL="6475" marR="6475" marT="6475" marB="0" anchor="ctr"/>
                </a:tc>
                <a:extLst>
                  <a:ext uri="{0D108BD9-81ED-4DB2-BD59-A6C34878D82A}">
                    <a16:rowId xmlns:a16="http://schemas.microsoft.com/office/drawing/2014/main" val="908630119"/>
                  </a:ext>
                </a:extLst>
              </a:tr>
              <a:tr h="671127">
                <a:tc>
                  <a:txBody>
                    <a:bodyPr/>
                    <a:lstStyle/>
                    <a:p>
                      <a:pPr algn="ctr" fontAlgn="ctr"/>
                      <a:r>
                        <a:rPr lang="fr-FR" sz="1400" u="none" strike="noStrike" err="1">
                          <a:effectLst/>
                        </a:rPr>
                        <a:t>Terms</a:t>
                      </a:r>
                      <a:r>
                        <a:rPr lang="fr-FR" sz="1400" u="none" strike="noStrike">
                          <a:effectLst/>
                        </a:rPr>
                        <a:t> of use</a:t>
                      </a:r>
                      <a:endParaRPr lang="fr-FR" sz="1400" b="0" i="0" u="none" strike="noStrike">
                        <a:solidFill>
                          <a:srgbClr val="000000"/>
                        </a:solidFill>
                        <a:effectLst/>
                        <a:latin typeface="Calibri" panose="020F0502020204030204" pitchFamily="34" charset="0"/>
                      </a:endParaRPr>
                    </a:p>
                  </a:txBody>
                  <a:tcPr marL="6475" marR="6475" marT="6475" marB="0" anchor="ctr"/>
                </a:tc>
                <a:tc>
                  <a:txBody>
                    <a:bodyPr/>
                    <a:lstStyle/>
                    <a:p>
                      <a:pPr algn="ctr" fontAlgn="b"/>
                      <a:r>
                        <a:rPr lang="en-US" sz="1400" u="none" strike="noStrike">
                          <a:effectLst/>
                        </a:rPr>
                        <a:t>Represents the terms of use of a data product, which also indicates whether the data product has controlled use or is accessible.</a:t>
                      </a:r>
                      <a:endParaRPr lang="fr-FR" sz="1400" b="0" i="0" u="none" strike="noStrike">
                        <a:solidFill>
                          <a:srgbClr val="000000"/>
                        </a:solidFill>
                        <a:effectLst/>
                        <a:latin typeface="Calibri" panose="020F0502020204030204" pitchFamily="34" charset="0"/>
                      </a:endParaRPr>
                    </a:p>
                  </a:txBody>
                  <a:tcPr marL="6475" marR="6475" marT="6475" marB="0" anchor="ctr"/>
                </a:tc>
                <a:extLst>
                  <a:ext uri="{0D108BD9-81ED-4DB2-BD59-A6C34878D82A}">
                    <a16:rowId xmlns:a16="http://schemas.microsoft.com/office/drawing/2014/main" val="1130571590"/>
                  </a:ext>
                </a:extLst>
              </a:tr>
            </a:tbl>
          </a:graphicData>
        </a:graphic>
      </p:graphicFrame>
      <p:pic>
        <p:nvPicPr>
          <p:cNvPr id="6" name="Picture 8">
            <a:extLst>
              <a:ext uri="{FF2B5EF4-FFF2-40B4-BE49-F238E27FC236}">
                <a16:creationId xmlns:a16="http://schemas.microsoft.com/office/drawing/2014/main" id="{1850D582-3FC6-A587-162D-1EE80F9BA881}"/>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88128" y="3099719"/>
            <a:ext cx="487044" cy="495299"/>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B3271D4B-91D5-F490-34C2-0DDAE74DCD68}"/>
              </a:ext>
            </a:extLst>
          </p:cNvPr>
          <p:cNvSpPr/>
          <p:nvPr/>
        </p:nvSpPr>
        <p:spPr>
          <a:xfrm>
            <a:off x="0" y="0"/>
            <a:ext cx="12182394" cy="6858000"/>
          </a:xfrm>
          <a:prstGeom prst="rect">
            <a:avLst/>
          </a:prstGeom>
          <a:solidFill>
            <a:schemeClr val="bg1">
              <a:lumMod val="95000"/>
              <a:alpha val="50000"/>
            </a:schemeClr>
          </a:solidFill>
          <a:ln w="6350">
            <a:solidFill>
              <a:schemeClr val="accent6"/>
            </a:solid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a:solidFill>
                  <a:sysClr val="windowText" lastClr="000000"/>
                </a:solidFill>
              </a:rPr>
              <a:t>For </a:t>
            </a:r>
            <a:r>
              <a:rPr lang="fr-FR" err="1">
                <a:solidFill>
                  <a:sysClr val="windowText" lastClr="000000"/>
                </a:solidFill>
              </a:rPr>
              <a:t>Later</a:t>
            </a:r>
            <a:r>
              <a:rPr lang="fr-FR">
                <a:solidFill>
                  <a:sysClr val="windowText" lastClr="000000"/>
                </a:solidFill>
              </a:rPr>
              <a:t> Use</a:t>
            </a:r>
          </a:p>
        </p:txBody>
      </p:sp>
    </p:spTree>
    <p:extLst>
      <p:ext uri="{BB962C8B-B14F-4D97-AF65-F5344CB8AC3E}">
        <p14:creationId xmlns:p14="http://schemas.microsoft.com/office/powerpoint/2010/main" val="4187097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EB462B8-6032-BC81-5797-BF1FC588060C}"/>
              </a:ext>
            </a:extLst>
          </p:cNvPr>
          <p:cNvSpPr>
            <a:spLocks noGrp="1"/>
          </p:cNvSpPr>
          <p:nvPr>
            <p:ph type="title"/>
          </p:nvPr>
        </p:nvSpPr>
        <p:spPr/>
        <p:txBody>
          <a:bodyPr/>
          <a:lstStyle/>
          <a:p>
            <a:r>
              <a:rPr lang="fr-FR"/>
              <a:t>Glossary Data </a:t>
            </a:r>
            <a:r>
              <a:rPr lang="fr-FR" err="1"/>
              <a:t>Catalog</a:t>
            </a:r>
            <a:endParaRPr lang="fr-FR"/>
          </a:p>
        </p:txBody>
      </p:sp>
      <p:sp>
        <p:nvSpPr>
          <p:cNvPr id="3" name="Espace réservé du texte 2">
            <a:extLst>
              <a:ext uri="{FF2B5EF4-FFF2-40B4-BE49-F238E27FC236}">
                <a16:creationId xmlns:a16="http://schemas.microsoft.com/office/drawing/2014/main" id="{B39C0BC7-1103-4220-2BE9-DD87752C062C}"/>
              </a:ext>
            </a:extLst>
          </p:cNvPr>
          <p:cNvSpPr>
            <a:spLocks noGrp="1"/>
          </p:cNvSpPr>
          <p:nvPr>
            <p:ph type="body" idx="1"/>
          </p:nvPr>
        </p:nvSpPr>
        <p:spPr/>
        <p:txBody>
          <a:bodyPr/>
          <a:lstStyle/>
          <a:p>
            <a:r>
              <a:rPr lang="fr-FR" err="1"/>
              <a:t>Understand</a:t>
            </a:r>
            <a:r>
              <a:rPr lang="fr-FR"/>
              <a:t> Informatica </a:t>
            </a:r>
            <a:r>
              <a:rPr lang="fr-FR" err="1"/>
              <a:t>vocabulary</a:t>
            </a:r>
            <a:r>
              <a:rPr lang="fr-FR"/>
              <a:t> for Data </a:t>
            </a:r>
            <a:r>
              <a:rPr lang="fr-FR" err="1"/>
              <a:t>Catalog</a:t>
            </a:r>
            <a:endParaRPr lang="fr-FR"/>
          </a:p>
        </p:txBody>
      </p:sp>
      <p:sp>
        <p:nvSpPr>
          <p:cNvPr id="5" name="Espace réservé du pied de page 4">
            <a:extLst>
              <a:ext uri="{FF2B5EF4-FFF2-40B4-BE49-F238E27FC236}">
                <a16:creationId xmlns:a16="http://schemas.microsoft.com/office/drawing/2014/main" id="{8441CA59-9DB7-52C3-FDD8-ACB65366FAB5}"/>
              </a:ext>
            </a:extLst>
          </p:cNvPr>
          <p:cNvSpPr>
            <a:spLocks noGrp="1"/>
          </p:cNvSpPr>
          <p:nvPr>
            <p:ph type="ftr" sz="quarter" idx="10"/>
          </p:nvPr>
        </p:nvSpPr>
        <p:spPr/>
        <p:txBody>
          <a:bodyPr/>
          <a:lstStyle/>
          <a:p>
            <a:endParaRPr lang="fr-FR"/>
          </a:p>
        </p:txBody>
      </p:sp>
      <p:sp>
        <p:nvSpPr>
          <p:cNvPr id="10" name="ZoneTexte 9">
            <a:extLst>
              <a:ext uri="{FF2B5EF4-FFF2-40B4-BE49-F238E27FC236}">
                <a16:creationId xmlns:a16="http://schemas.microsoft.com/office/drawing/2014/main" id="{8C3D7B65-CB77-A3D4-E543-1E1EF4AF02DE}"/>
              </a:ext>
            </a:extLst>
          </p:cNvPr>
          <p:cNvSpPr txBox="1"/>
          <p:nvPr/>
        </p:nvSpPr>
        <p:spPr>
          <a:xfrm>
            <a:off x="0" y="3595018"/>
            <a:ext cx="2663301" cy="369332"/>
          </a:xfrm>
          <a:prstGeom prst="rect">
            <a:avLst/>
          </a:prstGeom>
          <a:noFill/>
        </p:spPr>
        <p:txBody>
          <a:bodyPr wrap="square" rtlCol="0">
            <a:spAutoFit/>
          </a:bodyPr>
          <a:lstStyle/>
          <a:p>
            <a:pPr algn="ctr"/>
            <a:r>
              <a:rPr lang="fr-FR"/>
              <a:t>Data </a:t>
            </a:r>
            <a:r>
              <a:rPr lang="fr-FR" err="1"/>
              <a:t>Catalog</a:t>
            </a:r>
            <a:endParaRPr lang="fr-FR"/>
          </a:p>
        </p:txBody>
      </p:sp>
      <p:graphicFrame>
        <p:nvGraphicFramePr>
          <p:cNvPr id="14" name="Tableau 13">
            <a:extLst>
              <a:ext uri="{FF2B5EF4-FFF2-40B4-BE49-F238E27FC236}">
                <a16:creationId xmlns:a16="http://schemas.microsoft.com/office/drawing/2014/main" id="{E8758298-8DAC-B4C3-CD5D-95B53529EF23}"/>
              </a:ext>
            </a:extLst>
          </p:cNvPr>
          <p:cNvGraphicFramePr>
            <a:graphicFrameLocks noGrp="1"/>
          </p:cNvGraphicFramePr>
          <p:nvPr>
            <p:custDataLst>
              <p:tags r:id="rId1"/>
            </p:custDataLst>
            <p:extLst>
              <p:ext uri="{D42A27DB-BD31-4B8C-83A1-F6EECF244321}">
                <p14:modId xmlns:p14="http://schemas.microsoft.com/office/powerpoint/2010/main" val="2892923753"/>
              </p:ext>
            </p:extLst>
          </p:nvPr>
        </p:nvGraphicFramePr>
        <p:xfrm>
          <a:off x="2417775" y="1527068"/>
          <a:ext cx="9310274" cy="4686484"/>
        </p:xfrm>
        <a:graphic>
          <a:graphicData uri="http://schemas.openxmlformats.org/drawingml/2006/table">
            <a:tbl>
              <a:tblPr>
                <a:tableStyleId>{21E4AEA4-8DFA-4A89-87EB-49C32662AFE0}</a:tableStyleId>
              </a:tblPr>
              <a:tblGrid>
                <a:gridCol w="2373300">
                  <a:extLst>
                    <a:ext uri="{9D8B030D-6E8A-4147-A177-3AD203B41FA5}">
                      <a16:colId xmlns:a16="http://schemas.microsoft.com/office/drawing/2014/main" val="2325180918"/>
                    </a:ext>
                  </a:extLst>
                </a:gridCol>
                <a:gridCol w="6936974">
                  <a:extLst>
                    <a:ext uri="{9D8B030D-6E8A-4147-A177-3AD203B41FA5}">
                      <a16:colId xmlns:a16="http://schemas.microsoft.com/office/drawing/2014/main" val="3638086882"/>
                    </a:ext>
                  </a:extLst>
                </a:gridCol>
              </a:tblGrid>
              <a:tr h="198275">
                <a:tc>
                  <a:txBody>
                    <a:bodyPr/>
                    <a:lstStyle/>
                    <a:p>
                      <a:pPr algn="ctr" fontAlgn="ctr"/>
                      <a:r>
                        <a:rPr lang="fr-FR" sz="1200" u="none" strike="noStrike" err="1">
                          <a:effectLst/>
                        </a:rPr>
                        <a:t>Glossary</a:t>
                      </a:r>
                      <a:endParaRPr lang="fr-FR" sz="1200" b="0" i="0" u="none" strike="noStrike">
                        <a:solidFill>
                          <a:srgbClr val="000000"/>
                        </a:solidFill>
                        <a:effectLst/>
                        <a:latin typeface="Calibri" panose="020F0502020204030204" pitchFamily="34" charset="0"/>
                      </a:endParaRPr>
                    </a:p>
                  </a:txBody>
                  <a:tcPr marL="3015" marR="3015" marT="3015" marB="0" anchor="ctr"/>
                </a:tc>
                <a:tc>
                  <a:txBody>
                    <a:bodyPr/>
                    <a:lstStyle/>
                    <a:p>
                      <a:pPr algn="ctr" fontAlgn="ctr"/>
                      <a:r>
                        <a:rPr lang="en-US" sz="1200" u="none" strike="noStrike">
                          <a:effectLst/>
                        </a:rPr>
                        <a:t>Organization dictionary with business terms organized by field</a:t>
                      </a:r>
                      <a:endParaRPr lang="fr-FR" sz="1200" b="0" i="0" u="none" strike="noStrike">
                        <a:solidFill>
                          <a:srgbClr val="000000"/>
                        </a:solidFill>
                        <a:effectLst/>
                        <a:latin typeface="Calibri" panose="020F0502020204030204" pitchFamily="34" charset="0"/>
                      </a:endParaRPr>
                    </a:p>
                  </a:txBody>
                  <a:tcPr marL="3015" marR="3015" marT="3015" marB="0" anchor="ctr"/>
                </a:tc>
                <a:extLst>
                  <a:ext uri="{0D108BD9-81ED-4DB2-BD59-A6C34878D82A}">
                    <a16:rowId xmlns:a16="http://schemas.microsoft.com/office/drawing/2014/main" val="3184696836"/>
                  </a:ext>
                </a:extLst>
              </a:tr>
              <a:tr h="588392">
                <a:tc>
                  <a:txBody>
                    <a:bodyPr/>
                    <a:lstStyle/>
                    <a:p>
                      <a:pPr algn="ctr" fontAlgn="ctr"/>
                      <a:r>
                        <a:rPr lang="fr-FR" sz="1200" u="none" strike="noStrike">
                          <a:effectLst/>
                        </a:rPr>
                        <a:t>Domain</a:t>
                      </a:r>
                      <a:endParaRPr lang="fr-FR" sz="1200" b="0" i="0" u="none" strike="noStrike">
                        <a:solidFill>
                          <a:srgbClr val="000000"/>
                        </a:solidFill>
                        <a:effectLst/>
                        <a:latin typeface="Calibri" panose="020F0502020204030204" pitchFamily="34" charset="0"/>
                      </a:endParaRPr>
                    </a:p>
                  </a:txBody>
                  <a:tcPr marL="3015" marR="3015" marT="3015" marB="0" anchor="ctr"/>
                </a:tc>
                <a:tc>
                  <a:txBody>
                    <a:bodyPr/>
                    <a:lstStyle/>
                    <a:p>
                      <a:pPr algn="ctr" fontAlgn="ctr"/>
                      <a:r>
                        <a:rPr lang="en-US" sz="1200" u="none" strike="noStrike">
                          <a:effectLst/>
                        </a:rPr>
                        <a:t>A domain is a type of data glossary asset that refers to a collection of business concepts and activities grouped together for a specific business requirement. A domain generally contains sub-domains within its hierarchy</a:t>
                      </a:r>
                      <a:r>
                        <a:rPr lang="fr-FR" sz="1200" u="none" strike="noStrike">
                          <a:effectLst/>
                        </a:rPr>
                        <a:t>.</a:t>
                      </a:r>
                      <a:endParaRPr lang="fr-FR" sz="1200" b="0" i="0" u="none" strike="noStrike">
                        <a:solidFill>
                          <a:srgbClr val="000000"/>
                        </a:solidFill>
                        <a:effectLst/>
                        <a:latin typeface="Calibri" panose="020F0502020204030204" pitchFamily="34" charset="0"/>
                      </a:endParaRPr>
                    </a:p>
                  </a:txBody>
                  <a:tcPr marL="3015" marR="3015" marT="3015" marB="0" anchor="ctr"/>
                </a:tc>
                <a:extLst>
                  <a:ext uri="{0D108BD9-81ED-4DB2-BD59-A6C34878D82A}">
                    <a16:rowId xmlns:a16="http://schemas.microsoft.com/office/drawing/2014/main" val="256256908"/>
                  </a:ext>
                </a:extLst>
              </a:tr>
              <a:tr h="588392">
                <a:tc>
                  <a:txBody>
                    <a:bodyPr/>
                    <a:lstStyle/>
                    <a:p>
                      <a:pPr marL="0" marR="0" lvl="0" indent="0" algn="ctr" defTabSz="609585" rtl="0" eaLnBrk="1" fontAlgn="ctr" latinLnBrk="0" hangingPunct="1">
                        <a:lnSpc>
                          <a:spcPct val="100000"/>
                        </a:lnSpc>
                        <a:spcBef>
                          <a:spcPts val="0"/>
                        </a:spcBef>
                        <a:spcAft>
                          <a:spcPts val="0"/>
                        </a:spcAft>
                        <a:buClrTx/>
                        <a:buSzTx/>
                        <a:buFontTx/>
                        <a:buNone/>
                        <a:tabLst/>
                        <a:defRPr/>
                      </a:pPr>
                      <a:r>
                        <a:rPr lang="fr-FR" sz="1200" u="none" strike="noStrike" err="1">
                          <a:effectLst/>
                        </a:rPr>
                        <a:t>Sub</a:t>
                      </a:r>
                      <a:r>
                        <a:rPr lang="fr-FR" sz="1200" u="none" strike="noStrike">
                          <a:effectLst/>
                        </a:rPr>
                        <a:t>-Domain</a:t>
                      </a:r>
                      <a:endParaRPr lang="fr-FR" sz="1200" b="0" i="0" u="none" strike="noStrike">
                        <a:solidFill>
                          <a:srgbClr val="000000"/>
                        </a:solidFill>
                        <a:effectLst/>
                        <a:latin typeface="Calibri" panose="020F0502020204030204" pitchFamily="34" charset="0"/>
                      </a:endParaRPr>
                    </a:p>
                  </a:txBody>
                  <a:tcPr marL="3015" marR="3015" marT="3015" marB="0" anchor="ctr"/>
                </a:tc>
                <a:tc>
                  <a:txBody>
                    <a:bodyPr/>
                    <a:lstStyle/>
                    <a:p>
                      <a:pPr marL="0" marR="0" lvl="0" indent="0" algn="ctr" defTabSz="609585" rtl="0" eaLnBrk="1" fontAlgn="ctr" latinLnBrk="0" hangingPunct="1">
                        <a:lnSpc>
                          <a:spcPct val="100000"/>
                        </a:lnSpc>
                        <a:spcBef>
                          <a:spcPts val="0"/>
                        </a:spcBef>
                        <a:spcAft>
                          <a:spcPts val="0"/>
                        </a:spcAft>
                        <a:buClrTx/>
                        <a:buSzTx/>
                        <a:buFontTx/>
                        <a:buNone/>
                        <a:tabLst/>
                        <a:defRPr/>
                      </a:pPr>
                      <a:r>
                        <a:rPr lang="en-US" sz="1200" u="none" strike="noStrike">
                          <a:effectLst/>
                        </a:rPr>
                        <a:t>A sub-domain is a type of data glossary asset to which you can assign a concept or activity that constitutes a specific business requirement or function. A sub-domain usually exists in a hierarchy and belongs to a domain.</a:t>
                      </a:r>
                      <a:endParaRPr lang="fr-FR" sz="1200" b="0" i="0" u="none" strike="noStrike">
                        <a:solidFill>
                          <a:srgbClr val="000000"/>
                        </a:solidFill>
                        <a:effectLst/>
                        <a:latin typeface="Calibri" panose="020F0502020204030204" pitchFamily="34" charset="0"/>
                      </a:endParaRPr>
                    </a:p>
                  </a:txBody>
                  <a:tcPr marL="3015" marR="3015" marT="3015" marB="0" anchor="ctr"/>
                </a:tc>
                <a:extLst>
                  <a:ext uri="{0D108BD9-81ED-4DB2-BD59-A6C34878D82A}">
                    <a16:rowId xmlns:a16="http://schemas.microsoft.com/office/drawing/2014/main" val="3999297401"/>
                  </a:ext>
                </a:extLst>
              </a:tr>
              <a:tr h="393334">
                <a:tc>
                  <a:txBody>
                    <a:bodyPr/>
                    <a:lstStyle/>
                    <a:p>
                      <a:pPr algn="ctr" fontAlgn="ctr"/>
                      <a:r>
                        <a:rPr lang="fr-FR" sz="1200" u="none" strike="noStrike">
                          <a:effectLst/>
                        </a:rPr>
                        <a:t>Business </a:t>
                      </a:r>
                      <a:r>
                        <a:rPr lang="fr-FR" sz="1200" u="none" strike="noStrike" err="1">
                          <a:effectLst/>
                        </a:rPr>
                        <a:t>Terms</a:t>
                      </a:r>
                      <a:endParaRPr lang="fr-FR" sz="1200" b="0" i="0" u="none" strike="noStrike">
                        <a:solidFill>
                          <a:srgbClr val="000000"/>
                        </a:solidFill>
                        <a:effectLst/>
                        <a:latin typeface="Calibri" panose="020F0502020204030204" pitchFamily="34" charset="0"/>
                      </a:endParaRPr>
                    </a:p>
                  </a:txBody>
                  <a:tcPr marL="3015" marR="3015" marT="3015" marB="0" anchor="ctr"/>
                </a:tc>
                <a:tc>
                  <a:txBody>
                    <a:bodyPr/>
                    <a:lstStyle/>
                    <a:p>
                      <a:pPr algn="ctr" fontAlgn="ctr"/>
                      <a:r>
                        <a:rPr lang="en-US" sz="1200" u="none" strike="noStrike">
                          <a:effectLst/>
                        </a:rPr>
                        <a:t>A business term is a type of data glossary asset that corresponds to the definition of a single business concept, function or activity.</a:t>
                      </a:r>
                      <a:r>
                        <a:rPr lang="fr-FR" sz="1200" u="none" strike="noStrike">
                          <a:effectLst/>
                        </a:rPr>
                        <a:t>.</a:t>
                      </a:r>
                      <a:endParaRPr lang="fr-FR" sz="1200" b="0" i="0" u="none" strike="noStrike">
                        <a:solidFill>
                          <a:srgbClr val="000000"/>
                        </a:solidFill>
                        <a:effectLst/>
                        <a:latin typeface="Calibri" panose="020F0502020204030204" pitchFamily="34" charset="0"/>
                      </a:endParaRPr>
                    </a:p>
                  </a:txBody>
                  <a:tcPr marL="3015" marR="3015" marT="3015" marB="0" anchor="ctr"/>
                </a:tc>
                <a:extLst>
                  <a:ext uri="{0D108BD9-81ED-4DB2-BD59-A6C34878D82A}">
                    <a16:rowId xmlns:a16="http://schemas.microsoft.com/office/drawing/2014/main" val="888889324"/>
                  </a:ext>
                </a:extLst>
              </a:tr>
              <a:tr h="393334">
                <a:tc>
                  <a:txBody>
                    <a:bodyPr/>
                    <a:lstStyle/>
                    <a:p>
                      <a:pPr algn="ctr" fontAlgn="ctr"/>
                      <a:r>
                        <a:rPr lang="fr-FR" sz="1200" u="none" strike="noStrike" err="1">
                          <a:effectLst/>
                        </a:rPr>
                        <a:t>Measure</a:t>
                      </a:r>
                      <a:endParaRPr lang="fr-FR" sz="1200" b="0" i="0" u="none" strike="noStrike">
                        <a:solidFill>
                          <a:srgbClr val="000000"/>
                        </a:solidFill>
                        <a:effectLst/>
                        <a:latin typeface="Calibri" panose="020F0502020204030204" pitchFamily="34" charset="0"/>
                      </a:endParaRPr>
                    </a:p>
                  </a:txBody>
                  <a:tcPr marL="3015" marR="3015" marT="3015" marB="0" anchor="ctr"/>
                </a:tc>
                <a:tc>
                  <a:txBody>
                    <a:bodyPr/>
                    <a:lstStyle/>
                    <a:p>
                      <a:pPr algn="ctr" fontAlgn="ctr"/>
                      <a:r>
                        <a:rPr lang="en-US" sz="1200" u="none" strike="noStrike">
                          <a:effectLst/>
                        </a:rPr>
                        <a:t>A measure is a type of data glossary asset that refers to the numerical measurement of a business result.</a:t>
                      </a:r>
                      <a:endParaRPr lang="fr-FR" sz="1200" b="0" i="0" u="none" strike="noStrike">
                        <a:solidFill>
                          <a:srgbClr val="000000"/>
                        </a:solidFill>
                        <a:effectLst/>
                        <a:latin typeface="Calibri" panose="020F0502020204030204" pitchFamily="34" charset="0"/>
                      </a:endParaRPr>
                    </a:p>
                  </a:txBody>
                  <a:tcPr marL="3015" marR="3015" marT="3015" marB="0" anchor="ctr"/>
                </a:tc>
                <a:extLst>
                  <a:ext uri="{0D108BD9-81ED-4DB2-BD59-A6C34878D82A}">
                    <a16:rowId xmlns:a16="http://schemas.microsoft.com/office/drawing/2014/main" val="307976313"/>
                  </a:ext>
                </a:extLst>
              </a:tr>
              <a:tr h="393334">
                <a:tc>
                  <a:txBody>
                    <a:bodyPr/>
                    <a:lstStyle/>
                    <a:p>
                      <a:pPr algn="ctr" fontAlgn="ctr"/>
                      <a:r>
                        <a:rPr lang="fr-FR" sz="1200" u="none" strike="noStrike" err="1">
                          <a:effectLst/>
                        </a:rPr>
                        <a:t>Dataset</a:t>
                      </a:r>
                      <a:endParaRPr lang="fr-FR" sz="1200" b="0" i="0" u="none" strike="noStrike">
                        <a:solidFill>
                          <a:srgbClr val="000000"/>
                        </a:solidFill>
                        <a:effectLst/>
                        <a:latin typeface="Calibri" panose="020F0502020204030204" pitchFamily="34" charset="0"/>
                      </a:endParaRPr>
                    </a:p>
                  </a:txBody>
                  <a:tcPr marL="3015" marR="3015" marT="3015" marB="0" anchor="ctr"/>
                </a:tc>
                <a:tc>
                  <a:txBody>
                    <a:bodyPr/>
                    <a:lstStyle/>
                    <a:p>
                      <a:pPr algn="ctr" fontAlgn="ctr"/>
                      <a:r>
                        <a:rPr lang="en-US" sz="1200" u="none" strike="noStrike">
                          <a:effectLst/>
                        </a:rPr>
                        <a:t>A dataset refers to a group of data elements represented as a single asset. Datasets can be grouped together to form a system</a:t>
                      </a:r>
                      <a:r>
                        <a:rPr lang="fr-FR" sz="1200" u="none" strike="noStrike">
                          <a:effectLst/>
                        </a:rPr>
                        <a:t>.</a:t>
                      </a:r>
                      <a:endParaRPr lang="fr-FR" sz="1200" b="0" i="0" u="none" strike="noStrike">
                        <a:solidFill>
                          <a:srgbClr val="000000"/>
                        </a:solidFill>
                        <a:effectLst/>
                        <a:latin typeface="Calibri" panose="020F0502020204030204" pitchFamily="34" charset="0"/>
                      </a:endParaRPr>
                    </a:p>
                  </a:txBody>
                  <a:tcPr marL="3015" marR="3015" marT="3015" marB="0" anchor="ctr"/>
                </a:tc>
                <a:extLst>
                  <a:ext uri="{0D108BD9-81ED-4DB2-BD59-A6C34878D82A}">
                    <a16:rowId xmlns:a16="http://schemas.microsoft.com/office/drawing/2014/main" val="2907101012"/>
                  </a:ext>
                </a:extLst>
              </a:tr>
              <a:tr h="393334">
                <a:tc>
                  <a:txBody>
                    <a:bodyPr/>
                    <a:lstStyle/>
                    <a:p>
                      <a:pPr algn="ctr" fontAlgn="ctr"/>
                      <a:r>
                        <a:rPr lang="fr-FR" sz="1200" u="none" strike="noStrike">
                          <a:effectLst/>
                        </a:rPr>
                        <a:t>System</a:t>
                      </a:r>
                      <a:endParaRPr lang="fr-FR" sz="1200" b="0" i="0" u="none" strike="noStrike">
                        <a:solidFill>
                          <a:srgbClr val="000000"/>
                        </a:solidFill>
                        <a:effectLst/>
                        <a:latin typeface="Calibri" panose="020F0502020204030204" pitchFamily="34" charset="0"/>
                      </a:endParaRPr>
                    </a:p>
                  </a:txBody>
                  <a:tcPr marL="3015" marR="3015" marT="3015" marB="0" anchor="ctr"/>
                </a:tc>
                <a:tc>
                  <a:txBody>
                    <a:bodyPr/>
                    <a:lstStyle/>
                    <a:p>
                      <a:pPr algn="ctr" fontAlgn="ctr"/>
                      <a:r>
                        <a:rPr lang="en-US" sz="1200" u="none" strike="noStrike">
                          <a:effectLst/>
                        </a:rPr>
                        <a:t>A system is the business representation of data that is a container for the data elements and data sets in your organization.</a:t>
                      </a:r>
                      <a:endParaRPr lang="fr-FR" sz="1200" b="0" i="0" u="none" strike="noStrike">
                        <a:solidFill>
                          <a:srgbClr val="000000"/>
                        </a:solidFill>
                        <a:effectLst/>
                        <a:latin typeface="Calibri" panose="020F0502020204030204" pitchFamily="34" charset="0"/>
                      </a:endParaRPr>
                    </a:p>
                  </a:txBody>
                  <a:tcPr marL="3015" marR="3015" marT="3015" marB="0" anchor="ctr"/>
                </a:tc>
                <a:extLst>
                  <a:ext uri="{0D108BD9-81ED-4DB2-BD59-A6C34878D82A}">
                    <a16:rowId xmlns:a16="http://schemas.microsoft.com/office/drawing/2014/main" val="666143692"/>
                  </a:ext>
                </a:extLst>
              </a:tr>
              <a:tr h="198275">
                <a:tc>
                  <a:txBody>
                    <a:bodyPr/>
                    <a:lstStyle/>
                    <a:p>
                      <a:pPr algn="ctr" fontAlgn="ctr"/>
                      <a:r>
                        <a:rPr lang="fr-FR" sz="1200" u="none" strike="noStrike">
                          <a:effectLst/>
                        </a:rPr>
                        <a:t>Data </a:t>
                      </a:r>
                      <a:r>
                        <a:rPr lang="fr-FR" sz="1200" u="none" strike="noStrike" err="1">
                          <a:effectLst/>
                        </a:rPr>
                        <a:t>Catalog</a:t>
                      </a:r>
                      <a:endParaRPr lang="fr-FR" sz="1200" b="0" i="0" u="none" strike="noStrike">
                        <a:solidFill>
                          <a:srgbClr val="000000"/>
                        </a:solidFill>
                        <a:effectLst/>
                        <a:latin typeface="Calibri" panose="020F0502020204030204" pitchFamily="34" charset="0"/>
                      </a:endParaRPr>
                    </a:p>
                  </a:txBody>
                  <a:tcPr marL="3015" marR="3015" marT="3015" marB="0" anchor="ctr"/>
                </a:tc>
                <a:tc>
                  <a:txBody>
                    <a:bodyPr/>
                    <a:lstStyle/>
                    <a:p>
                      <a:pPr algn="ctr" fontAlgn="ctr"/>
                      <a:r>
                        <a:rPr lang="en-US" sz="1200" u="none" strike="noStrike">
                          <a:effectLst/>
                        </a:rPr>
                        <a:t>Informatica module : listing of all the data products and their metadata (based on systems and datasets)</a:t>
                      </a:r>
                      <a:endParaRPr lang="fr-FR" sz="1200" b="0" i="0" u="none" strike="noStrike">
                        <a:solidFill>
                          <a:srgbClr val="000000"/>
                        </a:solidFill>
                        <a:effectLst/>
                        <a:latin typeface="Calibri" panose="020F0502020204030204" pitchFamily="34" charset="0"/>
                      </a:endParaRPr>
                    </a:p>
                  </a:txBody>
                  <a:tcPr marL="3015" marR="3015" marT="3015" marB="0" anchor="ctr"/>
                </a:tc>
                <a:extLst>
                  <a:ext uri="{0D108BD9-81ED-4DB2-BD59-A6C34878D82A}">
                    <a16:rowId xmlns:a16="http://schemas.microsoft.com/office/drawing/2014/main" val="30624954"/>
                  </a:ext>
                </a:extLst>
              </a:tr>
              <a:tr h="198275">
                <a:tc>
                  <a:txBody>
                    <a:bodyPr/>
                    <a:lstStyle/>
                    <a:p>
                      <a:pPr algn="ctr" fontAlgn="ctr"/>
                      <a:r>
                        <a:rPr lang="fr-FR" sz="1200" u="none" strike="noStrike">
                          <a:effectLst/>
                        </a:rPr>
                        <a:t>Fields</a:t>
                      </a:r>
                      <a:endParaRPr lang="fr-FR" sz="1200" b="0" i="0" u="none" strike="noStrike">
                        <a:solidFill>
                          <a:srgbClr val="000000"/>
                        </a:solidFill>
                        <a:effectLst/>
                        <a:latin typeface="Calibri" panose="020F0502020204030204" pitchFamily="34" charset="0"/>
                      </a:endParaRPr>
                    </a:p>
                  </a:txBody>
                  <a:tcPr marL="3015" marR="3015" marT="3015" marB="0" anchor="ctr"/>
                </a:tc>
                <a:tc>
                  <a:txBody>
                    <a:bodyPr/>
                    <a:lstStyle/>
                    <a:p>
                      <a:pPr algn="ctr" fontAlgn="ctr"/>
                      <a:r>
                        <a:rPr lang="fr-FR" sz="1200" u="none" strike="noStrike">
                          <a:effectLst/>
                        </a:rPr>
                        <a:t>Object </a:t>
                      </a:r>
                      <a:r>
                        <a:rPr lang="fr-FR" sz="1200" u="none" strike="noStrike" err="1">
                          <a:effectLst/>
                        </a:rPr>
                        <a:t>representing</a:t>
                      </a:r>
                      <a:r>
                        <a:rPr lang="fr-FR" sz="1200" u="none" strike="noStrike">
                          <a:effectLst/>
                        </a:rPr>
                        <a:t> a </a:t>
                      </a:r>
                      <a:r>
                        <a:rPr lang="fr-FR" sz="1200" u="none" strike="noStrike" err="1">
                          <a:effectLst/>
                        </a:rPr>
                        <a:t>scanned</a:t>
                      </a:r>
                      <a:r>
                        <a:rPr lang="fr-FR" sz="1200" u="none" strike="noStrike">
                          <a:effectLst/>
                        </a:rPr>
                        <a:t> </a:t>
                      </a:r>
                      <a:r>
                        <a:rPr lang="fr-FR" sz="1200" u="none" strike="noStrike" err="1">
                          <a:effectLst/>
                        </a:rPr>
                        <a:t>column</a:t>
                      </a:r>
                      <a:r>
                        <a:rPr lang="fr-FR" sz="1200" u="none" strike="noStrike">
                          <a:effectLst/>
                        </a:rPr>
                        <a:t> in a data </a:t>
                      </a:r>
                      <a:r>
                        <a:rPr lang="fr-FR" sz="1200" u="none" strike="noStrike" err="1">
                          <a:effectLst/>
                        </a:rPr>
                        <a:t>catalog</a:t>
                      </a:r>
                      <a:endParaRPr lang="fr-FR" sz="1200" b="0" i="0" u="none" strike="noStrike">
                        <a:solidFill>
                          <a:srgbClr val="000000"/>
                        </a:solidFill>
                        <a:effectLst/>
                        <a:latin typeface="Calibri" panose="020F0502020204030204" pitchFamily="34" charset="0"/>
                      </a:endParaRPr>
                    </a:p>
                  </a:txBody>
                  <a:tcPr marL="3015" marR="3015" marT="3015" marB="0" anchor="ctr"/>
                </a:tc>
                <a:extLst>
                  <a:ext uri="{0D108BD9-81ED-4DB2-BD59-A6C34878D82A}">
                    <a16:rowId xmlns:a16="http://schemas.microsoft.com/office/drawing/2014/main" val="1239876360"/>
                  </a:ext>
                </a:extLst>
              </a:tr>
              <a:tr h="393334">
                <a:tc>
                  <a:txBody>
                    <a:bodyPr/>
                    <a:lstStyle/>
                    <a:p>
                      <a:pPr algn="ctr" fontAlgn="ctr"/>
                      <a:r>
                        <a:rPr lang="fr-FR" sz="1200" u="none" strike="noStrike" err="1">
                          <a:effectLst/>
                        </a:rPr>
                        <a:t>Lineage</a:t>
                      </a:r>
                      <a:endParaRPr lang="fr-FR" sz="1200" b="0" i="0" u="none" strike="noStrike">
                        <a:solidFill>
                          <a:srgbClr val="000000"/>
                        </a:solidFill>
                        <a:effectLst/>
                        <a:latin typeface="Calibri" panose="020F0502020204030204" pitchFamily="34" charset="0"/>
                      </a:endParaRPr>
                    </a:p>
                  </a:txBody>
                  <a:tcPr marL="3015" marR="3015" marT="3015" marB="0" anchor="ctr"/>
                </a:tc>
                <a:tc>
                  <a:txBody>
                    <a:bodyPr/>
                    <a:lstStyle/>
                    <a:p>
                      <a:pPr algn="ctr" fontAlgn="ctr"/>
                      <a:r>
                        <a:rPr lang="en-US" sz="1200" u="none" strike="noStrike">
                          <a:effectLst/>
                        </a:rPr>
                        <a:t>Lineage is a process that aims to provide a visualization of the data life cycle by tracing the source of the data and the transformations it has undergone.</a:t>
                      </a:r>
                      <a:endParaRPr lang="fr-FR" sz="1200" b="0" i="0" u="none" strike="noStrike">
                        <a:solidFill>
                          <a:srgbClr val="000000"/>
                        </a:solidFill>
                        <a:effectLst/>
                        <a:latin typeface="Calibri" panose="020F0502020204030204" pitchFamily="34" charset="0"/>
                      </a:endParaRPr>
                    </a:p>
                  </a:txBody>
                  <a:tcPr marL="3015" marR="3015" marT="3015" marB="0" anchor="ctr"/>
                </a:tc>
                <a:extLst>
                  <a:ext uri="{0D108BD9-81ED-4DB2-BD59-A6C34878D82A}">
                    <a16:rowId xmlns:a16="http://schemas.microsoft.com/office/drawing/2014/main" val="3849876534"/>
                  </a:ext>
                </a:extLst>
              </a:tr>
              <a:tr h="198275">
                <a:tc>
                  <a:txBody>
                    <a:bodyPr/>
                    <a:lstStyle/>
                    <a:p>
                      <a:pPr algn="ctr" fontAlgn="ctr"/>
                      <a:r>
                        <a:rPr lang="fr-FR" sz="1200" u="none" strike="noStrike">
                          <a:effectLst/>
                        </a:rPr>
                        <a:t>Relation</a:t>
                      </a:r>
                      <a:endParaRPr lang="fr-FR" sz="1200" b="0" i="0" u="none" strike="noStrike">
                        <a:solidFill>
                          <a:srgbClr val="000000"/>
                        </a:solidFill>
                        <a:effectLst/>
                        <a:latin typeface="Calibri" panose="020F0502020204030204" pitchFamily="34" charset="0"/>
                      </a:endParaRPr>
                    </a:p>
                  </a:txBody>
                  <a:tcPr marL="3015" marR="3015" marT="3015" marB="0" anchor="ctr"/>
                </a:tc>
                <a:tc>
                  <a:txBody>
                    <a:bodyPr/>
                    <a:lstStyle/>
                    <a:p>
                      <a:pPr algn="ctr" fontAlgn="ctr"/>
                      <a:r>
                        <a:rPr lang="en-US" sz="1200" u="none" strike="noStrike">
                          <a:effectLst/>
                        </a:rPr>
                        <a:t>Panel showing relationships with the object concerned</a:t>
                      </a:r>
                      <a:endParaRPr lang="fr-FR" sz="1200" b="0" i="0" u="none" strike="noStrike">
                        <a:solidFill>
                          <a:srgbClr val="000000"/>
                        </a:solidFill>
                        <a:effectLst/>
                        <a:latin typeface="Calibri" panose="020F0502020204030204" pitchFamily="34" charset="0"/>
                      </a:endParaRPr>
                    </a:p>
                  </a:txBody>
                  <a:tcPr marL="3015" marR="3015" marT="3015" marB="0" anchor="ctr"/>
                </a:tc>
                <a:extLst>
                  <a:ext uri="{0D108BD9-81ED-4DB2-BD59-A6C34878D82A}">
                    <a16:rowId xmlns:a16="http://schemas.microsoft.com/office/drawing/2014/main" val="240830465"/>
                  </a:ext>
                </a:extLst>
              </a:tr>
              <a:tr h="198275">
                <a:tc>
                  <a:txBody>
                    <a:bodyPr/>
                    <a:lstStyle/>
                    <a:p>
                      <a:pPr algn="ctr" fontAlgn="ctr"/>
                      <a:r>
                        <a:rPr lang="fr-FR" sz="1200" u="none" strike="noStrike">
                          <a:effectLst/>
                        </a:rPr>
                        <a:t>Data Source</a:t>
                      </a:r>
                      <a:endParaRPr lang="fr-FR" sz="1200" b="0" i="0" u="none" strike="noStrike">
                        <a:solidFill>
                          <a:srgbClr val="000000"/>
                        </a:solidFill>
                        <a:effectLst/>
                        <a:latin typeface="Calibri" panose="020F0502020204030204" pitchFamily="34" charset="0"/>
                      </a:endParaRPr>
                    </a:p>
                  </a:txBody>
                  <a:tcPr marL="3015" marR="3015" marT="3015" marB="0" anchor="ctr"/>
                </a:tc>
                <a:tc>
                  <a:txBody>
                    <a:bodyPr/>
                    <a:lstStyle/>
                    <a:p>
                      <a:pPr algn="ctr" fontAlgn="ctr"/>
                      <a:r>
                        <a:rPr lang="en-US" sz="1200" u="none" strike="noStrike">
                          <a:effectLst/>
                        </a:rPr>
                        <a:t>Scanned data source used to create data catalogs</a:t>
                      </a:r>
                      <a:endParaRPr lang="fr-FR" sz="1200" b="0" i="0" u="none" strike="noStrike">
                        <a:solidFill>
                          <a:srgbClr val="000000"/>
                        </a:solidFill>
                        <a:effectLst/>
                        <a:latin typeface="Calibri" panose="020F0502020204030204" pitchFamily="34" charset="0"/>
                      </a:endParaRPr>
                    </a:p>
                  </a:txBody>
                  <a:tcPr marL="3015" marR="3015" marT="3015" marB="0" anchor="ctr"/>
                </a:tc>
                <a:extLst>
                  <a:ext uri="{0D108BD9-81ED-4DB2-BD59-A6C34878D82A}">
                    <a16:rowId xmlns:a16="http://schemas.microsoft.com/office/drawing/2014/main" val="711266510"/>
                  </a:ext>
                </a:extLst>
              </a:tr>
              <a:tr h="184138">
                <a:tc>
                  <a:txBody>
                    <a:bodyPr/>
                    <a:lstStyle/>
                    <a:p>
                      <a:pPr algn="ctr" fontAlgn="ctr"/>
                      <a:r>
                        <a:rPr lang="fr-FR" sz="1200" u="none" strike="noStrike">
                          <a:effectLst/>
                        </a:rPr>
                        <a:t>Data classification</a:t>
                      </a:r>
                      <a:endParaRPr lang="fr-FR" sz="1200" b="0" i="0" u="none" strike="noStrike">
                        <a:solidFill>
                          <a:srgbClr val="000000"/>
                        </a:solidFill>
                        <a:effectLst/>
                        <a:latin typeface="Calibri" panose="020F0502020204030204" pitchFamily="34" charset="0"/>
                      </a:endParaRPr>
                    </a:p>
                  </a:txBody>
                  <a:tcPr marL="3015" marR="3015" marT="3015" marB="0" anchor="ctr"/>
                </a:tc>
                <a:tc>
                  <a:txBody>
                    <a:bodyPr/>
                    <a:lstStyle/>
                    <a:p>
                      <a:pPr algn="ctr" fontAlgn="b"/>
                      <a:r>
                        <a:rPr lang="en-US" sz="1200" u="none" strike="noStrike">
                          <a:effectLst/>
                        </a:rPr>
                        <a:t>Process of assigning categories to fields based on their content. </a:t>
                      </a:r>
                      <a:r>
                        <a:rPr lang="en-US" sz="1200" u="none" strike="noStrike" err="1">
                          <a:effectLst/>
                        </a:rPr>
                        <a:t>Exemple</a:t>
                      </a:r>
                      <a:r>
                        <a:rPr lang="en-US" sz="1200" u="none" strike="noStrike">
                          <a:effectLst/>
                        </a:rPr>
                        <a:t> of category/class include “</a:t>
                      </a:r>
                      <a:r>
                        <a:rPr lang="en-US" sz="1200" u="none" strike="noStrike" err="1">
                          <a:effectLst/>
                        </a:rPr>
                        <a:t>Adress</a:t>
                      </a:r>
                      <a:r>
                        <a:rPr lang="en-US" sz="1200" u="none" strike="noStrike">
                          <a:effectLst/>
                        </a:rPr>
                        <a:t>”, “phone number”, “Name”, “Passport number”... Classifying data allows a better governance of sensitive data and is a general documentation best practice.</a:t>
                      </a:r>
                      <a:endParaRPr lang="fr-FR" sz="1200" b="0" i="0" u="none" strike="noStrike">
                        <a:solidFill>
                          <a:srgbClr val="000000"/>
                        </a:solidFill>
                        <a:effectLst/>
                        <a:latin typeface="Calibri" panose="020F0502020204030204" pitchFamily="34" charset="0"/>
                      </a:endParaRPr>
                    </a:p>
                  </a:txBody>
                  <a:tcPr marL="3015" marR="3015" marT="3015" marB="0" anchor="ctr"/>
                </a:tc>
                <a:extLst>
                  <a:ext uri="{0D108BD9-81ED-4DB2-BD59-A6C34878D82A}">
                    <a16:rowId xmlns:a16="http://schemas.microsoft.com/office/drawing/2014/main" val="1515092714"/>
                  </a:ext>
                </a:extLst>
              </a:tr>
            </a:tbl>
          </a:graphicData>
        </a:graphic>
      </p:graphicFrame>
      <p:pic>
        <p:nvPicPr>
          <p:cNvPr id="4" name="Picture 2">
            <a:extLst>
              <a:ext uri="{FF2B5EF4-FFF2-40B4-BE49-F238E27FC236}">
                <a16:creationId xmlns:a16="http://schemas.microsoft.com/office/drawing/2014/main" id="{2F88AE7F-CC72-2A71-25F7-8E5ECE49E7F4}"/>
              </a:ext>
            </a:extLst>
          </p:cNvPr>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24499" y="3180716"/>
            <a:ext cx="414302" cy="4143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757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732189"/>
      </p:ext>
    </p:extLst>
  </p:cSld>
  <p:clrMapOvr>
    <a:masterClrMapping/>
  </p:clrMapOvr>
  <p:transition spd="slow">
    <p:cove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68B8A1B-9B47-10B7-A1D0-99A9C6252095}"/>
              </a:ext>
            </a:extLst>
          </p:cNvPr>
          <p:cNvSpPr>
            <a:spLocks noGrp="1"/>
          </p:cNvSpPr>
          <p:nvPr>
            <p:ph type="title"/>
          </p:nvPr>
        </p:nvSpPr>
        <p:spPr/>
        <p:txBody>
          <a:bodyPr/>
          <a:lstStyle/>
          <a:p>
            <a:r>
              <a:rPr lang="en-US" sz="5400"/>
              <a:t>INTRODUCTION</a:t>
            </a:r>
          </a:p>
        </p:txBody>
      </p:sp>
      <p:sp>
        <p:nvSpPr>
          <p:cNvPr id="4" name="Espace réservé du texte 3">
            <a:extLst>
              <a:ext uri="{FF2B5EF4-FFF2-40B4-BE49-F238E27FC236}">
                <a16:creationId xmlns:a16="http://schemas.microsoft.com/office/drawing/2014/main" id="{588F59EA-2FE5-916E-73C0-3F0F9135D828}"/>
              </a:ext>
            </a:extLst>
          </p:cNvPr>
          <p:cNvSpPr>
            <a:spLocks noGrp="1"/>
          </p:cNvSpPr>
          <p:nvPr>
            <p:ph type="body" sz="quarter" idx="10"/>
          </p:nvPr>
        </p:nvSpPr>
        <p:spPr/>
        <p:txBody>
          <a:bodyPr/>
          <a:lstStyle/>
          <a:p>
            <a:endParaRPr lang="fr-FR"/>
          </a:p>
        </p:txBody>
      </p:sp>
      <p:sp>
        <p:nvSpPr>
          <p:cNvPr id="3" name="Espace réservé du texte 2">
            <a:extLst>
              <a:ext uri="{FF2B5EF4-FFF2-40B4-BE49-F238E27FC236}">
                <a16:creationId xmlns:a16="http://schemas.microsoft.com/office/drawing/2014/main" id="{F0372E57-06E9-A750-0813-3D6319955ACD}"/>
              </a:ext>
            </a:extLst>
          </p:cNvPr>
          <p:cNvSpPr>
            <a:spLocks noGrp="1"/>
          </p:cNvSpPr>
          <p:nvPr>
            <p:ph type="body" sz="quarter" idx="11"/>
          </p:nvPr>
        </p:nvSpPr>
        <p:spPr/>
        <p:txBody>
          <a:bodyPr/>
          <a:lstStyle/>
          <a:p>
            <a:r>
              <a:rPr lang="fr-FR"/>
              <a:t>1</a:t>
            </a:r>
          </a:p>
        </p:txBody>
      </p:sp>
    </p:spTree>
    <p:extLst>
      <p:ext uri="{BB962C8B-B14F-4D97-AF65-F5344CB8AC3E}">
        <p14:creationId xmlns:p14="http://schemas.microsoft.com/office/powerpoint/2010/main" val="875313532"/>
      </p:ext>
    </p:extLst>
  </p:cSld>
  <p:clrMapOvr>
    <a:masterClrMapping/>
  </p:clrMapOvr>
  <p:transition spd="slow">
    <p:cove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e 23">
            <a:extLst>
              <a:ext uri="{FF2B5EF4-FFF2-40B4-BE49-F238E27FC236}">
                <a16:creationId xmlns:a16="http://schemas.microsoft.com/office/drawing/2014/main" id="{6175ED5D-CFC9-2D39-E312-CB87C95DC4F6}"/>
              </a:ext>
            </a:extLst>
          </p:cNvPr>
          <p:cNvGrpSpPr/>
          <p:nvPr/>
        </p:nvGrpSpPr>
        <p:grpSpPr>
          <a:xfrm>
            <a:off x="3306746" y="1579853"/>
            <a:ext cx="2773725" cy="3071152"/>
            <a:chOff x="-19306" y="1481854"/>
            <a:chExt cx="2773725" cy="3071152"/>
          </a:xfrm>
        </p:grpSpPr>
        <p:grpSp>
          <p:nvGrpSpPr>
            <p:cNvPr id="25" name="Group 2">
              <a:extLst>
                <a:ext uri="{FF2B5EF4-FFF2-40B4-BE49-F238E27FC236}">
                  <a16:creationId xmlns:a16="http://schemas.microsoft.com/office/drawing/2014/main" id="{570721B5-DED2-95C0-3EE1-DC61E20FB6EE}"/>
                </a:ext>
              </a:extLst>
            </p:cNvPr>
            <p:cNvGrpSpPr/>
            <p:nvPr/>
          </p:nvGrpSpPr>
          <p:grpSpPr>
            <a:xfrm>
              <a:off x="716222" y="1481854"/>
              <a:ext cx="1334392" cy="1924508"/>
              <a:chOff x="1817609" y="1102687"/>
              <a:chExt cx="1588206" cy="2290570"/>
            </a:xfrm>
          </p:grpSpPr>
          <p:sp>
            <p:nvSpPr>
              <p:cNvPr id="27" name="Isosceles Triangle 15">
                <a:extLst>
                  <a:ext uri="{FF2B5EF4-FFF2-40B4-BE49-F238E27FC236}">
                    <a16:creationId xmlns:a16="http://schemas.microsoft.com/office/drawing/2014/main" id="{7EAEB330-5583-BB91-8068-EA70A0CB69AE}"/>
                  </a:ext>
                </a:extLst>
              </p:cNvPr>
              <p:cNvSpPr/>
              <p:nvPr/>
            </p:nvSpPr>
            <p:spPr>
              <a:xfrm rot="10800000">
                <a:off x="2041403" y="2398761"/>
                <a:ext cx="1140621" cy="684571"/>
              </a:xfrm>
              <a:prstGeom prst="triangle">
                <a:avLst/>
              </a:prstGeom>
              <a:solidFill>
                <a:srgbClr val="004489"/>
              </a:solidFill>
              <a:ln>
                <a:noFill/>
              </a:ln>
            </p:spPr>
            <p:style>
              <a:lnRef idx="3">
                <a:schemeClr val="lt1"/>
              </a:lnRef>
              <a:fillRef idx="1">
                <a:schemeClr val="accent2"/>
              </a:fillRef>
              <a:effectRef idx="1">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28" name="Oval 16">
                <a:extLst>
                  <a:ext uri="{FF2B5EF4-FFF2-40B4-BE49-F238E27FC236}">
                    <a16:creationId xmlns:a16="http://schemas.microsoft.com/office/drawing/2014/main" id="{10E0C939-6CE7-E374-F412-9BF7FCE1F234}"/>
                  </a:ext>
                </a:extLst>
              </p:cNvPr>
              <p:cNvSpPr/>
              <p:nvPr/>
            </p:nvSpPr>
            <p:spPr>
              <a:xfrm>
                <a:off x="1817609" y="1102687"/>
                <a:ext cx="1588206" cy="1560342"/>
              </a:xfrm>
              <a:prstGeom prst="ellipse">
                <a:avLst/>
              </a:prstGeom>
              <a:solidFill>
                <a:srgbClr val="004489"/>
              </a:solidFill>
              <a:ln>
                <a:noFill/>
              </a:ln>
              <a:effectLst>
                <a:outerShdw blurRad="50800" dist="38100" dir="5400000" algn="t"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b="1"/>
                  <a:t>Big Bets</a:t>
                </a:r>
              </a:p>
            </p:txBody>
          </p:sp>
          <p:sp>
            <p:nvSpPr>
              <p:cNvPr id="29" name="Oval 17">
                <a:extLst>
                  <a:ext uri="{FF2B5EF4-FFF2-40B4-BE49-F238E27FC236}">
                    <a16:creationId xmlns:a16="http://schemas.microsoft.com/office/drawing/2014/main" id="{371D04B0-AAD8-4FA2-D1C8-6713A033E2DD}"/>
                  </a:ext>
                </a:extLst>
              </p:cNvPr>
              <p:cNvSpPr/>
              <p:nvPr/>
            </p:nvSpPr>
            <p:spPr>
              <a:xfrm>
                <a:off x="1897019" y="1180705"/>
                <a:ext cx="1429385" cy="1404308"/>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b="1">
                    <a:solidFill>
                      <a:schemeClr val="tx1"/>
                    </a:solidFill>
                  </a:rPr>
                  <a:t>Business </a:t>
                </a:r>
              </a:p>
              <a:p>
                <a:pPr algn="ctr"/>
                <a:r>
                  <a:rPr lang="en-US" sz="1400" b="1">
                    <a:solidFill>
                      <a:schemeClr val="tx1"/>
                    </a:solidFill>
                  </a:rPr>
                  <a:t>Ownership</a:t>
                </a:r>
              </a:p>
            </p:txBody>
          </p:sp>
          <p:sp>
            <p:nvSpPr>
              <p:cNvPr id="30" name="Oval 18">
                <a:extLst>
                  <a:ext uri="{FF2B5EF4-FFF2-40B4-BE49-F238E27FC236}">
                    <a16:creationId xmlns:a16="http://schemas.microsoft.com/office/drawing/2014/main" id="{5BF525FF-9B8A-4F74-0EBF-652AB366F18B}"/>
                  </a:ext>
                </a:extLst>
              </p:cNvPr>
              <p:cNvSpPr/>
              <p:nvPr/>
            </p:nvSpPr>
            <p:spPr>
              <a:xfrm>
                <a:off x="2525082" y="3219998"/>
                <a:ext cx="173259" cy="173259"/>
              </a:xfrm>
              <a:prstGeom prst="ellipse">
                <a:avLst/>
              </a:prstGeom>
              <a:solidFill>
                <a:srgbClr val="004489"/>
              </a:solidFill>
              <a:ln>
                <a:noFill/>
              </a:ln>
            </p:spPr>
            <p:style>
              <a:lnRef idx="3">
                <a:schemeClr val="lt1"/>
              </a:lnRef>
              <a:fillRef idx="1">
                <a:schemeClr val="accent2"/>
              </a:fillRef>
              <a:effectRef idx="1">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grpSp>
        <p:sp>
          <p:nvSpPr>
            <p:cNvPr id="26" name="ZoneTexte 25">
              <a:extLst>
                <a:ext uri="{FF2B5EF4-FFF2-40B4-BE49-F238E27FC236}">
                  <a16:creationId xmlns:a16="http://schemas.microsoft.com/office/drawing/2014/main" id="{E2F6798B-AF96-7B2B-E727-1EB4911D0263}"/>
                </a:ext>
              </a:extLst>
            </p:cNvPr>
            <p:cNvSpPr txBox="1"/>
            <p:nvPr/>
          </p:nvSpPr>
          <p:spPr>
            <a:xfrm>
              <a:off x="-19306" y="3537343"/>
              <a:ext cx="2773725" cy="1015663"/>
            </a:xfrm>
            <a:prstGeom prst="rect">
              <a:avLst/>
            </a:prstGeom>
            <a:noFill/>
          </p:spPr>
          <p:txBody>
            <a:bodyPr wrap="square">
              <a:spAutoFit/>
            </a:bodyPr>
            <a:lstStyle/>
            <a:p>
              <a:pPr algn="just"/>
              <a:r>
                <a:rPr lang="en-US" sz="1200"/>
                <a:t>For each data product </a:t>
              </a:r>
              <a:r>
                <a:rPr lang="en-US" sz="1200" b="1"/>
                <a:t>a business sponsor is defined</a:t>
              </a:r>
              <a:r>
                <a:rPr lang="en-US" sz="1200"/>
                <a:t>, this sponsor is the Data Owner. The </a:t>
              </a:r>
              <a:r>
                <a:rPr lang="en-US" sz="1200" b="1"/>
                <a:t>Data Owner makes decisions </a:t>
              </a:r>
              <a:r>
                <a:rPr lang="en-US" sz="1200"/>
                <a:t>on the data product with the help of an IT referent (Data Steward)</a:t>
              </a:r>
            </a:p>
          </p:txBody>
        </p:sp>
      </p:grpSp>
      <p:grpSp>
        <p:nvGrpSpPr>
          <p:cNvPr id="31" name="Groupe 30">
            <a:extLst>
              <a:ext uri="{FF2B5EF4-FFF2-40B4-BE49-F238E27FC236}">
                <a16:creationId xmlns:a16="http://schemas.microsoft.com/office/drawing/2014/main" id="{0C6577B3-BED1-0583-22A5-24C8D7112240}"/>
              </a:ext>
            </a:extLst>
          </p:cNvPr>
          <p:cNvGrpSpPr/>
          <p:nvPr/>
        </p:nvGrpSpPr>
        <p:grpSpPr>
          <a:xfrm>
            <a:off x="524191" y="1579853"/>
            <a:ext cx="2773725" cy="2701820"/>
            <a:chOff x="3073692" y="1481854"/>
            <a:chExt cx="2773725" cy="2701820"/>
          </a:xfrm>
        </p:grpSpPr>
        <p:grpSp>
          <p:nvGrpSpPr>
            <p:cNvPr id="32" name="Group 3">
              <a:extLst>
                <a:ext uri="{FF2B5EF4-FFF2-40B4-BE49-F238E27FC236}">
                  <a16:creationId xmlns:a16="http://schemas.microsoft.com/office/drawing/2014/main" id="{0887B5C7-E0CF-E390-E0D3-4C91A596861D}"/>
                </a:ext>
              </a:extLst>
            </p:cNvPr>
            <p:cNvGrpSpPr/>
            <p:nvPr/>
          </p:nvGrpSpPr>
          <p:grpSpPr>
            <a:xfrm>
              <a:off x="3882006" y="1481854"/>
              <a:ext cx="1334392" cy="1924508"/>
              <a:chOff x="4974619" y="1102687"/>
              <a:chExt cx="1588206" cy="2290570"/>
            </a:xfrm>
          </p:grpSpPr>
          <p:sp>
            <p:nvSpPr>
              <p:cNvPr id="34" name="Isosceles Triangle 11">
                <a:extLst>
                  <a:ext uri="{FF2B5EF4-FFF2-40B4-BE49-F238E27FC236}">
                    <a16:creationId xmlns:a16="http://schemas.microsoft.com/office/drawing/2014/main" id="{743F1A26-E2A3-6910-4498-303A90B0B006}"/>
                  </a:ext>
                </a:extLst>
              </p:cNvPr>
              <p:cNvSpPr/>
              <p:nvPr/>
            </p:nvSpPr>
            <p:spPr>
              <a:xfrm rot="10800000">
                <a:off x="5198413" y="2398761"/>
                <a:ext cx="1140621" cy="684571"/>
              </a:xfrm>
              <a:prstGeom prst="triangle">
                <a:avLst/>
              </a:prstGeom>
              <a:solidFill>
                <a:srgbClr val="4DABE1"/>
              </a:solidFill>
              <a:ln>
                <a:noFill/>
              </a:ln>
              <a:effectLst>
                <a:outerShdw blurRad="40005" dist="20320" dir="5400000" algn="t" rotWithShape="0">
                  <a:prstClr val="black">
                    <a:alpha val="3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35" name="Oval 12">
                <a:extLst>
                  <a:ext uri="{FF2B5EF4-FFF2-40B4-BE49-F238E27FC236}">
                    <a16:creationId xmlns:a16="http://schemas.microsoft.com/office/drawing/2014/main" id="{0C8580AB-BFCC-019A-00D2-B848B07D95F3}"/>
                  </a:ext>
                </a:extLst>
              </p:cNvPr>
              <p:cNvSpPr/>
              <p:nvPr/>
            </p:nvSpPr>
            <p:spPr>
              <a:xfrm>
                <a:off x="4974619" y="1102687"/>
                <a:ext cx="1588206" cy="1560342"/>
              </a:xfrm>
              <a:prstGeom prst="ellipse">
                <a:avLst/>
              </a:prstGeom>
              <a:solidFill>
                <a:srgbClr val="4DABE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b="1"/>
                  <a:t>Big Bets</a:t>
                </a:r>
              </a:p>
            </p:txBody>
          </p:sp>
          <p:sp>
            <p:nvSpPr>
              <p:cNvPr id="36" name="Oval 13">
                <a:extLst>
                  <a:ext uri="{FF2B5EF4-FFF2-40B4-BE49-F238E27FC236}">
                    <a16:creationId xmlns:a16="http://schemas.microsoft.com/office/drawing/2014/main" id="{73FF3B00-208D-2279-E814-4F5432E587F1}"/>
                  </a:ext>
                </a:extLst>
              </p:cNvPr>
              <p:cNvSpPr/>
              <p:nvPr/>
            </p:nvSpPr>
            <p:spPr>
              <a:xfrm>
                <a:off x="5054029" y="1180704"/>
                <a:ext cx="1429385" cy="1404308"/>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b="1">
                    <a:solidFill>
                      <a:schemeClr val="tx1"/>
                    </a:solidFill>
                  </a:rPr>
                  <a:t>Data as </a:t>
                </a:r>
              </a:p>
              <a:p>
                <a:pPr algn="ctr"/>
                <a:r>
                  <a:rPr lang="en-US" sz="1400" b="1">
                    <a:solidFill>
                      <a:schemeClr val="tx1"/>
                    </a:solidFill>
                  </a:rPr>
                  <a:t>a product</a:t>
                </a:r>
              </a:p>
            </p:txBody>
          </p:sp>
          <p:sp>
            <p:nvSpPr>
              <p:cNvPr id="37" name="Oval 14">
                <a:extLst>
                  <a:ext uri="{FF2B5EF4-FFF2-40B4-BE49-F238E27FC236}">
                    <a16:creationId xmlns:a16="http://schemas.microsoft.com/office/drawing/2014/main" id="{F1ED45F1-2347-671B-47D6-C0DB0A1A8002}"/>
                  </a:ext>
                </a:extLst>
              </p:cNvPr>
              <p:cNvSpPr/>
              <p:nvPr/>
            </p:nvSpPr>
            <p:spPr>
              <a:xfrm>
                <a:off x="5680963" y="3219998"/>
                <a:ext cx="173259" cy="173259"/>
              </a:xfrm>
              <a:prstGeom prst="ellipse">
                <a:avLst/>
              </a:prstGeom>
              <a:solidFill>
                <a:srgbClr val="4DABE1"/>
              </a:solidFill>
              <a:ln>
                <a:noFill/>
              </a:ln>
              <a:effectLst>
                <a:outerShdw blurRad="40005" dist="20320" dir="5400000" algn="t" rotWithShape="0">
                  <a:prstClr val="black">
                    <a:alpha val="3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accent5"/>
                  </a:solidFill>
                </a:endParaRPr>
              </a:p>
            </p:txBody>
          </p:sp>
        </p:grpSp>
        <p:sp>
          <p:nvSpPr>
            <p:cNvPr id="33" name="ZoneTexte 32">
              <a:extLst>
                <a:ext uri="{FF2B5EF4-FFF2-40B4-BE49-F238E27FC236}">
                  <a16:creationId xmlns:a16="http://schemas.microsoft.com/office/drawing/2014/main" id="{3A15A023-F4D8-E881-D475-02290204DDF6}"/>
                </a:ext>
              </a:extLst>
            </p:cNvPr>
            <p:cNvSpPr txBox="1"/>
            <p:nvPr/>
          </p:nvSpPr>
          <p:spPr>
            <a:xfrm>
              <a:off x="3073692" y="3537343"/>
              <a:ext cx="2773725" cy="646331"/>
            </a:xfrm>
            <a:prstGeom prst="rect">
              <a:avLst/>
            </a:prstGeom>
            <a:noFill/>
          </p:spPr>
          <p:txBody>
            <a:bodyPr wrap="square">
              <a:spAutoFit/>
            </a:bodyPr>
            <a:lstStyle/>
            <a:p>
              <a:pPr algn="just"/>
              <a:r>
                <a:rPr lang="en-US" sz="1200" b="1"/>
                <a:t>Give access </a:t>
              </a:r>
              <a:r>
                <a:rPr lang="en-US" sz="1200"/>
                <a:t>to </a:t>
              </a:r>
              <a:r>
                <a:rPr lang="en-US" sz="1200" b="1"/>
                <a:t>coherent data </a:t>
              </a:r>
              <a:r>
                <a:rPr lang="en-US" sz="1200"/>
                <a:t>under different format, as reports or as raw data for self- service reporting or even AI.</a:t>
              </a:r>
            </a:p>
          </p:txBody>
        </p:sp>
      </p:grpSp>
      <p:grpSp>
        <p:nvGrpSpPr>
          <p:cNvPr id="38" name="Groupe 37">
            <a:extLst>
              <a:ext uri="{FF2B5EF4-FFF2-40B4-BE49-F238E27FC236}">
                <a16:creationId xmlns:a16="http://schemas.microsoft.com/office/drawing/2014/main" id="{80F3A474-A5D7-E491-2294-FED5C3D5BBBA}"/>
              </a:ext>
            </a:extLst>
          </p:cNvPr>
          <p:cNvGrpSpPr/>
          <p:nvPr/>
        </p:nvGrpSpPr>
        <p:grpSpPr>
          <a:xfrm>
            <a:off x="6089301" y="1579853"/>
            <a:ext cx="2773725" cy="3071152"/>
            <a:chOff x="6312260" y="1481854"/>
            <a:chExt cx="2773725" cy="3071152"/>
          </a:xfrm>
        </p:grpSpPr>
        <p:grpSp>
          <p:nvGrpSpPr>
            <p:cNvPr id="39" name="Group 4">
              <a:extLst>
                <a:ext uri="{FF2B5EF4-FFF2-40B4-BE49-F238E27FC236}">
                  <a16:creationId xmlns:a16="http://schemas.microsoft.com/office/drawing/2014/main" id="{12741CFC-67A2-6FE5-A92B-6F108699A8B8}"/>
                </a:ext>
              </a:extLst>
            </p:cNvPr>
            <p:cNvGrpSpPr/>
            <p:nvPr/>
          </p:nvGrpSpPr>
          <p:grpSpPr>
            <a:xfrm>
              <a:off x="7047791" y="1481854"/>
              <a:ext cx="1334392" cy="1924508"/>
              <a:chOff x="8129372" y="1102687"/>
              <a:chExt cx="1588206" cy="2290570"/>
            </a:xfrm>
          </p:grpSpPr>
          <p:sp>
            <p:nvSpPr>
              <p:cNvPr id="41" name="Isosceles Triangle 7">
                <a:extLst>
                  <a:ext uri="{FF2B5EF4-FFF2-40B4-BE49-F238E27FC236}">
                    <a16:creationId xmlns:a16="http://schemas.microsoft.com/office/drawing/2014/main" id="{8AF6785B-93F6-39A8-F01A-3825C1A7E426}"/>
                  </a:ext>
                </a:extLst>
              </p:cNvPr>
              <p:cNvSpPr/>
              <p:nvPr/>
            </p:nvSpPr>
            <p:spPr>
              <a:xfrm rot="10800000">
                <a:off x="8353166" y="2398761"/>
                <a:ext cx="1140621" cy="684571"/>
              </a:xfrm>
              <a:prstGeom prst="triangle">
                <a:avLst/>
              </a:prstGeom>
              <a:solidFill>
                <a:srgbClr val="00B0AD"/>
              </a:solidFill>
              <a:ln>
                <a:noFill/>
              </a:ln>
            </p:spPr>
            <p:style>
              <a:lnRef idx="3">
                <a:schemeClr val="lt1"/>
              </a:lnRef>
              <a:fillRef idx="1">
                <a:schemeClr val="accent5"/>
              </a:fillRef>
              <a:effectRef idx="1">
                <a:schemeClr val="accent5"/>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42" name="Oval 8">
                <a:extLst>
                  <a:ext uri="{FF2B5EF4-FFF2-40B4-BE49-F238E27FC236}">
                    <a16:creationId xmlns:a16="http://schemas.microsoft.com/office/drawing/2014/main" id="{D4C4D1A9-1F05-0715-61A2-4771EC246867}"/>
                  </a:ext>
                </a:extLst>
              </p:cNvPr>
              <p:cNvSpPr/>
              <p:nvPr/>
            </p:nvSpPr>
            <p:spPr>
              <a:xfrm>
                <a:off x="8129372" y="1102687"/>
                <a:ext cx="1588206" cy="1560342"/>
              </a:xfrm>
              <a:prstGeom prst="ellipse">
                <a:avLst/>
              </a:prstGeom>
              <a:solidFill>
                <a:srgbClr val="00B0AD"/>
              </a:solidFill>
              <a:ln>
                <a:noFill/>
              </a:ln>
              <a:effectLst>
                <a:outerShdw blurRad="50800" dist="38100" dir="5400000" algn="t" rotWithShape="0">
                  <a:prstClr val="black">
                    <a:alpha val="40000"/>
                  </a:prstClr>
                </a:outerShdw>
              </a:effectLst>
            </p:spPr>
            <p:style>
              <a:lnRef idx="3">
                <a:schemeClr val="lt1"/>
              </a:lnRef>
              <a:fillRef idx="1">
                <a:schemeClr val="accent5"/>
              </a:fillRef>
              <a:effectRef idx="1">
                <a:schemeClr val="accent5"/>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b="1"/>
                  <a:t>Big Bets</a:t>
                </a:r>
              </a:p>
            </p:txBody>
          </p:sp>
          <p:sp>
            <p:nvSpPr>
              <p:cNvPr id="43" name="Oval 9">
                <a:extLst>
                  <a:ext uri="{FF2B5EF4-FFF2-40B4-BE49-F238E27FC236}">
                    <a16:creationId xmlns:a16="http://schemas.microsoft.com/office/drawing/2014/main" id="{63518318-CD42-6444-BB0E-A7BE9D382D47}"/>
                  </a:ext>
                </a:extLst>
              </p:cNvPr>
              <p:cNvSpPr/>
              <p:nvPr/>
            </p:nvSpPr>
            <p:spPr>
              <a:xfrm>
                <a:off x="8208782" y="1180705"/>
                <a:ext cx="1429385" cy="1404307"/>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b="1">
                    <a:solidFill>
                      <a:schemeClr val="tx1"/>
                    </a:solidFill>
                  </a:rPr>
                  <a:t>Self-service </a:t>
                </a:r>
              </a:p>
              <a:p>
                <a:pPr algn="ctr"/>
                <a:r>
                  <a:rPr lang="en-US" sz="1400" b="1">
                    <a:solidFill>
                      <a:schemeClr val="tx1"/>
                    </a:solidFill>
                  </a:rPr>
                  <a:t>platform</a:t>
                </a:r>
              </a:p>
            </p:txBody>
          </p:sp>
          <p:sp>
            <p:nvSpPr>
              <p:cNvPr id="44" name="Oval 10">
                <a:extLst>
                  <a:ext uri="{FF2B5EF4-FFF2-40B4-BE49-F238E27FC236}">
                    <a16:creationId xmlns:a16="http://schemas.microsoft.com/office/drawing/2014/main" id="{006A385A-AC2D-7269-12D4-C476A91E2096}"/>
                  </a:ext>
                </a:extLst>
              </p:cNvPr>
              <p:cNvSpPr/>
              <p:nvPr/>
            </p:nvSpPr>
            <p:spPr>
              <a:xfrm>
                <a:off x="8836844" y="3219998"/>
                <a:ext cx="173259" cy="173259"/>
              </a:xfrm>
              <a:prstGeom prst="ellipse">
                <a:avLst/>
              </a:prstGeom>
              <a:solidFill>
                <a:srgbClr val="00B0AD"/>
              </a:solidFill>
              <a:ln>
                <a:noFill/>
              </a:ln>
            </p:spPr>
            <p:style>
              <a:lnRef idx="3">
                <a:schemeClr val="lt1"/>
              </a:lnRef>
              <a:fillRef idx="1">
                <a:schemeClr val="accent5"/>
              </a:fillRef>
              <a:effectRef idx="1">
                <a:schemeClr val="accent5"/>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grpSp>
        <p:sp>
          <p:nvSpPr>
            <p:cNvPr id="40" name="ZoneTexte 39">
              <a:extLst>
                <a:ext uri="{FF2B5EF4-FFF2-40B4-BE49-F238E27FC236}">
                  <a16:creationId xmlns:a16="http://schemas.microsoft.com/office/drawing/2014/main" id="{A4D8E36C-8C5A-C7BC-8EF4-E93AA3950039}"/>
                </a:ext>
              </a:extLst>
            </p:cNvPr>
            <p:cNvSpPr txBox="1"/>
            <p:nvPr/>
          </p:nvSpPr>
          <p:spPr>
            <a:xfrm>
              <a:off x="6312260" y="3537343"/>
              <a:ext cx="2773725" cy="1015663"/>
            </a:xfrm>
            <a:prstGeom prst="rect">
              <a:avLst/>
            </a:prstGeom>
            <a:noFill/>
          </p:spPr>
          <p:txBody>
            <a:bodyPr wrap="square" lIns="91440" tIns="45720" rIns="91440" bIns="45720" anchor="t">
              <a:spAutoFit/>
            </a:bodyPr>
            <a:lstStyle/>
            <a:p>
              <a:pPr algn="just"/>
              <a:r>
                <a:rPr lang="en-US" sz="1200"/>
                <a:t>.The Data Program simplifies the discovery, search, and understanding of data through the </a:t>
              </a:r>
              <a:r>
                <a:rPr lang="en-US" sz="1200" b="1"/>
                <a:t>Data Marketplace, the « Amazon of data »</a:t>
              </a:r>
              <a:r>
                <a:rPr lang="en-US" sz="1200"/>
                <a:t>. Users can see existing data, quality metrics and request access.</a:t>
              </a:r>
            </a:p>
          </p:txBody>
        </p:sp>
      </p:grpSp>
      <p:grpSp>
        <p:nvGrpSpPr>
          <p:cNvPr id="45" name="Groupe 44">
            <a:extLst>
              <a:ext uri="{FF2B5EF4-FFF2-40B4-BE49-F238E27FC236}">
                <a16:creationId xmlns:a16="http://schemas.microsoft.com/office/drawing/2014/main" id="{0542BCCF-F3DE-493F-949A-F48D78BF8C80}"/>
              </a:ext>
            </a:extLst>
          </p:cNvPr>
          <p:cNvGrpSpPr/>
          <p:nvPr/>
        </p:nvGrpSpPr>
        <p:grpSpPr>
          <a:xfrm>
            <a:off x="8871855" y="1579853"/>
            <a:ext cx="2773725" cy="2701820"/>
            <a:chOff x="9405257" y="1481854"/>
            <a:chExt cx="2773725" cy="2701820"/>
          </a:xfrm>
        </p:grpSpPr>
        <p:grpSp>
          <p:nvGrpSpPr>
            <p:cNvPr id="46" name="Group 4">
              <a:extLst>
                <a:ext uri="{FF2B5EF4-FFF2-40B4-BE49-F238E27FC236}">
                  <a16:creationId xmlns:a16="http://schemas.microsoft.com/office/drawing/2014/main" id="{181957B7-D2EA-7A07-5390-86578AAD7361}"/>
                </a:ext>
              </a:extLst>
            </p:cNvPr>
            <p:cNvGrpSpPr/>
            <p:nvPr/>
          </p:nvGrpSpPr>
          <p:grpSpPr>
            <a:xfrm>
              <a:off x="10213573" y="1481854"/>
              <a:ext cx="1334392" cy="1924508"/>
              <a:chOff x="8129372" y="1102687"/>
              <a:chExt cx="1588206" cy="2290570"/>
            </a:xfrm>
          </p:grpSpPr>
          <p:sp>
            <p:nvSpPr>
              <p:cNvPr id="48" name="Isosceles Triangle 7">
                <a:extLst>
                  <a:ext uri="{FF2B5EF4-FFF2-40B4-BE49-F238E27FC236}">
                    <a16:creationId xmlns:a16="http://schemas.microsoft.com/office/drawing/2014/main" id="{8A165FAB-2701-7680-D06F-2A8A072CFD1B}"/>
                  </a:ext>
                </a:extLst>
              </p:cNvPr>
              <p:cNvSpPr/>
              <p:nvPr/>
            </p:nvSpPr>
            <p:spPr>
              <a:xfrm rot="10800000">
                <a:off x="8353166" y="2398761"/>
                <a:ext cx="1140621" cy="684571"/>
              </a:xfrm>
              <a:prstGeom prst="triangle">
                <a:avLst/>
              </a:prstGeom>
              <a:solidFill>
                <a:schemeClr val="tx2">
                  <a:lumMod val="40000"/>
                  <a:lumOff val="60000"/>
                </a:schemeClr>
              </a:solidFill>
              <a:ln>
                <a:noFill/>
              </a:ln>
            </p:spPr>
            <p:style>
              <a:lnRef idx="3">
                <a:schemeClr val="lt1"/>
              </a:lnRef>
              <a:fillRef idx="1">
                <a:schemeClr val="accent6"/>
              </a:fillRef>
              <a:effectRef idx="1">
                <a:schemeClr val="accent6"/>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49" name="Oval 8">
                <a:extLst>
                  <a:ext uri="{FF2B5EF4-FFF2-40B4-BE49-F238E27FC236}">
                    <a16:creationId xmlns:a16="http://schemas.microsoft.com/office/drawing/2014/main" id="{D6FF7560-5B58-9589-6AC0-86D1DA11A546}"/>
                  </a:ext>
                </a:extLst>
              </p:cNvPr>
              <p:cNvSpPr/>
              <p:nvPr/>
            </p:nvSpPr>
            <p:spPr>
              <a:xfrm>
                <a:off x="8129372" y="1102687"/>
                <a:ext cx="1588206" cy="1560342"/>
              </a:xfrm>
              <a:prstGeom prst="ellipse">
                <a:avLst/>
              </a:prstGeom>
              <a:solidFill>
                <a:schemeClr val="tx2">
                  <a:lumMod val="40000"/>
                  <a:lumOff val="60000"/>
                </a:schemeClr>
              </a:solidFill>
              <a:ln>
                <a:noFill/>
              </a:ln>
              <a:effectLst>
                <a:outerShdw blurRad="50800" dist="38100" dir="5400000" algn="t" rotWithShape="0">
                  <a:prstClr val="black">
                    <a:alpha val="40000"/>
                  </a:prstClr>
                </a:outerShdw>
              </a:effectLst>
            </p:spPr>
            <p:style>
              <a:lnRef idx="3">
                <a:schemeClr val="lt1"/>
              </a:lnRef>
              <a:fillRef idx="1">
                <a:schemeClr val="accent6"/>
              </a:fillRef>
              <a:effectRef idx="1">
                <a:schemeClr val="accent6"/>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b="1"/>
                  <a:t>Big Bets</a:t>
                </a:r>
              </a:p>
            </p:txBody>
          </p:sp>
          <p:sp>
            <p:nvSpPr>
              <p:cNvPr id="50" name="Oval 9">
                <a:extLst>
                  <a:ext uri="{FF2B5EF4-FFF2-40B4-BE49-F238E27FC236}">
                    <a16:creationId xmlns:a16="http://schemas.microsoft.com/office/drawing/2014/main" id="{587AB1C2-3DB7-BBC2-ECF4-82063EB606CA}"/>
                  </a:ext>
                </a:extLst>
              </p:cNvPr>
              <p:cNvSpPr/>
              <p:nvPr/>
            </p:nvSpPr>
            <p:spPr>
              <a:xfrm>
                <a:off x="8208782" y="1180705"/>
                <a:ext cx="1429385" cy="1404308"/>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b="1">
                    <a:solidFill>
                      <a:schemeClr val="tx1"/>
                    </a:solidFill>
                  </a:rPr>
                  <a:t>Federated</a:t>
                </a:r>
              </a:p>
              <a:p>
                <a:pPr algn="ctr"/>
                <a:r>
                  <a:rPr lang="en-US" sz="1400" b="1">
                    <a:solidFill>
                      <a:schemeClr val="tx1"/>
                    </a:solidFill>
                  </a:rPr>
                  <a:t> governance</a:t>
                </a:r>
              </a:p>
            </p:txBody>
          </p:sp>
          <p:sp>
            <p:nvSpPr>
              <p:cNvPr id="51" name="Oval 10">
                <a:extLst>
                  <a:ext uri="{FF2B5EF4-FFF2-40B4-BE49-F238E27FC236}">
                    <a16:creationId xmlns:a16="http://schemas.microsoft.com/office/drawing/2014/main" id="{EC359F84-6A6D-5E6E-387C-47599B188EF0}"/>
                  </a:ext>
                </a:extLst>
              </p:cNvPr>
              <p:cNvSpPr/>
              <p:nvPr/>
            </p:nvSpPr>
            <p:spPr>
              <a:xfrm>
                <a:off x="8836844" y="3219998"/>
                <a:ext cx="173259" cy="173259"/>
              </a:xfrm>
              <a:prstGeom prst="ellipse">
                <a:avLst/>
              </a:prstGeom>
              <a:solidFill>
                <a:schemeClr val="tx2">
                  <a:lumMod val="40000"/>
                  <a:lumOff val="60000"/>
                </a:schemeClr>
              </a:solidFill>
              <a:ln>
                <a:noFill/>
              </a:ln>
            </p:spPr>
            <p:style>
              <a:lnRef idx="3">
                <a:schemeClr val="lt1"/>
              </a:lnRef>
              <a:fillRef idx="1">
                <a:schemeClr val="accent6"/>
              </a:fillRef>
              <a:effectRef idx="1">
                <a:schemeClr val="accent6"/>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grpSp>
        <p:sp>
          <p:nvSpPr>
            <p:cNvPr id="47" name="ZoneTexte 46">
              <a:extLst>
                <a:ext uri="{FF2B5EF4-FFF2-40B4-BE49-F238E27FC236}">
                  <a16:creationId xmlns:a16="http://schemas.microsoft.com/office/drawing/2014/main" id="{EB1A1D5A-4A32-CA47-A30A-55577F830294}"/>
                </a:ext>
              </a:extLst>
            </p:cNvPr>
            <p:cNvSpPr txBox="1"/>
            <p:nvPr/>
          </p:nvSpPr>
          <p:spPr>
            <a:xfrm>
              <a:off x="9405257" y="3537343"/>
              <a:ext cx="2773725" cy="646331"/>
            </a:xfrm>
            <a:prstGeom prst="rect">
              <a:avLst/>
            </a:prstGeom>
            <a:noFill/>
          </p:spPr>
          <p:txBody>
            <a:bodyPr wrap="square">
              <a:spAutoFit/>
            </a:bodyPr>
            <a:lstStyle/>
            <a:p>
              <a:pPr algn="just"/>
              <a:r>
                <a:rPr lang="en-US" sz="1200"/>
                <a:t>Responsibility must be distributed across business entity &amp; domains, </a:t>
              </a:r>
              <a:r>
                <a:rPr lang="en-US" sz="1200" b="1"/>
                <a:t>as close to the business as possible. </a:t>
              </a:r>
            </a:p>
          </p:txBody>
        </p:sp>
      </p:grpSp>
      <p:sp>
        <p:nvSpPr>
          <p:cNvPr id="52" name="ZoneTexte 51">
            <a:extLst>
              <a:ext uri="{FF2B5EF4-FFF2-40B4-BE49-F238E27FC236}">
                <a16:creationId xmlns:a16="http://schemas.microsoft.com/office/drawing/2014/main" id="{E1C9D86F-0019-E352-85C5-393543E0AD34}"/>
              </a:ext>
            </a:extLst>
          </p:cNvPr>
          <p:cNvSpPr txBox="1"/>
          <p:nvPr/>
        </p:nvSpPr>
        <p:spPr>
          <a:xfrm>
            <a:off x="625289" y="5614175"/>
            <a:ext cx="10910364" cy="408623"/>
          </a:xfrm>
          <a:prstGeom prst="roundRect">
            <a:avLst/>
          </a:prstGeom>
          <a:solidFill>
            <a:schemeClr val="accent1">
              <a:lumMod val="75000"/>
            </a:schemeClr>
          </a:solidFill>
          <a:ln>
            <a:noFill/>
          </a:ln>
        </p:spPr>
        <p:style>
          <a:lnRef idx="2">
            <a:schemeClr val="accent2"/>
          </a:lnRef>
          <a:fillRef idx="1">
            <a:schemeClr val="lt1"/>
          </a:fillRef>
          <a:effectRef idx="0">
            <a:schemeClr val="accent2"/>
          </a:effectRef>
          <a:fontRef idx="minor">
            <a:schemeClr val="dk1"/>
          </a:fontRef>
        </p:style>
        <p:txBody>
          <a:bodyPr wrap="square" rtlCol="0" anchor="ctr">
            <a:spAutoFit/>
          </a:bodyPr>
          <a:lstStyle/>
          <a:p>
            <a:pPr algn="ctr"/>
            <a:r>
              <a:rPr lang="en-US" b="1">
                <a:solidFill>
                  <a:schemeClr val="bg1"/>
                </a:solidFill>
              </a:rPr>
              <a:t>Goal </a:t>
            </a:r>
            <a:r>
              <a:rPr lang="en-US">
                <a:solidFill>
                  <a:schemeClr val="bg1"/>
                </a:solidFill>
              </a:rPr>
              <a:t>: Decentralize data by </a:t>
            </a:r>
            <a:r>
              <a:rPr lang="en-US" b="1">
                <a:solidFill>
                  <a:schemeClr val="bg1"/>
                </a:solidFill>
              </a:rPr>
              <a:t>domain / business entity</a:t>
            </a:r>
          </a:p>
        </p:txBody>
      </p:sp>
      <p:sp>
        <p:nvSpPr>
          <p:cNvPr id="2" name="Titre 1">
            <a:extLst>
              <a:ext uri="{FF2B5EF4-FFF2-40B4-BE49-F238E27FC236}">
                <a16:creationId xmlns:a16="http://schemas.microsoft.com/office/drawing/2014/main" id="{20D64B8C-3FA6-5E9B-D1A5-1B9E35B232FD}"/>
              </a:ext>
            </a:extLst>
          </p:cNvPr>
          <p:cNvSpPr>
            <a:spLocks noGrp="1"/>
          </p:cNvSpPr>
          <p:nvPr>
            <p:ph type="title"/>
          </p:nvPr>
        </p:nvSpPr>
        <p:spPr/>
        <p:txBody>
          <a:bodyPr/>
          <a:lstStyle/>
          <a:p>
            <a:pPr marL="342900" indent="-342900" algn="l">
              <a:buFont typeface="+mj-lt"/>
              <a:buAutoNum type="arabicPeriod"/>
            </a:pPr>
            <a:r>
              <a:rPr lang="en-US" b="1" i="0" kern="0">
                <a:solidFill>
                  <a:schemeClr val="accent1"/>
                </a:solidFill>
                <a:effectLst/>
                <a:latin typeface="Vinci Sans Light" panose="02000000000000000000"/>
              </a:rPr>
              <a:t>The Data Program provides access to data to business</a:t>
            </a:r>
          </a:p>
        </p:txBody>
      </p:sp>
      <p:sp>
        <p:nvSpPr>
          <p:cNvPr id="3" name="Espace réservé du texte 2">
            <a:extLst>
              <a:ext uri="{FF2B5EF4-FFF2-40B4-BE49-F238E27FC236}">
                <a16:creationId xmlns:a16="http://schemas.microsoft.com/office/drawing/2014/main" id="{A27588D6-C094-7170-5D3C-108256B78683}"/>
              </a:ext>
            </a:extLst>
          </p:cNvPr>
          <p:cNvSpPr>
            <a:spLocks noGrp="1"/>
          </p:cNvSpPr>
          <p:nvPr>
            <p:ph type="body" idx="1"/>
          </p:nvPr>
        </p:nvSpPr>
        <p:spPr/>
        <p:txBody>
          <a:bodyPr/>
          <a:lstStyle/>
          <a:p>
            <a:r>
              <a:rPr lang="en-US"/>
              <a:t>What is Data Program ?</a:t>
            </a:r>
          </a:p>
        </p:txBody>
      </p:sp>
      <p:sp>
        <p:nvSpPr>
          <p:cNvPr id="4" name="Rectangle 3">
            <a:extLst>
              <a:ext uri="{FF2B5EF4-FFF2-40B4-BE49-F238E27FC236}">
                <a16:creationId xmlns:a16="http://schemas.microsoft.com/office/drawing/2014/main" id="{3AA47935-FC96-88B2-7A8A-1C58A809CD16}"/>
              </a:ext>
            </a:extLst>
          </p:cNvPr>
          <p:cNvSpPr/>
          <p:nvPr/>
        </p:nvSpPr>
        <p:spPr>
          <a:xfrm>
            <a:off x="2039037" y="6472853"/>
            <a:ext cx="7333563" cy="289147"/>
          </a:xfrm>
          <a:prstGeom prst="rect">
            <a:avLst/>
          </a:prstGeom>
          <a:solidFill>
            <a:schemeClr val="bg2">
              <a:lumMod val="50000"/>
            </a:schemeClr>
          </a:solidFill>
          <a:ln w="6350">
            <a:no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a:t>DELI-GEN-PRE-DAPG-003-A1 Data Program - End user introduction </a:t>
            </a:r>
            <a:endParaRPr lang="en-US"/>
          </a:p>
        </p:txBody>
      </p:sp>
      <p:sp>
        <p:nvSpPr>
          <p:cNvPr id="5" name="Rectangle 4">
            <a:extLst>
              <a:ext uri="{FF2B5EF4-FFF2-40B4-BE49-F238E27FC236}">
                <a16:creationId xmlns:a16="http://schemas.microsoft.com/office/drawing/2014/main" id="{35553DFD-ADBF-91CF-65C8-E446D8F03464}"/>
              </a:ext>
            </a:extLst>
          </p:cNvPr>
          <p:cNvSpPr/>
          <p:nvPr/>
        </p:nvSpPr>
        <p:spPr>
          <a:xfrm rot="2670168">
            <a:off x="10389050" y="356879"/>
            <a:ext cx="2244345" cy="528930"/>
          </a:xfrm>
          <a:prstGeom prst="rect">
            <a:avLst/>
          </a:prstGeom>
          <a:solidFill>
            <a:schemeClr val="bg2">
              <a:lumMod val="50000"/>
            </a:schemeClr>
          </a:solidFill>
          <a:ln w="6350">
            <a:no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err="1"/>
              <a:t>From</a:t>
            </a:r>
            <a:r>
              <a:rPr lang="fr-FR"/>
              <a:t> </a:t>
            </a:r>
            <a:r>
              <a:rPr lang="fr-FR" err="1"/>
              <a:t>deliverables</a:t>
            </a:r>
            <a:r>
              <a:rPr lang="fr-FR"/>
              <a:t> </a:t>
            </a:r>
            <a:endParaRPr lang="en-US"/>
          </a:p>
        </p:txBody>
      </p:sp>
    </p:spTree>
    <p:extLst>
      <p:ext uri="{BB962C8B-B14F-4D97-AF65-F5344CB8AC3E}">
        <p14:creationId xmlns:p14="http://schemas.microsoft.com/office/powerpoint/2010/main" val="1351782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1D25988-CC96-623B-1383-1F75F54F9C9E}"/>
              </a:ext>
            </a:extLst>
          </p:cNvPr>
          <p:cNvSpPr>
            <a:spLocks noGrp="1"/>
          </p:cNvSpPr>
          <p:nvPr>
            <p:ph type="title"/>
          </p:nvPr>
        </p:nvSpPr>
        <p:spPr>
          <a:xfrm>
            <a:off x="464677" y="399335"/>
            <a:ext cx="11133647" cy="816000"/>
          </a:xfrm>
        </p:spPr>
        <p:txBody>
          <a:bodyPr/>
          <a:lstStyle/>
          <a:p>
            <a:r>
              <a:rPr lang="en-US" b="1" i="0" kern="0">
                <a:effectLst/>
                <a:latin typeface="Vinci Sans Light" panose="02000000000000000000"/>
              </a:rPr>
              <a:t>2. The Data Program enables to customize by entity based on trustworthy source</a:t>
            </a:r>
          </a:p>
        </p:txBody>
      </p:sp>
      <p:sp>
        <p:nvSpPr>
          <p:cNvPr id="3" name="Espace réservé du texte 2">
            <a:extLst>
              <a:ext uri="{FF2B5EF4-FFF2-40B4-BE49-F238E27FC236}">
                <a16:creationId xmlns:a16="http://schemas.microsoft.com/office/drawing/2014/main" id="{787C0EC5-B5C4-4222-9280-90F5C3963825}"/>
              </a:ext>
            </a:extLst>
          </p:cNvPr>
          <p:cNvSpPr>
            <a:spLocks noGrp="1"/>
          </p:cNvSpPr>
          <p:nvPr>
            <p:ph type="body" idx="1"/>
          </p:nvPr>
        </p:nvSpPr>
        <p:spPr>
          <a:xfrm>
            <a:off x="511500" y="1171429"/>
            <a:ext cx="11040000" cy="447027"/>
          </a:xfrm>
        </p:spPr>
        <p:txBody>
          <a:bodyPr/>
          <a:lstStyle/>
          <a:p>
            <a:r>
              <a:rPr lang="en-US"/>
              <a:t>What is the purpose of the Data Program?</a:t>
            </a:r>
          </a:p>
        </p:txBody>
      </p:sp>
      <p:grpSp>
        <p:nvGrpSpPr>
          <p:cNvPr id="5" name="Groupe 4">
            <a:extLst>
              <a:ext uri="{FF2B5EF4-FFF2-40B4-BE49-F238E27FC236}">
                <a16:creationId xmlns:a16="http://schemas.microsoft.com/office/drawing/2014/main" id="{F7E00279-CDF3-2AF2-C3FD-F0187B17940B}"/>
              </a:ext>
            </a:extLst>
          </p:cNvPr>
          <p:cNvGrpSpPr/>
          <p:nvPr/>
        </p:nvGrpSpPr>
        <p:grpSpPr>
          <a:xfrm>
            <a:off x="1774140" y="2255283"/>
            <a:ext cx="2160000" cy="3431288"/>
            <a:chOff x="2337959" y="2328125"/>
            <a:chExt cx="2160000" cy="3431288"/>
          </a:xfrm>
        </p:grpSpPr>
        <p:sp>
          <p:nvSpPr>
            <p:cNvPr id="63" name="Google Shape;373;p9">
              <a:extLst>
                <a:ext uri="{FF2B5EF4-FFF2-40B4-BE49-F238E27FC236}">
                  <a16:creationId xmlns:a16="http://schemas.microsoft.com/office/drawing/2014/main" id="{AFF95E72-ACBC-95AA-9380-854ABB77A74D}"/>
                </a:ext>
              </a:extLst>
            </p:cNvPr>
            <p:cNvSpPr txBox="1"/>
            <p:nvPr/>
          </p:nvSpPr>
          <p:spPr>
            <a:xfrm>
              <a:off x="2486075" y="3771149"/>
              <a:ext cx="1863768" cy="230812"/>
            </a:xfrm>
            <a:prstGeom prst="rect">
              <a:avLst/>
            </a:prstGeom>
            <a:noFill/>
            <a:ln>
              <a:noFill/>
            </a:ln>
          </p:spPr>
          <p:txBody>
            <a:bodyPr spcFirstLastPara="1" wrap="square" lIns="45713" tIns="22850" rIns="45713" bIns="22850" anchor="ctr" anchorCtr="0">
              <a:spAutoFit/>
            </a:bodyPr>
            <a:lstStyle/>
            <a:p>
              <a:pPr algn="ctr" defTabSz="457200">
                <a:buClr>
                  <a:srgbClr val="000000"/>
                </a:buClr>
              </a:pPr>
              <a:r>
                <a:rPr lang="en-US" sz="1200" b="1" kern="0">
                  <a:solidFill>
                    <a:srgbClr val="000000"/>
                  </a:solidFill>
                  <a:ea typeface="Poppins"/>
                  <a:cs typeface="Poppins"/>
                  <a:sym typeface="Poppins"/>
                </a:rPr>
                <a:t>Reuse &amp; Customize</a:t>
              </a:r>
              <a:endParaRPr lang="en-US" sz="1200" kern="0">
                <a:solidFill>
                  <a:srgbClr val="000000"/>
                </a:solidFill>
                <a:cs typeface="Arial"/>
                <a:sym typeface="Arial"/>
              </a:endParaRPr>
            </a:p>
          </p:txBody>
        </p:sp>
        <p:sp>
          <p:nvSpPr>
            <p:cNvPr id="77" name="Google Shape;378;p9">
              <a:extLst>
                <a:ext uri="{FF2B5EF4-FFF2-40B4-BE49-F238E27FC236}">
                  <a16:creationId xmlns:a16="http://schemas.microsoft.com/office/drawing/2014/main" id="{4E0768FF-563E-006B-DB54-19AEFD34D2E3}"/>
                </a:ext>
              </a:extLst>
            </p:cNvPr>
            <p:cNvSpPr txBox="1"/>
            <p:nvPr/>
          </p:nvSpPr>
          <p:spPr>
            <a:xfrm>
              <a:off x="2337959" y="4095516"/>
              <a:ext cx="2160000" cy="1663897"/>
            </a:xfrm>
            <a:prstGeom prst="rect">
              <a:avLst/>
            </a:prstGeom>
            <a:noFill/>
            <a:ln>
              <a:noFill/>
            </a:ln>
          </p:spPr>
          <p:txBody>
            <a:bodyPr spcFirstLastPara="1" wrap="square" lIns="45713" tIns="22850" rIns="45713" bIns="22850" anchor="t" anchorCtr="0">
              <a:spAutoFit/>
            </a:bodyPr>
            <a:lstStyle/>
            <a:p>
              <a:pPr algn="ctr" defTabSz="457200">
                <a:lnSpc>
                  <a:spcPct val="145833"/>
                </a:lnSpc>
                <a:buClr>
                  <a:srgbClr val="7F7F7F"/>
                </a:buClr>
                <a:buSzPts val="2400"/>
              </a:pPr>
              <a:r>
                <a:rPr lang="en-US" sz="1200" kern="0">
                  <a:solidFill>
                    <a:srgbClr val="7F7F7F"/>
                  </a:solidFill>
                  <a:ea typeface="Lato Light"/>
                  <a:cs typeface="Lato Light"/>
                  <a:sym typeface="Lato Light"/>
                </a:rPr>
                <a:t>The Data Program makes it easy to reuse existing data products. </a:t>
              </a:r>
            </a:p>
            <a:p>
              <a:pPr algn="ctr" defTabSz="457200">
                <a:lnSpc>
                  <a:spcPct val="145833"/>
                </a:lnSpc>
                <a:buClr>
                  <a:srgbClr val="7F7F7F"/>
                </a:buClr>
                <a:buSzPts val="2400"/>
              </a:pPr>
              <a:r>
                <a:rPr lang="en-US" sz="1200" kern="0">
                  <a:solidFill>
                    <a:srgbClr val="7F7F7F"/>
                  </a:solidFill>
                  <a:ea typeface="Lato Light"/>
                  <a:cs typeface="Lato Light"/>
                  <a:sym typeface="Lato Light"/>
                </a:rPr>
                <a:t>It gives consumers the means to create their own analysis or customize existing one by adding local data.</a:t>
              </a:r>
            </a:p>
          </p:txBody>
        </p:sp>
        <p:grpSp>
          <p:nvGrpSpPr>
            <p:cNvPr id="4" name="Groupe 3">
              <a:extLst>
                <a:ext uri="{FF2B5EF4-FFF2-40B4-BE49-F238E27FC236}">
                  <a16:creationId xmlns:a16="http://schemas.microsoft.com/office/drawing/2014/main" id="{2FB1CD4D-9071-B135-D3BF-2F1F73344379}"/>
                </a:ext>
              </a:extLst>
            </p:cNvPr>
            <p:cNvGrpSpPr/>
            <p:nvPr/>
          </p:nvGrpSpPr>
          <p:grpSpPr>
            <a:xfrm>
              <a:off x="2787959" y="2328125"/>
              <a:ext cx="1260000" cy="1261472"/>
              <a:chOff x="794823" y="1856311"/>
              <a:chExt cx="1260000" cy="1261472"/>
            </a:xfrm>
          </p:grpSpPr>
          <p:grpSp>
            <p:nvGrpSpPr>
              <p:cNvPr id="65" name="Google Shape;353;p9">
                <a:extLst>
                  <a:ext uri="{FF2B5EF4-FFF2-40B4-BE49-F238E27FC236}">
                    <a16:creationId xmlns:a16="http://schemas.microsoft.com/office/drawing/2014/main" id="{47329BEF-59EC-5E48-B401-B654EDDF739F}"/>
                  </a:ext>
                </a:extLst>
              </p:cNvPr>
              <p:cNvGrpSpPr/>
              <p:nvPr/>
            </p:nvGrpSpPr>
            <p:grpSpPr>
              <a:xfrm>
                <a:off x="794823" y="1857783"/>
                <a:ext cx="1260000" cy="1260000"/>
                <a:chOff x="2050473" y="4048203"/>
                <a:chExt cx="3227506" cy="3191257"/>
              </a:xfrm>
              <a:solidFill>
                <a:schemeClr val="accent1">
                  <a:lumMod val="75000"/>
                </a:schemeClr>
              </a:solidFill>
            </p:grpSpPr>
            <p:sp>
              <p:nvSpPr>
                <p:cNvPr id="66" name="Google Shape;354;p9">
                  <a:extLst>
                    <a:ext uri="{FF2B5EF4-FFF2-40B4-BE49-F238E27FC236}">
                      <a16:creationId xmlns:a16="http://schemas.microsoft.com/office/drawing/2014/main" id="{3355AB31-908B-FA82-FC24-1AD4BFE0D775}"/>
                    </a:ext>
                  </a:extLst>
                </p:cNvPr>
                <p:cNvSpPr/>
                <p:nvPr/>
              </p:nvSpPr>
              <p:spPr>
                <a:xfrm>
                  <a:off x="2050473" y="4048203"/>
                  <a:ext cx="3017615" cy="3017615"/>
                </a:xfrm>
                <a:prstGeom prst="halfFrame">
                  <a:avLst>
                    <a:gd name="adj1" fmla="val 10277"/>
                    <a:gd name="adj2" fmla="val 10936"/>
                  </a:avLst>
                </a:prstGeom>
                <a:grpFill/>
                <a:ln>
                  <a:noFill/>
                </a:ln>
              </p:spPr>
              <p:txBody>
                <a:bodyPr spcFirstLastPara="1" wrap="square" lIns="45713" tIns="22850" rIns="45713" bIns="22850" anchor="ctr" anchorCtr="0">
                  <a:noAutofit/>
                </a:bodyPr>
                <a:lstStyle/>
                <a:p>
                  <a:pPr algn="ctr" defTabSz="457200">
                    <a:buClr>
                      <a:srgbClr val="000000"/>
                    </a:buClr>
                  </a:pPr>
                  <a:endParaRPr lang="en-US" kern="0">
                    <a:solidFill>
                      <a:srgbClr val="7F7F7F"/>
                    </a:solidFill>
                    <a:latin typeface="Lato Light"/>
                    <a:ea typeface="Lato Light"/>
                    <a:cs typeface="Lato Light"/>
                    <a:sym typeface="Lato Light"/>
                  </a:endParaRPr>
                </a:p>
              </p:txBody>
            </p:sp>
            <p:sp>
              <p:nvSpPr>
                <p:cNvPr id="67" name="Google Shape;355;p9">
                  <a:extLst>
                    <a:ext uri="{FF2B5EF4-FFF2-40B4-BE49-F238E27FC236}">
                      <a16:creationId xmlns:a16="http://schemas.microsoft.com/office/drawing/2014/main" id="{6473C2D4-07C8-EF68-5A13-7186AAA2812C}"/>
                    </a:ext>
                  </a:extLst>
                </p:cNvPr>
                <p:cNvSpPr/>
                <p:nvPr/>
              </p:nvSpPr>
              <p:spPr>
                <a:xfrm rot="10800000">
                  <a:off x="2260364" y="4221845"/>
                  <a:ext cx="3017615" cy="3017615"/>
                </a:xfrm>
                <a:prstGeom prst="halfFrame">
                  <a:avLst>
                    <a:gd name="adj1" fmla="val 10277"/>
                    <a:gd name="adj2" fmla="val 10936"/>
                  </a:avLst>
                </a:prstGeom>
                <a:grpFill/>
                <a:ln>
                  <a:noFill/>
                </a:ln>
              </p:spPr>
              <p:txBody>
                <a:bodyPr spcFirstLastPara="1" wrap="square" lIns="45713" tIns="22850" rIns="45713" bIns="22850" anchor="ctr" anchorCtr="0">
                  <a:noAutofit/>
                </a:bodyPr>
                <a:lstStyle/>
                <a:p>
                  <a:pPr algn="ctr" defTabSz="457200">
                    <a:buClr>
                      <a:srgbClr val="000000"/>
                    </a:buClr>
                  </a:pPr>
                  <a:endParaRPr lang="en-US" kern="0">
                    <a:solidFill>
                      <a:srgbClr val="7F7F7F"/>
                    </a:solidFill>
                    <a:latin typeface="Lato Light"/>
                    <a:ea typeface="Lato Light"/>
                    <a:cs typeface="Lato Light"/>
                    <a:sym typeface="Lato Light"/>
                  </a:endParaRPr>
                </a:p>
              </p:txBody>
            </p:sp>
          </p:grpSp>
          <p:sp>
            <p:nvSpPr>
              <p:cNvPr id="80" name="Google Shape;354;p9">
                <a:extLst>
                  <a:ext uri="{FF2B5EF4-FFF2-40B4-BE49-F238E27FC236}">
                    <a16:creationId xmlns:a16="http://schemas.microsoft.com/office/drawing/2014/main" id="{A5B94D68-5E7C-E9B9-D9CF-F3A051539E35}"/>
                  </a:ext>
                </a:extLst>
              </p:cNvPr>
              <p:cNvSpPr/>
              <p:nvPr/>
            </p:nvSpPr>
            <p:spPr>
              <a:xfrm>
                <a:off x="794823" y="1856311"/>
                <a:ext cx="1178060" cy="1191441"/>
              </a:xfrm>
              <a:prstGeom prst="halfFrame">
                <a:avLst>
                  <a:gd name="adj1" fmla="val 10277"/>
                  <a:gd name="adj2" fmla="val 10936"/>
                </a:avLst>
              </a:prstGeom>
              <a:solidFill>
                <a:schemeClr val="accent1">
                  <a:lumMod val="75000"/>
                </a:schemeClr>
              </a:solidFill>
              <a:ln>
                <a:noFill/>
              </a:ln>
            </p:spPr>
            <p:txBody>
              <a:bodyPr spcFirstLastPara="1" wrap="square" lIns="45713" tIns="22850" rIns="45713" bIns="22850" anchor="ctr" anchorCtr="0">
                <a:noAutofit/>
              </a:bodyPr>
              <a:lstStyle/>
              <a:p>
                <a:pPr algn="ctr" defTabSz="457200">
                  <a:buClr>
                    <a:srgbClr val="000000"/>
                  </a:buClr>
                </a:pPr>
                <a:endParaRPr lang="en-US" kern="0">
                  <a:solidFill>
                    <a:srgbClr val="7F7F7F"/>
                  </a:solidFill>
                  <a:latin typeface="Lato Light"/>
                  <a:ea typeface="Lato Light"/>
                  <a:cs typeface="Lato Light"/>
                  <a:sym typeface="Lato Light"/>
                </a:endParaRPr>
              </a:p>
            </p:txBody>
          </p:sp>
          <p:sp>
            <p:nvSpPr>
              <p:cNvPr id="81" name="Google Shape;355;p9">
                <a:extLst>
                  <a:ext uri="{FF2B5EF4-FFF2-40B4-BE49-F238E27FC236}">
                    <a16:creationId xmlns:a16="http://schemas.microsoft.com/office/drawing/2014/main" id="{D35F46E3-9884-2F06-93A3-CDAC0D062F57}"/>
                  </a:ext>
                </a:extLst>
              </p:cNvPr>
              <p:cNvSpPr/>
              <p:nvPr/>
            </p:nvSpPr>
            <p:spPr>
              <a:xfrm rot="10800000">
                <a:off x="876763" y="1924870"/>
                <a:ext cx="1178060" cy="1191441"/>
              </a:xfrm>
              <a:prstGeom prst="halfFrame">
                <a:avLst>
                  <a:gd name="adj1" fmla="val 10277"/>
                  <a:gd name="adj2" fmla="val 10936"/>
                </a:avLst>
              </a:prstGeom>
              <a:solidFill>
                <a:schemeClr val="accent1">
                  <a:lumMod val="75000"/>
                </a:schemeClr>
              </a:solidFill>
              <a:ln>
                <a:noFill/>
              </a:ln>
            </p:spPr>
            <p:txBody>
              <a:bodyPr spcFirstLastPara="1" wrap="square" lIns="45713" tIns="22850" rIns="45713" bIns="22850" anchor="ctr" anchorCtr="0">
                <a:noAutofit/>
              </a:bodyPr>
              <a:lstStyle/>
              <a:p>
                <a:pPr algn="ctr" defTabSz="457200">
                  <a:buClr>
                    <a:srgbClr val="000000"/>
                  </a:buClr>
                </a:pPr>
                <a:endParaRPr lang="en-US" kern="0">
                  <a:solidFill>
                    <a:srgbClr val="7F7F7F"/>
                  </a:solidFill>
                  <a:latin typeface="Lato Light"/>
                  <a:ea typeface="Lato Light"/>
                  <a:cs typeface="Lato Light"/>
                  <a:sym typeface="Lato Light"/>
                </a:endParaRPr>
              </a:p>
            </p:txBody>
          </p:sp>
          <p:pic>
            <p:nvPicPr>
              <p:cNvPr id="85" name="Image 84" descr="Une image contenant Graphique, Police, capture d’écran, conception">
                <a:extLst>
                  <a:ext uri="{FF2B5EF4-FFF2-40B4-BE49-F238E27FC236}">
                    <a16:creationId xmlns:a16="http://schemas.microsoft.com/office/drawing/2014/main" id="{D77B3230-36C6-7F36-AC9D-70E2430671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8188" y="2215613"/>
                <a:ext cx="540000" cy="540000"/>
              </a:xfrm>
              <a:prstGeom prst="rect">
                <a:avLst/>
              </a:prstGeom>
            </p:spPr>
          </p:pic>
        </p:grpSp>
      </p:grpSp>
      <p:grpSp>
        <p:nvGrpSpPr>
          <p:cNvPr id="6" name="Groupe 5">
            <a:extLst>
              <a:ext uri="{FF2B5EF4-FFF2-40B4-BE49-F238E27FC236}">
                <a16:creationId xmlns:a16="http://schemas.microsoft.com/office/drawing/2014/main" id="{0951021F-27A2-91FC-2993-18C8B3898A19}"/>
              </a:ext>
            </a:extLst>
          </p:cNvPr>
          <p:cNvGrpSpPr/>
          <p:nvPr/>
        </p:nvGrpSpPr>
        <p:grpSpPr>
          <a:xfrm>
            <a:off x="4869747" y="2333950"/>
            <a:ext cx="2160000" cy="3133939"/>
            <a:chOff x="4216899" y="1854555"/>
            <a:chExt cx="2160000" cy="3133939"/>
          </a:xfrm>
        </p:grpSpPr>
        <p:sp>
          <p:nvSpPr>
            <p:cNvPr id="45" name="Google Shape;371;p9">
              <a:extLst>
                <a:ext uri="{FF2B5EF4-FFF2-40B4-BE49-F238E27FC236}">
                  <a16:creationId xmlns:a16="http://schemas.microsoft.com/office/drawing/2014/main" id="{2AD69EB1-B91F-BBBD-D3CA-A19CFB7BAD71}"/>
                </a:ext>
              </a:extLst>
            </p:cNvPr>
            <p:cNvSpPr txBox="1"/>
            <p:nvPr/>
          </p:nvSpPr>
          <p:spPr>
            <a:xfrm>
              <a:off x="4486357" y="3204703"/>
              <a:ext cx="1620754" cy="230812"/>
            </a:xfrm>
            <a:prstGeom prst="rect">
              <a:avLst/>
            </a:prstGeom>
            <a:noFill/>
            <a:ln>
              <a:noFill/>
            </a:ln>
          </p:spPr>
          <p:txBody>
            <a:bodyPr spcFirstLastPara="1" wrap="square" lIns="45713" tIns="22850" rIns="45713" bIns="22850" anchor="ctr" anchorCtr="0">
              <a:spAutoFit/>
            </a:bodyPr>
            <a:lstStyle/>
            <a:p>
              <a:pPr algn="ctr" defTabSz="457200">
                <a:buClr>
                  <a:srgbClr val="000000"/>
                </a:buClr>
              </a:pPr>
              <a:r>
                <a:rPr lang="en-US" sz="1200" b="1" kern="0">
                  <a:solidFill>
                    <a:srgbClr val="000000"/>
                  </a:solidFill>
                  <a:ea typeface="Poppins"/>
                  <a:cs typeface="Poppins"/>
                  <a:sym typeface="Poppins"/>
                </a:rPr>
                <a:t>A trustworthy source</a:t>
              </a:r>
              <a:endParaRPr lang="en-US" sz="1200" kern="0">
                <a:solidFill>
                  <a:srgbClr val="000000"/>
                </a:solidFill>
                <a:cs typeface="Arial"/>
                <a:sym typeface="Arial"/>
              </a:endParaRPr>
            </a:p>
          </p:txBody>
        </p:sp>
        <p:sp>
          <p:nvSpPr>
            <p:cNvPr id="50" name="Google Shape;376;p9">
              <a:extLst>
                <a:ext uri="{FF2B5EF4-FFF2-40B4-BE49-F238E27FC236}">
                  <a16:creationId xmlns:a16="http://schemas.microsoft.com/office/drawing/2014/main" id="{FCD7B47A-D594-3A34-7848-9287FB119959}"/>
                </a:ext>
              </a:extLst>
            </p:cNvPr>
            <p:cNvSpPr txBox="1"/>
            <p:nvPr/>
          </p:nvSpPr>
          <p:spPr>
            <a:xfrm>
              <a:off x="4216899" y="3594222"/>
              <a:ext cx="2160000" cy="1394272"/>
            </a:xfrm>
            <a:prstGeom prst="rect">
              <a:avLst/>
            </a:prstGeom>
            <a:noFill/>
            <a:ln>
              <a:noFill/>
            </a:ln>
          </p:spPr>
          <p:txBody>
            <a:bodyPr spcFirstLastPara="1" wrap="square" lIns="45713" tIns="22850" rIns="45713" bIns="22850" anchor="t" anchorCtr="0">
              <a:spAutoFit/>
            </a:bodyPr>
            <a:lstStyle/>
            <a:p>
              <a:pPr algn="ctr" defTabSz="457200">
                <a:lnSpc>
                  <a:spcPct val="145833"/>
                </a:lnSpc>
                <a:buClr>
                  <a:srgbClr val="7F7F7F"/>
                </a:buClr>
                <a:buSzPts val="2400"/>
              </a:pPr>
              <a:r>
                <a:rPr lang="en-US" sz="1200" kern="0">
                  <a:solidFill>
                    <a:srgbClr val="7F7F7F"/>
                  </a:solidFill>
                  <a:ea typeface="Lato Light"/>
                  <a:cs typeface="Lato Light"/>
                  <a:sym typeface="Lato Light"/>
                </a:rPr>
                <a:t>The Data Program ensures:</a:t>
              </a:r>
            </a:p>
            <a:p>
              <a:pPr algn="ctr" defTabSz="457200">
                <a:lnSpc>
                  <a:spcPct val="145833"/>
                </a:lnSpc>
                <a:buClr>
                  <a:srgbClr val="7F7F7F"/>
                </a:buClr>
                <a:buSzPts val="2400"/>
              </a:pPr>
              <a:r>
                <a:rPr lang="en-US" sz="1200" kern="0">
                  <a:solidFill>
                    <a:srgbClr val="7F7F7F"/>
                  </a:solidFill>
                  <a:ea typeface="Lato Light"/>
                  <a:cs typeface="Lato Light"/>
                  <a:sym typeface="Lato Light"/>
                </a:rPr>
                <a:t>1. A single source of truth via common repositories</a:t>
              </a:r>
            </a:p>
            <a:p>
              <a:pPr algn="ctr" defTabSz="457200">
                <a:lnSpc>
                  <a:spcPct val="145833"/>
                </a:lnSpc>
                <a:buClr>
                  <a:srgbClr val="7F7F7F"/>
                </a:buClr>
                <a:buSzPts val="2400"/>
              </a:pPr>
              <a:r>
                <a:rPr lang="en-US" sz="1200" kern="0">
                  <a:solidFill>
                    <a:srgbClr val="7F7F7F"/>
                  </a:solidFill>
                  <a:ea typeface="Lato Light"/>
                  <a:cs typeface="Lato Light"/>
                  <a:sym typeface="Lato Light"/>
                </a:rPr>
                <a:t>2. Quality data thanks to rules, monitoring and managers.</a:t>
              </a:r>
              <a:endParaRPr lang="en-US" sz="700" kern="0">
                <a:solidFill>
                  <a:srgbClr val="000000"/>
                </a:solidFill>
                <a:cs typeface="Arial"/>
                <a:sym typeface="Arial"/>
              </a:endParaRPr>
            </a:p>
          </p:txBody>
        </p:sp>
        <p:grpSp>
          <p:nvGrpSpPr>
            <p:cNvPr id="7" name="Groupe 6">
              <a:extLst>
                <a:ext uri="{FF2B5EF4-FFF2-40B4-BE49-F238E27FC236}">
                  <a16:creationId xmlns:a16="http://schemas.microsoft.com/office/drawing/2014/main" id="{5D8C625C-B3C1-5F1F-F23E-F2F3498494F7}"/>
                </a:ext>
              </a:extLst>
            </p:cNvPr>
            <p:cNvGrpSpPr/>
            <p:nvPr/>
          </p:nvGrpSpPr>
          <p:grpSpPr>
            <a:xfrm>
              <a:off x="4707704" y="1854555"/>
              <a:ext cx="1260000" cy="1260000"/>
              <a:chOff x="6515953" y="1855433"/>
              <a:chExt cx="1260000" cy="1260000"/>
            </a:xfrm>
          </p:grpSpPr>
          <p:sp>
            <p:nvSpPr>
              <p:cNvPr id="27" name="Google Shape;351;p9">
                <a:extLst>
                  <a:ext uri="{FF2B5EF4-FFF2-40B4-BE49-F238E27FC236}">
                    <a16:creationId xmlns:a16="http://schemas.microsoft.com/office/drawing/2014/main" id="{4E7A6C7F-4779-3D50-357C-B112F08570C4}"/>
                  </a:ext>
                </a:extLst>
              </p:cNvPr>
              <p:cNvSpPr/>
              <p:nvPr/>
            </p:nvSpPr>
            <p:spPr>
              <a:xfrm>
                <a:off x="6515953" y="1855433"/>
                <a:ext cx="1178060" cy="1191441"/>
              </a:xfrm>
              <a:prstGeom prst="halfFrame">
                <a:avLst>
                  <a:gd name="adj1" fmla="val 10277"/>
                  <a:gd name="adj2" fmla="val 10936"/>
                </a:avLst>
              </a:prstGeom>
              <a:solidFill>
                <a:schemeClr val="accent4"/>
              </a:solidFill>
              <a:ln>
                <a:noFill/>
              </a:ln>
            </p:spPr>
            <p:txBody>
              <a:bodyPr spcFirstLastPara="1" wrap="square" lIns="45713" tIns="22850" rIns="45713" bIns="22850" anchor="ctr" anchorCtr="0">
                <a:noAutofit/>
              </a:bodyPr>
              <a:lstStyle/>
              <a:p>
                <a:pPr algn="ctr" defTabSz="457200">
                  <a:buClr>
                    <a:srgbClr val="000000"/>
                  </a:buClr>
                </a:pPr>
                <a:endParaRPr lang="en-US" kern="0">
                  <a:solidFill>
                    <a:srgbClr val="7F7F7F"/>
                  </a:solidFill>
                  <a:latin typeface="Lato Light"/>
                  <a:ea typeface="Lato Light"/>
                  <a:cs typeface="Lato Light"/>
                  <a:sym typeface="Lato Light"/>
                </a:endParaRPr>
              </a:p>
            </p:txBody>
          </p:sp>
          <p:sp>
            <p:nvSpPr>
              <p:cNvPr id="28" name="Google Shape;352;p9">
                <a:extLst>
                  <a:ext uri="{FF2B5EF4-FFF2-40B4-BE49-F238E27FC236}">
                    <a16:creationId xmlns:a16="http://schemas.microsoft.com/office/drawing/2014/main" id="{38D01C53-F4C0-6B72-FA7D-1702DCF4103A}"/>
                  </a:ext>
                </a:extLst>
              </p:cNvPr>
              <p:cNvSpPr/>
              <p:nvPr/>
            </p:nvSpPr>
            <p:spPr>
              <a:xfrm rot="10800000">
                <a:off x="6597893" y="1923992"/>
                <a:ext cx="1178060" cy="1191441"/>
              </a:xfrm>
              <a:prstGeom prst="halfFrame">
                <a:avLst>
                  <a:gd name="adj1" fmla="val 10277"/>
                  <a:gd name="adj2" fmla="val 10936"/>
                </a:avLst>
              </a:prstGeom>
              <a:solidFill>
                <a:schemeClr val="accent4"/>
              </a:solidFill>
              <a:ln>
                <a:noFill/>
              </a:ln>
            </p:spPr>
            <p:txBody>
              <a:bodyPr spcFirstLastPara="1" wrap="square" lIns="45713" tIns="22850" rIns="45713" bIns="22850" anchor="ctr" anchorCtr="0">
                <a:noAutofit/>
              </a:bodyPr>
              <a:lstStyle/>
              <a:p>
                <a:pPr algn="ctr" defTabSz="457200">
                  <a:buClr>
                    <a:srgbClr val="000000"/>
                  </a:buClr>
                </a:pPr>
                <a:endParaRPr lang="en-US" kern="0">
                  <a:solidFill>
                    <a:srgbClr val="7F7F7F"/>
                  </a:solidFill>
                  <a:latin typeface="Lato Light"/>
                  <a:ea typeface="Lato Light"/>
                  <a:cs typeface="Lato Light"/>
                  <a:sym typeface="Lato Light"/>
                </a:endParaRPr>
              </a:p>
            </p:txBody>
          </p:sp>
          <p:pic>
            <p:nvPicPr>
              <p:cNvPr id="89" name="Image 88" descr="Une image contenant symbole, Graphique, logo, cercle&#10;&#10;Description générée automatiquement">
                <a:extLst>
                  <a:ext uri="{FF2B5EF4-FFF2-40B4-BE49-F238E27FC236}">
                    <a16:creationId xmlns:a16="http://schemas.microsoft.com/office/drawing/2014/main" id="{24D118C0-48A0-8717-823C-260BB2A2933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34983" y="2181153"/>
                <a:ext cx="540000" cy="540000"/>
              </a:xfrm>
              <a:prstGeom prst="rect">
                <a:avLst/>
              </a:prstGeom>
            </p:spPr>
          </p:pic>
        </p:grpSp>
      </p:grpSp>
      <p:grpSp>
        <p:nvGrpSpPr>
          <p:cNvPr id="9" name="Groupe 8">
            <a:extLst>
              <a:ext uri="{FF2B5EF4-FFF2-40B4-BE49-F238E27FC236}">
                <a16:creationId xmlns:a16="http://schemas.microsoft.com/office/drawing/2014/main" id="{BCF2A3DF-174E-DCD1-EDEC-F8DD5BA07A69}"/>
              </a:ext>
            </a:extLst>
          </p:cNvPr>
          <p:cNvGrpSpPr/>
          <p:nvPr/>
        </p:nvGrpSpPr>
        <p:grpSpPr>
          <a:xfrm>
            <a:off x="7965354" y="2333950"/>
            <a:ext cx="2160000" cy="3153383"/>
            <a:chOff x="8219354" y="1854555"/>
            <a:chExt cx="2160000" cy="3153383"/>
          </a:xfrm>
        </p:grpSpPr>
        <p:sp>
          <p:nvSpPr>
            <p:cNvPr id="46" name="Google Shape;372;p9">
              <a:extLst>
                <a:ext uri="{FF2B5EF4-FFF2-40B4-BE49-F238E27FC236}">
                  <a16:creationId xmlns:a16="http://schemas.microsoft.com/office/drawing/2014/main" id="{56014FD6-6944-6557-A0AD-6E3D636239A6}"/>
                </a:ext>
              </a:extLst>
            </p:cNvPr>
            <p:cNvSpPr txBox="1"/>
            <p:nvPr/>
          </p:nvSpPr>
          <p:spPr>
            <a:xfrm>
              <a:off x="8587414" y="3204703"/>
              <a:ext cx="1260000" cy="230812"/>
            </a:xfrm>
            <a:prstGeom prst="rect">
              <a:avLst/>
            </a:prstGeom>
            <a:noFill/>
            <a:ln>
              <a:noFill/>
            </a:ln>
          </p:spPr>
          <p:txBody>
            <a:bodyPr spcFirstLastPara="1" wrap="square" lIns="45713" tIns="22850" rIns="45713" bIns="22850" anchor="ctr" anchorCtr="0">
              <a:spAutoFit/>
            </a:bodyPr>
            <a:lstStyle/>
            <a:p>
              <a:pPr algn="ctr" defTabSz="457200">
                <a:buClr>
                  <a:srgbClr val="000000"/>
                </a:buClr>
              </a:pPr>
              <a:r>
                <a:rPr lang="en-US" sz="1200" b="1" kern="0">
                  <a:solidFill>
                    <a:srgbClr val="000000"/>
                  </a:solidFill>
                  <a:ea typeface="Poppins"/>
                  <a:cs typeface="Poppins"/>
                  <a:sym typeface="Poppins"/>
                </a:rPr>
                <a:t>Use A.I</a:t>
              </a:r>
              <a:endParaRPr lang="en-US" sz="1200" kern="0">
                <a:solidFill>
                  <a:srgbClr val="000000"/>
                </a:solidFill>
                <a:cs typeface="Arial"/>
                <a:sym typeface="Arial"/>
              </a:endParaRPr>
            </a:p>
          </p:txBody>
        </p:sp>
        <p:sp>
          <p:nvSpPr>
            <p:cNvPr id="51" name="Google Shape;377;p9">
              <a:extLst>
                <a:ext uri="{FF2B5EF4-FFF2-40B4-BE49-F238E27FC236}">
                  <a16:creationId xmlns:a16="http://schemas.microsoft.com/office/drawing/2014/main" id="{3AFB8B24-5BDB-2A57-BBAA-AB2B8143213D}"/>
                </a:ext>
              </a:extLst>
            </p:cNvPr>
            <p:cNvSpPr txBox="1"/>
            <p:nvPr/>
          </p:nvSpPr>
          <p:spPr>
            <a:xfrm>
              <a:off x="8219354" y="3613666"/>
              <a:ext cx="2160000" cy="1394272"/>
            </a:xfrm>
            <a:prstGeom prst="rect">
              <a:avLst/>
            </a:prstGeom>
            <a:noFill/>
            <a:ln>
              <a:noFill/>
            </a:ln>
          </p:spPr>
          <p:txBody>
            <a:bodyPr spcFirstLastPara="1" wrap="square" lIns="45713" tIns="22850" rIns="45713" bIns="22850" anchor="t" anchorCtr="0">
              <a:spAutoFit/>
            </a:bodyPr>
            <a:lstStyle/>
            <a:p>
              <a:pPr algn="ctr" defTabSz="457200">
                <a:lnSpc>
                  <a:spcPct val="145833"/>
                </a:lnSpc>
                <a:buClr>
                  <a:srgbClr val="7F7F7F"/>
                </a:buClr>
                <a:buSzPts val="2400"/>
              </a:pPr>
              <a:r>
                <a:rPr lang="en-US" sz="1200" kern="0">
                  <a:solidFill>
                    <a:srgbClr val="7F7F7F"/>
                  </a:solidFill>
                  <a:ea typeface="Lato Light"/>
                  <a:cs typeface="Lato Light"/>
                </a:rPr>
                <a:t>The Data Program makes reliable data available, which is a prerequisite for extracting the full value of AI at VC.</a:t>
              </a:r>
            </a:p>
            <a:p>
              <a:pPr algn="ctr" defTabSz="457200">
                <a:lnSpc>
                  <a:spcPct val="145833"/>
                </a:lnSpc>
                <a:buClr>
                  <a:srgbClr val="7F7F7F"/>
                </a:buClr>
                <a:buSzPts val="2400"/>
              </a:pPr>
              <a:r>
                <a:rPr lang="en-US" sz="1200" kern="0">
                  <a:solidFill>
                    <a:srgbClr val="7F7F7F"/>
                  </a:solidFill>
                  <a:ea typeface="Lato Light"/>
                  <a:cs typeface="Lato Light"/>
                </a:rPr>
                <a:t>(coming soon)</a:t>
              </a:r>
              <a:endParaRPr lang="en-US" sz="1200" kern="0">
                <a:solidFill>
                  <a:schemeClr val="bg2"/>
                </a:solidFill>
                <a:ea typeface="Lato Light"/>
                <a:cs typeface="Lato Light"/>
                <a:sym typeface="Arial"/>
              </a:endParaRPr>
            </a:p>
          </p:txBody>
        </p:sp>
        <p:grpSp>
          <p:nvGrpSpPr>
            <p:cNvPr id="8" name="Groupe 7">
              <a:extLst>
                <a:ext uri="{FF2B5EF4-FFF2-40B4-BE49-F238E27FC236}">
                  <a16:creationId xmlns:a16="http://schemas.microsoft.com/office/drawing/2014/main" id="{8EAD5DC6-733C-3E5F-709A-A29BD26705B0}"/>
                </a:ext>
              </a:extLst>
            </p:cNvPr>
            <p:cNvGrpSpPr/>
            <p:nvPr/>
          </p:nvGrpSpPr>
          <p:grpSpPr>
            <a:xfrm>
              <a:off x="8628384" y="1854555"/>
              <a:ext cx="1260000" cy="1260000"/>
              <a:chOff x="8424642" y="1855433"/>
              <a:chExt cx="1260000" cy="1260000"/>
            </a:xfrm>
          </p:grpSpPr>
          <p:sp>
            <p:nvSpPr>
              <p:cNvPr id="33" name="Google Shape;357;p9">
                <a:extLst>
                  <a:ext uri="{FF2B5EF4-FFF2-40B4-BE49-F238E27FC236}">
                    <a16:creationId xmlns:a16="http://schemas.microsoft.com/office/drawing/2014/main" id="{90523641-0440-D800-4659-A8B0377AD28A}"/>
                  </a:ext>
                </a:extLst>
              </p:cNvPr>
              <p:cNvSpPr/>
              <p:nvPr/>
            </p:nvSpPr>
            <p:spPr>
              <a:xfrm>
                <a:off x="8424642" y="1855433"/>
                <a:ext cx="1178060" cy="1191441"/>
              </a:xfrm>
              <a:prstGeom prst="halfFrame">
                <a:avLst>
                  <a:gd name="adj1" fmla="val 10277"/>
                  <a:gd name="adj2" fmla="val 10936"/>
                </a:avLst>
              </a:prstGeom>
              <a:solidFill>
                <a:schemeClr val="accent5"/>
              </a:solidFill>
              <a:ln>
                <a:noFill/>
              </a:ln>
            </p:spPr>
            <p:txBody>
              <a:bodyPr spcFirstLastPara="1" wrap="square" lIns="45713" tIns="22850" rIns="45713" bIns="22850" anchor="ctr" anchorCtr="0">
                <a:noAutofit/>
              </a:bodyPr>
              <a:lstStyle/>
              <a:p>
                <a:pPr algn="ctr" defTabSz="457200">
                  <a:buClr>
                    <a:srgbClr val="000000"/>
                  </a:buClr>
                </a:pPr>
                <a:endParaRPr lang="en-US" kern="0">
                  <a:solidFill>
                    <a:srgbClr val="7F7F7F"/>
                  </a:solidFill>
                  <a:latin typeface="Lato Light"/>
                  <a:ea typeface="Lato Light"/>
                  <a:cs typeface="Lato Light"/>
                  <a:sym typeface="Lato Light"/>
                </a:endParaRPr>
              </a:p>
            </p:txBody>
          </p:sp>
          <p:sp>
            <p:nvSpPr>
              <p:cNvPr id="34" name="Google Shape;358;p9">
                <a:extLst>
                  <a:ext uri="{FF2B5EF4-FFF2-40B4-BE49-F238E27FC236}">
                    <a16:creationId xmlns:a16="http://schemas.microsoft.com/office/drawing/2014/main" id="{F3334CBA-32D7-5E84-DF70-88DB68BBA867}"/>
                  </a:ext>
                </a:extLst>
              </p:cNvPr>
              <p:cNvSpPr/>
              <p:nvPr/>
            </p:nvSpPr>
            <p:spPr>
              <a:xfrm rot="10800000">
                <a:off x="8506582" y="1923992"/>
                <a:ext cx="1178060" cy="1191441"/>
              </a:xfrm>
              <a:prstGeom prst="halfFrame">
                <a:avLst>
                  <a:gd name="adj1" fmla="val 10277"/>
                  <a:gd name="adj2" fmla="val 10936"/>
                </a:avLst>
              </a:prstGeom>
              <a:solidFill>
                <a:schemeClr val="accent5"/>
              </a:solidFill>
              <a:ln>
                <a:noFill/>
              </a:ln>
            </p:spPr>
            <p:txBody>
              <a:bodyPr spcFirstLastPara="1" wrap="square" lIns="45713" tIns="22850" rIns="45713" bIns="22850" anchor="ctr" anchorCtr="0">
                <a:noAutofit/>
              </a:bodyPr>
              <a:lstStyle/>
              <a:p>
                <a:pPr algn="ctr" defTabSz="457200">
                  <a:buClr>
                    <a:srgbClr val="000000"/>
                  </a:buClr>
                </a:pPr>
                <a:endParaRPr lang="en-US" kern="0">
                  <a:solidFill>
                    <a:srgbClr val="7F7F7F"/>
                  </a:solidFill>
                  <a:latin typeface="Lato Light"/>
                  <a:ea typeface="Lato Light"/>
                  <a:cs typeface="Lato Light"/>
                  <a:sym typeface="Lato Light"/>
                </a:endParaRPr>
              </a:p>
            </p:txBody>
          </p:sp>
          <p:pic>
            <p:nvPicPr>
              <p:cNvPr id="91" name="Image 90" descr="Une image contenant Police, symbole, cercle, Graphique&#10;&#10;Description générée automatiquement">
                <a:extLst>
                  <a:ext uri="{FF2B5EF4-FFF2-40B4-BE49-F238E27FC236}">
                    <a16:creationId xmlns:a16="http://schemas.microsoft.com/office/drawing/2014/main" id="{0FAF2B25-7581-90DE-DE67-64A26F15686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84643" y="2220698"/>
                <a:ext cx="540000" cy="540000"/>
              </a:xfrm>
              <a:prstGeom prst="rect">
                <a:avLst/>
              </a:prstGeom>
            </p:spPr>
          </p:pic>
        </p:grpSp>
      </p:grpSp>
      <p:sp>
        <p:nvSpPr>
          <p:cNvPr id="10" name="Rectangle 9">
            <a:extLst>
              <a:ext uri="{FF2B5EF4-FFF2-40B4-BE49-F238E27FC236}">
                <a16:creationId xmlns:a16="http://schemas.microsoft.com/office/drawing/2014/main" id="{C6403DA7-FB39-E92F-E64B-1118C50716A7}"/>
              </a:ext>
            </a:extLst>
          </p:cNvPr>
          <p:cNvSpPr/>
          <p:nvPr/>
        </p:nvSpPr>
        <p:spPr>
          <a:xfrm>
            <a:off x="2039037" y="6472853"/>
            <a:ext cx="7333563" cy="289147"/>
          </a:xfrm>
          <a:prstGeom prst="rect">
            <a:avLst/>
          </a:prstGeom>
          <a:solidFill>
            <a:schemeClr val="bg2">
              <a:lumMod val="50000"/>
            </a:schemeClr>
          </a:solidFill>
          <a:ln w="6350">
            <a:no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a:t>DELI-GEN-PRE-DAPG-003-A1 Data Program - End user introduction </a:t>
            </a:r>
            <a:endParaRPr lang="en-US"/>
          </a:p>
        </p:txBody>
      </p:sp>
      <p:sp>
        <p:nvSpPr>
          <p:cNvPr id="11" name="Rectangle 10">
            <a:extLst>
              <a:ext uri="{FF2B5EF4-FFF2-40B4-BE49-F238E27FC236}">
                <a16:creationId xmlns:a16="http://schemas.microsoft.com/office/drawing/2014/main" id="{31667AA5-97D0-3B8A-2F5D-FD055CDB05E7}"/>
              </a:ext>
            </a:extLst>
          </p:cNvPr>
          <p:cNvSpPr/>
          <p:nvPr/>
        </p:nvSpPr>
        <p:spPr>
          <a:xfrm rot="2670168">
            <a:off x="10389050" y="356879"/>
            <a:ext cx="2244345" cy="528930"/>
          </a:xfrm>
          <a:prstGeom prst="rect">
            <a:avLst/>
          </a:prstGeom>
          <a:solidFill>
            <a:schemeClr val="bg2">
              <a:lumMod val="50000"/>
            </a:schemeClr>
          </a:solidFill>
          <a:ln w="6350">
            <a:no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err="1"/>
              <a:t>From</a:t>
            </a:r>
            <a:r>
              <a:rPr lang="fr-FR"/>
              <a:t> </a:t>
            </a:r>
            <a:r>
              <a:rPr lang="fr-FR" err="1"/>
              <a:t>deliverables</a:t>
            </a:r>
            <a:r>
              <a:rPr lang="fr-FR"/>
              <a:t> </a:t>
            </a:r>
            <a:endParaRPr lang="en-US"/>
          </a:p>
        </p:txBody>
      </p:sp>
    </p:spTree>
    <p:extLst>
      <p:ext uri="{BB962C8B-B14F-4D97-AF65-F5344CB8AC3E}">
        <p14:creationId xmlns:p14="http://schemas.microsoft.com/office/powerpoint/2010/main" val="187400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68B8A1B-9B47-10B7-A1D0-99A9C6252095}"/>
              </a:ext>
            </a:extLst>
          </p:cNvPr>
          <p:cNvSpPr>
            <a:spLocks noGrp="1"/>
          </p:cNvSpPr>
          <p:nvPr>
            <p:ph type="title"/>
          </p:nvPr>
        </p:nvSpPr>
        <p:spPr/>
        <p:txBody>
          <a:bodyPr/>
          <a:lstStyle/>
          <a:p>
            <a:r>
              <a:rPr lang="en-US" sz="5400"/>
              <a:t>People</a:t>
            </a:r>
          </a:p>
        </p:txBody>
      </p:sp>
      <p:sp>
        <p:nvSpPr>
          <p:cNvPr id="4" name="Espace réservé du texte 3">
            <a:extLst>
              <a:ext uri="{FF2B5EF4-FFF2-40B4-BE49-F238E27FC236}">
                <a16:creationId xmlns:a16="http://schemas.microsoft.com/office/drawing/2014/main" id="{588F59EA-2FE5-916E-73C0-3F0F9135D828}"/>
              </a:ext>
            </a:extLst>
          </p:cNvPr>
          <p:cNvSpPr>
            <a:spLocks noGrp="1"/>
          </p:cNvSpPr>
          <p:nvPr>
            <p:ph type="body" sz="quarter" idx="10"/>
          </p:nvPr>
        </p:nvSpPr>
        <p:spPr/>
        <p:txBody>
          <a:bodyPr/>
          <a:lstStyle/>
          <a:p>
            <a:endParaRPr lang="fr-FR"/>
          </a:p>
        </p:txBody>
      </p:sp>
      <p:sp>
        <p:nvSpPr>
          <p:cNvPr id="3" name="Espace réservé du texte 2">
            <a:extLst>
              <a:ext uri="{FF2B5EF4-FFF2-40B4-BE49-F238E27FC236}">
                <a16:creationId xmlns:a16="http://schemas.microsoft.com/office/drawing/2014/main" id="{9677BF05-6AFC-C0F0-BDE2-7DC3CC37D8BB}"/>
              </a:ext>
            </a:extLst>
          </p:cNvPr>
          <p:cNvSpPr>
            <a:spLocks noGrp="1"/>
          </p:cNvSpPr>
          <p:nvPr>
            <p:ph type="body" sz="quarter" idx="11"/>
          </p:nvPr>
        </p:nvSpPr>
        <p:spPr/>
        <p:txBody>
          <a:bodyPr/>
          <a:lstStyle/>
          <a:p>
            <a:r>
              <a:rPr lang="fr-FR"/>
              <a:t>2</a:t>
            </a:r>
          </a:p>
        </p:txBody>
      </p:sp>
    </p:spTree>
    <p:extLst>
      <p:ext uri="{BB962C8B-B14F-4D97-AF65-F5344CB8AC3E}">
        <p14:creationId xmlns:p14="http://schemas.microsoft.com/office/powerpoint/2010/main" val="604372831"/>
      </p:ext>
    </p:extLst>
  </p:cSld>
  <p:clrMapOvr>
    <a:masterClrMapping/>
  </p:clrMapOvr>
  <p:transition spd="slow">
    <p:cove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 coins arrondis 11">
            <a:extLst>
              <a:ext uri="{FF2B5EF4-FFF2-40B4-BE49-F238E27FC236}">
                <a16:creationId xmlns:a16="http://schemas.microsoft.com/office/drawing/2014/main" id="{1A71825A-77E7-3380-EACF-A97E1DCD2395}"/>
              </a:ext>
            </a:extLst>
          </p:cNvPr>
          <p:cNvSpPr/>
          <p:nvPr/>
        </p:nvSpPr>
        <p:spPr>
          <a:xfrm>
            <a:off x="340967" y="3832094"/>
            <a:ext cx="11510066" cy="2359286"/>
          </a:xfrm>
          <a:prstGeom prst="roundRect">
            <a:avLst/>
          </a:prstGeom>
          <a:solidFill>
            <a:schemeClr val="bg1"/>
          </a:solidFill>
          <a:ln w="6350">
            <a:solidFill>
              <a:schemeClr val="accent6"/>
            </a:solid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p>
        </p:txBody>
      </p:sp>
      <p:sp>
        <p:nvSpPr>
          <p:cNvPr id="11" name="Rectangle : coins arrondis 10">
            <a:extLst>
              <a:ext uri="{FF2B5EF4-FFF2-40B4-BE49-F238E27FC236}">
                <a16:creationId xmlns:a16="http://schemas.microsoft.com/office/drawing/2014/main" id="{1F8BBBEE-0260-9678-BD55-1065D179F135}"/>
              </a:ext>
            </a:extLst>
          </p:cNvPr>
          <p:cNvSpPr/>
          <p:nvPr/>
        </p:nvSpPr>
        <p:spPr>
          <a:xfrm>
            <a:off x="340966" y="1718213"/>
            <a:ext cx="11472862" cy="1953071"/>
          </a:xfrm>
          <a:prstGeom prst="roundRect">
            <a:avLst/>
          </a:prstGeom>
          <a:solidFill>
            <a:schemeClr val="bg1"/>
          </a:solidFill>
          <a:ln w="6350">
            <a:solidFill>
              <a:schemeClr val="accent6"/>
            </a:solid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p>
        </p:txBody>
      </p:sp>
      <p:sp>
        <p:nvSpPr>
          <p:cNvPr id="46" name="ZoneTexte 45">
            <a:extLst>
              <a:ext uri="{FF2B5EF4-FFF2-40B4-BE49-F238E27FC236}">
                <a16:creationId xmlns:a16="http://schemas.microsoft.com/office/drawing/2014/main" id="{08A2CC80-6C8B-2048-42B6-74CB4B9D0DF3}"/>
              </a:ext>
            </a:extLst>
          </p:cNvPr>
          <p:cNvSpPr txBox="1"/>
          <p:nvPr/>
        </p:nvSpPr>
        <p:spPr>
          <a:xfrm>
            <a:off x="3807250" y="1893186"/>
            <a:ext cx="2123481" cy="815608"/>
          </a:xfrm>
          <a:prstGeom prst="rect">
            <a:avLst/>
          </a:prstGeom>
          <a:noFill/>
        </p:spPr>
        <p:txBody>
          <a:bodyPr wrap="square" rtlCol="0">
            <a:spAutoFit/>
          </a:bodyPr>
          <a:lstStyle/>
          <a:p>
            <a:pPr algn="ctr">
              <a:spcBef>
                <a:spcPts val="600"/>
              </a:spcBef>
            </a:pPr>
            <a:r>
              <a:rPr lang="en-US" b="1">
                <a:latin typeface="+mn-lt"/>
              </a:rPr>
              <a:t>DATA PRODUCERS</a:t>
            </a:r>
          </a:p>
          <a:p>
            <a:pPr algn="ctr">
              <a:spcBef>
                <a:spcPts val="600"/>
              </a:spcBef>
            </a:pPr>
            <a:r>
              <a:rPr lang="en-US" sz="1200">
                <a:latin typeface="+mn-lt"/>
              </a:rPr>
              <a:t>Create and maintain data products over their lifecycle</a:t>
            </a:r>
          </a:p>
        </p:txBody>
      </p:sp>
      <p:sp>
        <p:nvSpPr>
          <p:cNvPr id="2" name="Titre 1">
            <a:extLst>
              <a:ext uri="{FF2B5EF4-FFF2-40B4-BE49-F238E27FC236}">
                <a16:creationId xmlns:a16="http://schemas.microsoft.com/office/drawing/2014/main" id="{F265A354-ACE9-D1D2-2547-18336E6EE4E8}"/>
              </a:ext>
            </a:extLst>
          </p:cNvPr>
          <p:cNvSpPr>
            <a:spLocks noGrp="1"/>
          </p:cNvSpPr>
          <p:nvPr>
            <p:ph type="title"/>
          </p:nvPr>
        </p:nvSpPr>
        <p:spPr>
          <a:xfrm>
            <a:off x="576000" y="105625"/>
            <a:ext cx="11040000" cy="816000"/>
          </a:xfrm>
        </p:spPr>
        <p:txBody>
          <a:bodyPr anchor="ctr"/>
          <a:lstStyle/>
          <a:p>
            <a:r>
              <a:rPr lang="en-US"/>
              <a:t>People overview</a:t>
            </a:r>
          </a:p>
        </p:txBody>
      </p:sp>
      <p:sp>
        <p:nvSpPr>
          <p:cNvPr id="3" name="Espace réservé du texte 2">
            <a:extLst>
              <a:ext uri="{FF2B5EF4-FFF2-40B4-BE49-F238E27FC236}">
                <a16:creationId xmlns:a16="http://schemas.microsoft.com/office/drawing/2014/main" id="{BDB02E79-C696-30C5-37A6-17222FA51366}"/>
              </a:ext>
            </a:extLst>
          </p:cNvPr>
          <p:cNvSpPr>
            <a:spLocks noGrp="1"/>
          </p:cNvSpPr>
          <p:nvPr>
            <p:ph type="body" idx="1"/>
          </p:nvPr>
        </p:nvSpPr>
        <p:spPr>
          <a:xfrm>
            <a:off x="576000" y="920309"/>
            <a:ext cx="11040000" cy="672000"/>
          </a:xfrm>
        </p:spPr>
        <p:txBody>
          <a:bodyPr/>
          <a:lstStyle/>
          <a:p>
            <a:r>
              <a:rPr lang="en-US"/>
              <a:t>Data governance involves many stakeholders with different roles</a:t>
            </a:r>
          </a:p>
        </p:txBody>
      </p:sp>
      <p:sp>
        <p:nvSpPr>
          <p:cNvPr id="5" name="Ellipse 4">
            <a:extLst>
              <a:ext uri="{FF2B5EF4-FFF2-40B4-BE49-F238E27FC236}">
                <a16:creationId xmlns:a16="http://schemas.microsoft.com/office/drawing/2014/main" id="{87106104-C513-2667-E02C-51BD1DF4136C}"/>
              </a:ext>
            </a:extLst>
          </p:cNvPr>
          <p:cNvSpPr/>
          <p:nvPr/>
        </p:nvSpPr>
        <p:spPr>
          <a:xfrm>
            <a:off x="4767901" y="3916932"/>
            <a:ext cx="2196000" cy="2196000"/>
          </a:xfrm>
          <a:prstGeom prst="ellipse">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prstClr val="white"/>
              </a:solidFill>
            </a:endParaRPr>
          </a:p>
        </p:txBody>
      </p:sp>
      <p:sp>
        <p:nvSpPr>
          <p:cNvPr id="6" name="Arc partiel 5">
            <a:extLst>
              <a:ext uri="{FF2B5EF4-FFF2-40B4-BE49-F238E27FC236}">
                <a16:creationId xmlns:a16="http://schemas.microsoft.com/office/drawing/2014/main" id="{E5A9ADAD-1ACB-AABD-CE0F-5280F4994FDB}"/>
              </a:ext>
            </a:extLst>
          </p:cNvPr>
          <p:cNvSpPr/>
          <p:nvPr/>
        </p:nvSpPr>
        <p:spPr>
          <a:xfrm>
            <a:off x="4940944" y="4095848"/>
            <a:ext cx="1859508" cy="1847258"/>
          </a:xfrm>
          <a:prstGeom prst="pie">
            <a:avLst>
              <a:gd name="adj1" fmla="val 0"/>
              <a:gd name="adj2" fmla="val 10807864"/>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prstClr val="white"/>
              </a:solidFill>
            </a:endParaRPr>
          </a:p>
        </p:txBody>
      </p:sp>
      <p:sp>
        <p:nvSpPr>
          <p:cNvPr id="7" name="Arc partiel 6">
            <a:extLst>
              <a:ext uri="{FF2B5EF4-FFF2-40B4-BE49-F238E27FC236}">
                <a16:creationId xmlns:a16="http://schemas.microsoft.com/office/drawing/2014/main" id="{E00B6340-E5FC-4362-FCE4-D509A6D46829}"/>
              </a:ext>
            </a:extLst>
          </p:cNvPr>
          <p:cNvSpPr/>
          <p:nvPr/>
        </p:nvSpPr>
        <p:spPr>
          <a:xfrm rot="10800000">
            <a:off x="4937794" y="4075077"/>
            <a:ext cx="1859507" cy="1914871"/>
          </a:xfrm>
          <a:prstGeom prst="pie">
            <a:avLst>
              <a:gd name="adj1" fmla="val 0"/>
              <a:gd name="adj2" fmla="val 10807864"/>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prstClr val="white"/>
              </a:solidFill>
            </a:endParaRPr>
          </a:p>
        </p:txBody>
      </p:sp>
      <p:grpSp>
        <p:nvGrpSpPr>
          <p:cNvPr id="8" name="Groupe 7">
            <a:extLst>
              <a:ext uri="{FF2B5EF4-FFF2-40B4-BE49-F238E27FC236}">
                <a16:creationId xmlns:a16="http://schemas.microsoft.com/office/drawing/2014/main" id="{E55B8D0B-14C1-ACD4-A104-0D319582D28B}"/>
              </a:ext>
            </a:extLst>
          </p:cNvPr>
          <p:cNvGrpSpPr/>
          <p:nvPr/>
        </p:nvGrpSpPr>
        <p:grpSpPr>
          <a:xfrm>
            <a:off x="2506948" y="4383990"/>
            <a:ext cx="1528503" cy="1080000"/>
            <a:chOff x="2442678" y="4122845"/>
            <a:chExt cx="1595244" cy="1116000"/>
          </a:xfrm>
        </p:grpSpPr>
        <p:sp>
          <p:nvSpPr>
            <p:cNvPr id="9" name="Ellipse 8">
              <a:extLst>
                <a:ext uri="{FF2B5EF4-FFF2-40B4-BE49-F238E27FC236}">
                  <a16:creationId xmlns:a16="http://schemas.microsoft.com/office/drawing/2014/main" id="{B15F4FE8-2B17-7314-7595-0E1A2CF066CF}"/>
                </a:ext>
              </a:extLst>
            </p:cNvPr>
            <p:cNvSpPr/>
            <p:nvPr/>
          </p:nvSpPr>
          <p:spPr>
            <a:xfrm>
              <a:off x="2693479" y="4122845"/>
              <a:ext cx="1116000" cy="1116000"/>
            </a:xfrm>
            <a:prstGeom prst="pentagon">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ZoneTexte 9">
              <a:extLst>
                <a:ext uri="{FF2B5EF4-FFF2-40B4-BE49-F238E27FC236}">
                  <a16:creationId xmlns:a16="http://schemas.microsoft.com/office/drawing/2014/main" id="{80F19EBC-918B-E16A-28AF-8467336B27BF}"/>
                </a:ext>
              </a:extLst>
            </p:cNvPr>
            <p:cNvSpPr txBox="1"/>
            <p:nvPr/>
          </p:nvSpPr>
          <p:spPr>
            <a:xfrm>
              <a:off x="2442678" y="4221592"/>
              <a:ext cx="1595244" cy="868108"/>
            </a:xfrm>
            <a:prstGeom prst="pentagon">
              <a:avLst/>
            </a:prstGeom>
            <a:noFill/>
          </p:spPr>
          <p:txBody>
            <a:bodyPr wrap="square" rtlCol="0" anchor="ctr">
              <a:spAutoFit/>
            </a:bodyPr>
            <a:lstStyle/>
            <a:p>
              <a:pPr algn="ctr">
                <a:spcBef>
                  <a:spcPts val="600"/>
                </a:spcBef>
              </a:pPr>
              <a:r>
                <a:rPr lang="en-US" sz="1200" b="1">
                  <a:latin typeface="+mn-lt"/>
                </a:rPr>
                <a:t>DATA PRODUCERS*</a:t>
              </a:r>
            </a:p>
          </p:txBody>
        </p:sp>
      </p:grpSp>
      <p:sp>
        <p:nvSpPr>
          <p:cNvPr id="13" name="ZoneTexte 12">
            <a:extLst>
              <a:ext uri="{FF2B5EF4-FFF2-40B4-BE49-F238E27FC236}">
                <a16:creationId xmlns:a16="http://schemas.microsoft.com/office/drawing/2014/main" id="{41E7CA0B-3833-3D48-D37C-640CAF854998}"/>
              </a:ext>
            </a:extLst>
          </p:cNvPr>
          <p:cNvSpPr txBox="1"/>
          <p:nvPr/>
        </p:nvSpPr>
        <p:spPr>
          <a:xfrm>
            <a:off x="5262126" y="4307180"/>
            <a:ext cx="1164329" cy="584775"/>
          </a:xfrm>
          <a:prstGeom prst="rect">
            <a:avLst/>
          </a:prstGeom>
          <a:noFill/>
        </p:spPr>
        <p:txBody>
          <a:bodyPr wrap="square" rtlCol="0">
            <a:spAutoFit/>
          </a:bodyPr>
          <a:lstStyle/>
          <a:p>
            <a:pPr algn="ctr">
              <a:spcBef>
                <a:spcPts val="600"/>
              </a:spcBef>
            </a:pPr>
            <a:r>
              <a:rPr lang="en-US" sz="1600" b="1">
                <a:latin typeface="+mn-lt"/>
              </a:rPr>
              <a:t>DATA OFFICE</a:t>
            </a:r>
          </a:p>
        </p:txBody>
      </p:sp>
      <p:sp>
        <p:nvSpPr>
          <p:cNvPr id="14" name="ZoneTexte 13">
            <a:extLst>
              <a:ext uri="{FF2B5EF4-FFF2-40B4-BE49-F238E27FC236}">
                <a16:creationId xmlns:a16="http://schemas.microsoft.com/office/drawing/2014/main" id="{3E6D4423-5E7F-2DA2-96F2-85F7204CA9A6}"/>
              </a:ext>
            </a:extLst>
          </p:cNvPr>
          <p:cNvSpPr txBox="1"/>
          <p:nvPr/>
        </p:nvSpPr>
        <p:spPr>
          <a:xfrm>
            <a:off x="5186243" y="5073478"/>
            <a:ext cx="1323628" cy="830997"/>
          </a:xfrm>
          <a:prstGeom prst="rect">
            <a:avLst/>
          </a:prstGeom>
          <a:noFill/>
        </p:spPr>
        <p:txBody>
          <a:bodyPr wrap="square" rtlCol="0">
            <a:spAutoFit/>
          </a:bodyPr>
          <a:lstStyle/>
          <a:p>
            <a:pPr algn="ctr">
              <a:spcBef>
                <a:spcPts val="600"/>
              </a:spcBef>
            </a:pPr>
            <a:r>
              <a:rPr lang="en-US" sz="1600" b="1">
                <a:latin typeface="+mn-lt"/>
              </a:rPr>
              <a:t>DATA PLATFORM TEAM</a:t>
            </a:r>
          </a:p>
        </p:txBody>
      </p:sp>
      <p:grpSp>
        <p:nvGrpSpPr>
          <p:cNvPr id="18" name="Groupe 17">
            <a:extLst>
              <a:ext uri="{FF2B5EF4-FFF2-40B4-BE49-F238E27FC236}">
                <a16:creationId xmlns:a16="http://schemas.microsoft.com/office/drawing/2014/main" id="{8BA16431-D849-0A49-F9C5-5F2A040A04E6}"/>
              </a:ext>
            </a:extLst>
          </p:cNvPr>
          <p:cNvGrpSpPr/>
          <p:nvPr/>
        </p:nvGrpSpPr>
        <p:grpSpPr>
          <a:xfrm>
            <a:off x="7380859" y="4487264"/>
            <a:ext cx="2196000" cy="1031700"/>
            <a:chOff x="7350077" y="4403774"/>
            <a:chExt cx="2375435" cy="1116000"/>
          </a:xfrm>
        </p:grpSpPr>
        <p:sp>
          <p:nvSpPr>
            <p:cNvPr id="19" name="Ellipse 18">
              <a:extLst>
                <a:ext uri="{FF2B5EF4-FFF2-40B4-BE49-F238E27FC236}">
                  <a16:creationId xmlns:a16="http://schemas.microsoft.com/office/drawing/2014/main" id="{10CB095A-A34E-1D7A-8D57-1D081BA779A7}"/>
                </a:ext>
              </a:extLst>
            </p:cNvPr>
            <p:cNvSpPr/>
            <p:nvPr/>
          </p:nvSpPr>
          <p:spPr>
            <a:xfrm>
              <a:off x="8005075" y="4403774"/>
              <a:ext cx="1116000" cy="1116000"/>
            </a:xfrm>
            <a:prstGeom prst="diamond">
              <a:avLst/>
            </a:prstGeom>
            <a:solidFill>
              <a:srgbClr val="86D5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ZoneTexte 19">
              <a:extLst>
                <a:ext uri="{FF2B5EF4-FFF2-40B4-BE49-F238E27FC236}">
                  <a16:creationId xmlns:a16="http://schemas.microsoft.com/office/drawing/2014/main" id="{C502406C-45CE-825C-05ED-7FA8740CDD2C}"/>
                </a:ext>
              </a:extLst>
            </p:cNvPr>
            <p:cNvSpPr txBox="1"/>
            <p:nvPr/>
          </p:nvSpPr>
          <p:spPr>
            <a:xfrm>
              <a:off x="7350077" y="4437042"/>
              <a:ext cx="2375435" cy="992013"/>
            </a:xfrm>
            <a:prstGeom prst="diamond">
              <a:avLst/>
            </a:prstGeom>
            <a:noFill/>
          </p:spPr>
          <p:txBody>
            <a:bodyPr wrap="square" rtlCol="0" anchor="ctr">
              <a:spAutoFit/>
            </a:bodyPr>
            <a:lstStyle/>
            <a:p>
              <a:pPr algn="ctr">
                <a:spcBef>
                  <a:spcPts val="600"/>
                </a:spcBef>
              </a:pPr>
              <a:r>
                <a:rPr lang="en-US" sz="1200" b="1">
                  <a:latin typeface="+mn-lt"/>
                </a:rPr>
                <a:t>DATA CONSUMERS</a:t>
              </a:r>
            </a:p>
          </p:txBody>
        </p:sp>
      </p:grpSp>
      <p:cxnSp>
        <p:nvCxnSpPr>
          <p:cNvPr id="22" name="Straight Arrow Connector 65">
            <a:extLst>
              <a:ext uri="{FF2B5EF4-FFF2-40B4-BE49-F238E27FC236}">
                <a16:creationId xmlns:a16="http://schemas.microsoft.com/office/drawing/2014/main" id="{A428FD0B-8103-0889-E70D-48088F2D6895}"/>
              </a:ext>
            </a:extLst>
          </p:cNvPr>
          <p:cNvCxnSpPr>
            <a:cxnSpLocks/>
            <a:endCxn id="5" idx="2"/>
          </p:cNvCxnSpPr>
          <p:nvPr/>
        </p:nvCxnSpPr>
        <p:spPr>
          <a:xfrm>
            <a:off x="3860718" y="5014932"/>
            <a:ext cx="907183" cy="0"/>
          </a:xfrm>
          <a:prstGeom prst="straightConnector1">
            <a:avLst/>
          </a:prstGeom>
          <a:ln w="12700">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65">
            <a:extLst>
              <a:ext uri="{FF2B5EF4-FFF2-40B4-BE49-F238E27FC236}">
                <a16:creationId xmlns:a16="http://schemas.microsoft.com/office/drawing/2014/main" id="{122EAD4D-3785-539C-521E-FEF631F9044E}"/>
              </a:ext>
            </a:extLst>
          </p:cNvPr>
          <p:cNvCxnSpPr>
            <a:cxnSpLocks/>
            <a:endCxn id="5" idx="6"/>
          </p:cNvCxnSpPr>
          <p:nvPr/>
        </p:nvCxnSpPr>
        <p:spPr>
          <a:xfrm flipH="1">
            <a:off x="6963901" y="5014932"/>
            <a:ext cx="945607" cy="0"/>
          </a:xfrm>
          <a:prstGeom prst="straightConnector1">
            <a:avLst/>
          </a:prstGeom>
          <a:ln w="12700">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5" name="ZoneTexte 24">
            <a:extLst>
              <a:ext uri="{FF2B5EF4-FFF2-40B4-BE49-F238E27FC236}">
                <a16:creationId xmlns:a16="http://schemas.microsoft.com/office/drawing/2014/main" id="{58E5FB0F-3588-CD0A-B543-730D447C5A5B}"/>
              </a:ext>
            </a:extLst>
          </p:cNvPr>
          <p:cNvSpPr txBox="1"/>
          <p:nvPr/>
        </p:nvSpPr>
        <p:spPr>
          <a:xfrm>
            <a:off x="611058" y="4790697"/>
            <a:ext cx="2139704" cy="461665"/>
          </a:xfrm>
          <a:prstGeom prst="rect">
            <a:avLst/>
          </a:prstGeom>
          <a:noFill/>
        </p:spPr>
        <p:txBody>
          <a:bodyPr wrap="square">
            <a:spAutoFit/>
          </a:bodyPr>
          <a:lstStyle/>
          <a:p>
            <a:r>
              <a:rPr lang="en-US" sz="1200">
                <a:latin typeface="+mn-lt"/>
              </a:rPr>
              <a:t>How can I share my data in a secured and governed way?</a:t>
            </a:r>
          </a:p>
        </p:txBody>
      </p:sp>
      <p:sp>
        <p:nvSpPr>
          <p:cNvPr id="26" name="ZoneTexte 25">
            <a:extLst>
              <a:ext uri="{FF2B5EF4-FFF2-40B4-BE49-F238E27FC236}">
                <a16:creationId xmlns:a16="http://schemas.microsoft.com/office/drawing/2014/main" id="{D2A3A0B2-B8CE-B960-E36F-CF80C8DD1EC1}"/>
              </a:ext>
            </a:extLst>
          </p:cNvPr>
          <p:cNvSpPr txBox="1"/>
          <p:nvPr/>
        </p:nvSpPr>
        <p:spPr>
          <a:xfrm>
            <a:off x="8993138" y="5298641"/>
            <a:ext cx="2622861" cy="461665"/>
          </a:xfrm>
          <a:prstGeom prst="rect">
            <a:avLst/>
          </a:prstGeom>
          <a:noFill/>
        </p:spPr>
        <p:txBody>
          <a:bodyPr wrap="square">
            <a:spAutoFit/>
          </a:bodyPr>
          <a:lstStyle/>
          <a:p>
            <a:r>
              <a:rPr lang="en-US" sz="1200">
                <a:latin typeface="+mn-lt"/>
              </a:rPr>
              <a:t>Can anyone help me find the data needed for my business use case?</a:t>
            </a:r>
          </a:p>
        </p:txBody>
      </p:sp>
      <p:sp>
        <p:nvSpPr>
          <p:cNvPr id="28" name="ZoneTexte 27">
            <a:extLst>
              <a:ext uri="{FF2B5EF4-FFF2-40B4-BE49-F238E27FC236}">
                <a16:creationId xmlns:a16="http://schemas.microsoft.com/office/drawing/2014/main" id="{03F4A9A2-252C-5E90-FF29-82D2AE9FE9B7}"/>
              </a:ext>
            </a:extLst>
          </p:cNvPr>
          <p:cNvSpPr txBox="1"/>
          <p:nvPr/>
        </p:nvSpPr>
        <p:spPr>
          <a:xfrm>
            <a:off x="9045072" y="4243694"/>
            <a:ext cx="2535870" cy="461665"/>
          </a:xfrm>
          <a:prstGeom prst="rect">
            <a:avLst/>
          </a:prstGeom>
          <a:noFill/>
        </p:spPr>
        <p:txBody>
          <a:bodyPr wrap="square">
            <a:spAutoFit/>
          </a:bodyPr>
          <a:lstStyle/>
          <a:p>
            <a:r>
              <a:rPr lang="en-US" sz="1200">
                <a:latin typeface="+mn-lt"/>
              </a:rPr>
              <a:t>We need access to this data product to cross-reference it with other data.</a:t>
            </a:r>
          </a:p>
        </p:txBody>
      </p:sp>
      <p:sp>
        <p:nvSpPr>
          <p:cNvPr id="29" name="ZoneTexte 28">
            <a:extLst>
              <a:ext uri="{FF2B5EF4-FFF2-40B4-BE49-F238E27FC236}">
                <a16:creationId xmlns:a16="http://schemas.microsoft.com/office/drawing/2014/main" id="{7ED2E58A-1EA4-DB9D-E699-45D67BB7ADE8}"/>
              </a:ext>
            </a:extLst>
          </p:cNvPr>
          <p:cNvSpPr txBox="1"/>
          <p:nvPr/>
        </p:nvSpPr>
        <p:spPr>
          <a:xfrm>
            <a:off x="1496211" y="5472347"/>
            <a:ext cx="2489300" cy="646331"/>
          </a:xfrm>
          <a:prstGeom prst="rect">
            <a:avLst/>
          </a:prstGeom>
          <a:noFill/>
        </p:spPr>
        <p:txBody>
          <a:bodyPr wrap="square">
            <a:spAutoFit/>
          </a:bodyPr>
          <a:lstStyle/>
          <a:p>
            <a:r>
              <a:rPr lang="en-US" sz="1200">
                <a:latin typeface="+mn-lt"/>
              </a:rPr>
              <a:t>We would like to create a new data product. What are the best practices for joining the Data Program?</a:t>
            </a:r>
          </a:p>
        </p:txBody>
      </p:sp>
      <p:sp>
        <p:nvSpPr>
          <p:cNvPr id="30" name="ZoneTexte 29">
            <a:extLst>
              <a:ext uri="{FF2B5EF4-FFF2-40B4-BE49-F238E27FC236}">
                <a16:creationId xmlns:a16="http://schemas.microsoft.com/office/drawing/2014/main" id="{04D37781-B8D4-F4E6-84DF-CFF949F18BF7}"/>
              </a:ext>
            </a:extLst>
          </p:cNvPr>
          <p:cNvSpPr txBox="1"/>
          <p:nvPr/>
        </p:nvSpPr>
        <p:spPr>
          <a:xfrm>
            <a:off x="952183" y="4063781"/>
            <a:ext cx="3109531" cy="461665"/>
          </a:xfrm>
          <a:prstGeom prst="rect">
            <a:avLst/>
          </a:prstGeom>
          <a:noFill/>
        </p:spPr>
        <p:txBody>
          <a:bodyPr wrap="square">
            <a:spAutoFit/>
          </a:bodyPr>
          <a:lstStyle/>
          <a:p>
            <a:r>
              <a:rPr lang="en-US" sz="1200">
                <a:latin typeface="+mn-lt"/>
              </a:rPr>
              <a:t>We are a small team, and we need a development team to build our Power BI Reports.</a:t>
            </a:r>
          </a:p>
        </p:txBody>
      </p:sp>
      <p:sp>
        <p:nvSpPr>
          <p:cNvPr id="31" name="TextBox 90">
            <a:extLst>
              <a:ext uri="{FF2B5EF4-FFF2-40B4-BE49-F238E27FC236}">
                <a16:creationId xmlns:a16="http://schemas.microsoft.com/office/drawing/2014/main" id="{9E570CE5-1746-2C27-5750-F77342A2A9E0}"/>
              </a:ext>
            </a:extLst>
          </p:cNvPr>
          <p:cNvSpPr txBox="1"/>
          <p:nvPr/>
        </p:nvSpPr>
        <p:spPr>
          <a:xfrm>
            <a:off x="4940251" y="4089880"/>
            <a:ext cx="1868832" cy="1914872"/>
          </a:xfrm>
          <a:prstGeom prst="rect">
            <a:avLst/>
          </a:prstGeom>
          <a:noFill/>
        </p:spPr>
        <p:txBody>
          <a:bodyPr wrap="square" lIns="0" tIns="0" rIns="0" bIns="0" rtlCol="0">
            <a:prstTxWarp prst="textArchUp">
              <a:avLst>
                <a:gd name="adj" fmla="val 12107632"/>
              </a:avLst>
            </a:prstTxWarp>
            <a:noAutofit/>
          </a:bodyPr>
          <a:lstStyle/>
          <a:p>
            <a:pPr algn="l" defTabSz="228600">
              <a:spcAft>
                <a:spcPts val="1200"/>
              </a:spcAft>
            </a:pPr>
            <a:r>
              <a:rPr lang="en-US" sz="1200" b="1">
                <a:latin typeface="+mn-lt"/>
              </a:rPr>
              <a:t>DATA MARKETPLACE - SELF-SERVCE DATA PLATFORM</a:t>
            </a:r>
          </a:p>
        </p:txBody>
      </p:sp>
      <p:sp>
        <p:nvSpPr>
          <p:cNvPr id="37" name="Ellipse 36">
            <a:extLst>
              <a:ext uri="{FF2B5EF4-FFF2-40B4-BE49-F238E27FC236}">
                <a16:creationId xmlns:a16="http://schemas.microsoft.com/office/drawing/2014/main" id="{A054DDB2-08A4-4E34-E7DD-3EEA66D93213}"/>
              </a:ext>
            </a:extLst>
          </p:cNvPr>
          <p:cNvSpPr/>
          <p:nvPr/>
        </p:nvSpPr>
        <p:spPr>
          <a:xfrm>
            <a:off x="5877263" y="1893186"/>
            <a:ext cx="526936" cy="526936"/>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8" name="Losange 37">
            <a:extLst>
              <a:ext uri="{FF2B5EF4-FFF2-40B4-BE49-F238E27FC236}">
                <a16:creationId xmlns:a16="http://schemas.microsoft.com/office/drawing/2014/main" id="{3AE92BB6-D8F0-D5BB-4069-58AAC541BE67}"/>
              </a:ext>
            </a:extLst>
          </p:cNvPr>
          <p:cNvSpPr/>
          <p:nvPr/>
        </p:nvSpPr>
        <p:spPr>
          <a:xfrm>
            <a:off x="631927" y="1893186"/>
            <a:ext cx="526936" cy="526936"/>
          </a:xfrm>
          <a:prstGeom prst="diamond">
            <a:avLst/>
          </a:prstGeom>
          <a:solidFill>
            <a:srgbClr val="86D5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5" name="Pentagone 44">
            <a:extLst>
              <a:ext uri="{FF2B5EF4-FFF2-40B4-BE49-F238E27FC236}">
                <a16:creationId xmlns:a16="http://schemas.microsoft.com/office/drawing/2014/main" id="{8F1607B4-FC3A-DDE4-1103-D7BF329EF164}"/>
              </a:ext>
            </a:extLst>
          </p:cNvPr>
          <p:cNvSpPr/>
          <p:nvPr/>
        </p:nvSpPr>
        <p:spPr>
          <a:xfrm>
            <a:off x="3333782" y="1893186"/>
            <a:ext cx="526936" cy="526936"/>
          </a:xfrm>
          <a:prstGeom prst="pentagon">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0" name="ZoneTexte 39">
            <a:extLst>
              <a:ext uri="{FF2B5EF4-FFF2-40B4-BE49-F238E27FC236}">
                <a16:creationId xmlns:a16="http://schemas.microsoft.com/office/drawing/2014/main" id="{D0744806-E675-4341-83D9-60C85D550695}"/>
              </a:ext>
            </a:extLst>
          </p:cNvPr>
          <p:cNvSpPr txBox="1"/>
          <p:nvPr/>
        </p:nvSpPr>
        <p:spPr>
          <a:xfrm>
            <a:off x="6350731" y="1893186"/>
            <a:ext cx="2281854" cy="1708160"/>
          </a:xfrm>
          <a:prstGeom prst="rect">
            <a:avLst/>
          </a:prstGeom>
          <a:noFill/>
        </p:spPr>
        <p:txBody>
          <a:bodyPr wrap="square" rtlCol="0">
            <a:spAutoFit/>
          </a:bodyPr>
          <a:lstStyle/>
          <a:p>
            <a:pPr algn="ctr"/>
            <a:r>
              <a:rPr lang="en-US" b="1">
                <a:latin typeface="+mn-lt"/>
              </a:rPr>
              <a:t>DATA OFFICE </a:t>
            </a:r>
          </a:p>
          <a:p>
            <a:pPr algn="ctr">
              <a:spcBef>
                <a:spcPts val="600"/>
              </a:spcBef>
            </a:pPr>
            <a:r>
              <a:rPr lang="en-US" sz="1200">
                <a:latin typeface="+mn-lt"/>
              </a:rPr>
              <a:t>Defines and administers data governance policies</a:t>
            </a:r>
          </a:p>
          <a:p>
            <a:pPr algn="ctr">
              <a:spcBef>
                <a:spcPts val="600"/>
              </a:spcBef>
            </a:pPr>
            <a:r>
              <a:rPr lang="en-US" sz="1200">
                <a:latin typeface="+mn-lt"/>
              </a:rPr>
              <a:t>Promote data culture within the organization</a:t>
            </a:r>
          </a:p>
          <a:p>
            <a:pPr algn="ctr">
              <a:spcBef>
                <a:spcPts val="600"/>
              </a:spcBef>
            </a:pPr>
            <a:r>
              <a:rPr lang="en-US" sz="1200">
                <a:latin typeface="+mn-lt"/>
              </a:rPr>
              <a:t>Support domain teams in the creation of their data products</a:t>
            </a:r>
          </a:p>
        </p:txBody>
      </p:sp>
      <p:sp>
        <p:nvSpPr>
          <p:cNvPr id="41" name="ZoneTexte 40">
            <a:extLst>
              <a:ext uri="{FF2B5EF4-FFF2-40B4-BE49-F238E27FC236}">
                <a16:creationId xmlns:a16="http://schemas.microsoft.com/office/drawing/2014/main" id="{99D9C474-66AB-0821-1114-3211FD084433}"/>
              </a:ext>
            </a:extLst>
          </p:cNvPr>
          <p:cNvSpPr txBox="1"/>
          <p:nvPr/>
        </p:nvSpPr>
        <p:spPr>
          <a:xfrm>
            <a:off x="1105395" y="1893186"/>
            <a:ext cx="2281855" cy="1261884"/>
          </a:xfrm>
          <a:prstGeom prst="rect">
            <a:avLst/>
          </a:prstGeom>
          <a:noFill/>
        </p:spPr>
        <p:txBody>
          <a:bodyPr wrap="square" rtlCol="0">
            <a:spAutoFit/>
          </a:bodyPr>
          <a:lstStyle/>
          <a:p>
            <a:pPr algn="ctr">
              <a:spcBef>
                <a:spcPts val="600"/>
              </a:spcBef>
            </a:pPr>
            <a:r>
              <a:rPr lang="en-US" b="1">
                <a:latin typeface="+mn-lt"/>
              </a:rPr>
              <a:t>DATA CONSUMERS</a:t>
            </a:r>
          </a:p>
          <a:p>
            <a:pPr algn="ctr">
              <a:spcBef>
                <a:spcPts val="600"/>
              </a:spcBef>
            </a:pPr>
            <a:r>
              <a:rPr lang="en-US" sz="1200">
                <a:latin typeface="+mn-lt"/>
              </a:rPr>
              <a:t>Discover data products and use them</a:t>
            </a:r>
          </a:p>
          <a:p>
            <a:pPr algn="ctr">
              <a:spcBef>
                <a:spcPts val="600"/>
              </a:spcBef>
            </a:pPr>
            <a:r>
              <a:rPr lang="en-US" sz="1200">
                <a:latin typeface="+mn-lt"/>
              </a:rPr>
              <a:t>Might consume data products to create new ones</a:t>
            </a:r>
          </a:p>
        </p:txBody>
      </p:sp>
      <p:sp>
        <p:nvSpPr>
          <p:cNvPr id="43" name="Rectangle 42">
            <a:extLst>
              <a:ext uri="{FF2B5EF4-FFF2-40B4-BE49-F238E27FC236}">
                <a16:creationId xmlns:a16="http://schemas.microsoft.com/office/drawing/2014/main" id="{72857E92-8BFC-33FC-9CF5-2108CB43E54F}"/>
              </a:ext>
            </a:extLst>
          </p:cNvPr>
          <p:cNvSpPr/>
          <p:nvPr/>
        </p:nvSpPr>
        <p:spPr>
          <a:xfrm>
            <a:off x="8579117" y="1893186"/>
            <a:ext cx="532123" cy="532123"/>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4" name="ZoneTexte 43">
            <a:extLst>
              <a:ext uri="{FF2B5EF4-FFF2-40B4-BE49-F238E27FC236}">
                <a16:creationId xmlns:a16="http://schemas.microsoft.com/office/drawing/2014/main" id="{BB7609BE-EF36-F4CB-6C8A-2C15DE5BA637}"/>
              </a:ext>
            </a:extLst>
          </p:cNvPr>
          <p:cNvSpPr txBox="1"/>
          <p:nvPr/>
        </p:nvSpPr>
        <p:spPr>
          <a:xfrm>
            <a:off x="9057775" y="1893186"/>
            <a:ext cx="2281853" cy="923330"/>
          </a:xfrm>
          <a:prstGeom prst="rect">
            <a:avLst/>
          </a:prstGeom>
          <a:noFill/>
        </p:spPr>
        <p:txBody>
          <a:bodyPr wrap="square" lIns="91440" tIns="45720" rIns="91440" bIns="45720" rtlCol="0" anchor="t">
            <a:spAutoFit/>
          </a:bodyPr>
          <a:lstStyle/>
          <a:p>
            <a:pPr algn="ctr"/>
            <a:r>
              <a:rPr lang="en-US" b="1">
                <a:latin typeface="+mn-lt"/>
              </a:rPr>
              <a:t>DATA PLATFORM TEAM </a:t>
            </a:r>
            <a:br>
              <a:rPr lang="en-US" sz="1400">
                <a:latin typeface="+mn-lt"/>
              </a:rPr>
            </a:br>
            <a:r>
              <a:rPr lang="en-US" sz="1200">
                <a:latin typeface="+mn-lt"/>
              </a:rPr>
              <a:t>Provides data governance platform, technical starter kit and best practices</a:t>
            </a:r>
            <a:endParaRPr lang="en-US" sz="1400">
              <a:latin typeface="+mn-lt"/>
            </a:endParaRPr>
          </a:p>
        </p:txBody>
      </p:sp>
      <p:sp>
        <p:nvSpPr>
          <p:cNvPr id="27" name="ZoneTexte 26">
            <a:extLst>
              <a:ext uri="{FF2B5EF4-FFF2-40B4-BE49-F238E27FC236}">
                <a16:creationId xmlns:a16="http://schemas.microsoft.com/office/drawing/2014/main" id="{6129F998-2328-14C0-03F7-5DECA950C573}"/>
              </a:ext>
            </a:extLst>
          </p:cNvPr>
          <p:cNvSpPr txBox="1"/>
          <p:nvPr/>
        </p:nvSpPr>
        <p:spPr>
          <a:xfrm>
            <a:off x="10970614" y="3245657"/>
            <a:ext cx="776175" cy="461665"/>
          </a:xfrm>
          <a:prstGeom prst="rect">
            <a:avLst/>
          </a:prstGeom>
          <a:noFill/>
        </p:spPr>
        <p:txBody>
          <a:bodyPr wrap="none" rtlCol="0">
            <a:spAutoFit/>
          </a:bodyPr>
          <a:lstStyle/>
          <a:p>
            <a:r>
              <a:rPr lang="en-US" sz="2400" i="1">
                <a:solidFill>
                  <a:schemeClr val="bg1">
                    <a:lumMod val="50000"/>
                  </a:schemeClr>
                </a:solidFill>
                <a:latin typeface="+mn-lt"/>
              </a:rPr>
              <a:t>Roles</a:t>
            </a:r>
          </a:p>
        </p:txBody>
      </p:sp>
      <p:sp>
        <p:nvSpPr>
          <p:cNvPr id="32" name="ZoneTexte 31">
            <a:extLst>
              <a:ext uri="{FF2B5EF4-FFF2-40B4-BE49-F238E27FC236}">
                <a16:creationId xmlns:a16="http://schemas.microsoft.com/office/drawing/2014/main" id="{2548369D-0314-72B2-C7B1-BCBC9EB29D37}"/>
              </a:ext>
            </a:extLst>
          </p:cNvPr>
          <p:cNvSpPr txBox="1"/>
          <p:nvPr/>
        </p:nvSpPr>
        <p:spPr>
          <a:xfrm>
            <a:off x="10268498" y="5759116"/>
            <a:ext cx="1505540" cy="461665"/>
          </a:xfrm>
          <a:prstGeom prst="rect">
            <a:avLst/>
          </a:prstGeom>
          <a:noFill/>
        </p:spPr>
        <p:txBody>
          <a:bodyPr wrap="none" rtlCol="0">
            <a:spAutoFit/>
          </a:bodyPr>
          <a:lstStyle/>
          <a:p>
            <a:r>
              <a:rPr lang="en-US" sz="2400" i="1">
                <a:solidFill>
                  <a:schemeClr val="bg1">
                    <a:lumMod val="50000"/>
                  </a:schemeClr>
                </a:solidFill>
                <a:latin typeface="+mn-lt"/>
              </a:rPr>
              <a:t>Interactions</a:t>
            </a:r>
          </a:p>
        </p:txBody>
      </p:sp>
    </p:spTree>
    <p:extLst>
      <p:ext uri="{BB962C8B-B14F-4D97-AF65-F5344CB8AC3E}">
        <p14:creationId xmlns:p14="http://schemas.microsoft.com/office/powerpoint/2010/main" val="929130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 coins arrondis 65">
            <a:extLst>
              <a:ext uri="{FF2B5EF4-FFF2-40B4-BE49-F238E27FC236}">
                <a16:creationId xmlns:a16="http://schemas.microsoft.com/office/drawing/2014/main" id="{DB256307-369B-4716-1C11-E664A2545BAD}"/>
              </a:ext>
            </a:extLst>
          </p:cNvPr>
          <p:cNvSpPr/>
          <p:nvPr/>
        </p:nvSpPr>
        <p:spPr>
          <a:xfrm>
            <a:off x="2206963" y="3391292"/>
            <a:ext cx="1581640" cy="1879447"/>
          </a:xfrm>
          <a:prstGeom prst="roundRect">
            <a:avLst/>
          </a:prstGeom>
          <a:solidFill>
            <a:schemeClr val="bg1"/>
          </a:solidFill>
          <a:ln w="6350">
            <a:solidFill>
              <a:schemeClr val="accent6"/>
            </a:solidFill>
          </a:ln>
          <a:effectLst>
            <a:outerShdw blurRad="635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fr-FR"/>
          </a:p>
        </p:txBody>
      </p:sp>
      <p:sp>
        <p:nvSpPr>
          <p:cNvPr id="2" name="Titre 1">
            <a:extLst>
              <a:ext uri="{FF2B5EF4-FFF2-40B4-BE49-F238E27FC236}">
                <a16:creationId xmlns:a16="http://schemas.microsoft.com/office/drawing/2014/main" id="{B70BDD3F-FF50-0A77-28D7-C2A87C30D271}"/>
              </a:ext>
            </a:extLst>
          </p:cNvPr>
          <p:cNvSpPr>
            <a:spLocks noGrp="1"/>
          </p:cNvSpPr>
          <p:nvPr>
            <p:ph type="title"/>
          </p:nvPr>
        </p:nvSpPr>
        <p:spPr/>
        <p:txBody>
          <a:bodyPr anchor="ctr"/>
          <a:lstStyle/>
          <a:p>
            <a:r>
              <a:rPr lang="en-US" sz="3200"/>
              <a:t>Data consumers overview</a:t>
            </a:r>
            <a:endParaRPr lang="fr-FR"/>
          </a:p>
        </p:txBody>
      </p:sp>
      <p:sp>
        <p:nvSpPr>
          <p:cNvPr id="3" name="Espace réservé du texte 2">
            <a:extLst>
              <a:ext uri="{FF2B5EF4-FFF2-40B4-BE49-F238E27FC236}">
                <a16:creationId xmlns:a16="http://schemas.microsoft.com/office/drawing/2014/main" id="{DD495F75-04B3-A68C-9AFC-D67F63FD616F}"/>
              </a:ext>
            </a:extLst>
          </p:cNvPr>
          <p:cNvSpPr>
            <a:spLocks noGrp="1"/>
          </p:cNvSpPr>
          <p:nvPr>
            <p:ph type="body" idx="1"/>
          </p:nvPr>
        </p:nvSpPr>
        <p:spPr/>
        <p:txBody>
          <a:bodyPr/>
          <a:lstStyle/>
          <a:p>
            <a:r>
              <a:rPr lang="en-US" sz="2800"/>
              <a:t>The data consumers are the “customers” for a data product. They use, reuse and customize reports or AI models for their specific needs.</a:t>
            </a:r>
            <a:endParaRPr lang="fr-FR"/>
          </a:p>
        </p:txBody>
      </p:sp>
      <p:sp>
        <p:nvSpPr>
          <p:cNvPr id="5" name="Espace réservé du pied de page 4">
            <a:extLst>
              <a:ext uri="{FF2B5EF4-FFF2-40B4-BE49-F238E27FC236}">
                <a16:creationId xmlns:a16="http://schemas.microsoft.com/office/drawing/2014/main" id="{5445656F-522B-BF5A-4AB5-3E8C1BCEB430}"/>
              </a:ext>
            </a:extLst>
          </p:cNvPr>
          <p:cNvSpPr>
            <a:spLocks noGrp="1"/>
          </p:cNvSpPr>
          <p:nvPr>
            <p:ph type="ftr" sz="quarter" idx="10"/>
          </p:nvPr>
        </p:nvSpPr>
        <p:spPr/>
        <p:txBody>
          <a:bodyPr/>
          <a:lstStyle/>
          <a:p>
            <a:endParaRPr lang="fr-FR">
              <a:latin typeface="+mn-lt"/>
            </a:endParaRPr>
          </a:p>
        </p:txBody>
      </p:sp>
      <p:grpSp>
        <p:nvGrpSpPr>
          <p:cNvPr id="7" name="Groupe 6">
            <a:extLst>
              <a:ext uri="{FF2B5EF4-FFF2-40B4-BE49-F238E27FC236}">
                <a16:creationId xmlns:a16="http://schemas.microsoft.com/office/drawing/2014/main" id="{D7FEADB9-39C7-CB21-D254-9AC2DA610264}"/>
              </a:ext>
            </a:extLst>
          </p:cNvPr>
          <p:cNvGrpSpPr/>
          <p:nvPr/>
        </p:nvGrpSpPr>
        <p:grpSpPr>
          <a:xfrm>
            <a:off x="10047111" y="3507905"/>
            <a:ext cx="1548000" cy="1594510"/>
            <a:chOff x="7206055" y="3722651"/>
            <a:chExt cx="1548000" cy="1594510"/>
          </a:xfrm>
        </p:grpSpPr>
        <p:sp>
          <p:nvSpPr>
            <p:cNvPr id="8" name="ZoneTexte 7">
              <a:extLst>
                <a:ext uri="{FF2B5EF4-FFF2-40B4-BE49-F238E27FC236}">
                  <a16:creationId xmlns:a16="http://schemas.microsoft.com/office/drawing/2014/main" id="{C4490444-CAFC-D574-B534-90EBEDBBC062}"/>
                </a:ext>
              </a:extLst>
            </p:cNvPr>
            <p:cNvSpPr txBox="1"/>
            <p:nvPr/>
          </p:nvSpPr>
          <p:spPr>
            <a:xfrm>
              <a:off x="7486546" y="4367092"/>
              <a:ext cx="987018" cy="226591"/>
            </a:xfrm>
            <a:prstGeom prst="rect">
              <a:avLst/>
            </a:prstGeom>
            <a:noFill/>
          </p:spPr>
          <p:txBody>
            <a:bodyPr wrap="square" lIns="36000" tIns="36000" rIns="36000" bIns="36000" rtlCol="0">
              <a:spAutoFit/>
            </a:bodyPr>
            <a:lstStyle/>
            <a:p>
              <a:pPr algn="ctr">
                <a:spcBef>
                  <a:spcPts val="600"/>
                </a:spcBef>
              </a:pPr>
              <a:r>
                <a:rPr lang="en-US" sz="1000" b="1">
                  <a:latin typeface="+mn-lt"/>
                </a:rPr>
                <a:t>Data Scientist</a:t>
              </a:r>
            </a:p>
          </p:txBody>
        </p:sp>
        <p:sp>
          <p:nvSpPr>
            <p:cNvPr id="9" name="ZoneTexte 8">
              <a:extLst>
                <a:ext uri="{FF2B5EF4-FFF2-40B4-BE49-F238E27FC236}">
                  <a16:creationId xmlns:a16="http://schemas.microsoft.com/office/drawing/2014/main" id="{31CFC3E9-186D-1062-FDB2-B084F1AFCCEF}"/>
                </a:ext>
              </a:extLst>
            </p:cNvPr>
            <p:cNvSpPr txBox="1"/>
            <p:nvPr/>
          </p:nvSpPr>
          <p:spPr>
            <a:xfrm>
              <a:off x="7206055" y="4609275"/>
              <a:ext cx="1548000" cy="707886"/>
            </a:xfrm>
            <a:prstGeom prst="rect">
              <a:avLst/>
            </a:prstGeom>
            <a:noFill/>
          </p:spPr>
          <p:txBody>
            <a:bodyPr wrap="square">
              <a:spAutoFit/>
            </a:bodyPr>
            <a:lstStyle/>
            <a:p>
              <a:pPr algn="just"/>
              <a:r>
                <a:rPr lang="en-US" sz="1000" i="1">
                  <a:latin typeface="+mn-lt"/>
                </a:rPr>
                <a:t>Performs classification and statistical prediction algorithms to optimize business processes.</a:t>
              </a:r>
            </a:p>
          </p:txBody>
        </p:sp>
        <p:sp>
          <p:nvSpPr>
            <p:cNvPr id="10" name="Ellipse 9">
              <a:extLst>
                <a:ext uri="{FF2B5EF4-FFF2-40B4-BE49-F238E27FC236}">
                  <a16:creationId xmlns:a16="http://schemas.microsoft.com/office/drawing/2014/main" id="{9A906684-00A6-2C86-2A06-17B0E509DF9F}"/>
                </a:ext>
              </a:extLst>
            </p:cNvPr>
            <p:cNvSpPr/>
            <p:nvPr/>
          </p:nvSpPr>
          <p:spPr>
            <a:xfrm>
              <a:off x="7657835" y="3722651"/>
              <a:ext cx="644441" cy="644441"/>
            </a:xfrm>
            <a:prstGeom prst="ellipse">
              <a:avLst/>
            </a:prstGeom>
            <a:solidFill>
              <a:srgbClr val="86D5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endParaRPr>
            </a:p>
          </p:txBody>
        </p:sp>
        <p:pic>
          <p:nvPicPr>
            <p:cNvPr id="11" name="Image 10">
              <a:extLst>
                <a:ext uri="{FF2B5EF4-FFF2-40B4-BE49-F238E27FC236}">
                  <a16:creationId xmlns:a16="http://schemas.microsoft.com/office/drawing/2014/main" id="{C27F2BD9-7D64-0F21-F64F-0ED81C0FCE09}"/>
                </a:ext>
              </a:extLst>
            </p:cNvPr>
            <p:cNvPicPr>
              <a:picLocks noChangeAspect="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710055" y="3776993"/>
              <a:ext cx="540000" cy="535756"/>
            </a:xfrm>
            <a:prstGeom prst="rect">
              <a:avLst/>
            </a:prstGeom>
          </p:spPr>
        </p:pic>
      </p:grpSp>
      <p:grpSp>
        <p:nvGrpSpPr>
          <p:cNvPr id="12" name="Groupe 11">
            <a:extLst>
              <a:ext uri="{FF2B5EF4-FFF2-40B4-BE49-F238E27FC236}">
                <a16:creationId xmlns:a16="http://schemas.microsoft.com/office/drawing/2014/main" id="{A5E7230D-D54B-8B92-0D43-FD7849D4E8B8}"/>
              </a:ext>
            </a:extLst>
          </p:cNvPr>
          <p:cNvGrpSpPr/>
          <p:nvPr/>
        </p:nvGrpSpPr>
        <p:grpSpPr>
          <a:xfrm>
            <a:off x="3788604" y="3507905"/>
            <a:ext cx="1548000" cy="1631557"/>
            <a:chOff x="4062930" y="3700992"/>
            <a:chExt cx="1548000" cy="1631557"/>
          </a:xfrm>
        </p:grpSpPr>
        <p:sp>
          <p:nvSpPr>
            <p:cNvPr id="13" name="ZoneTexte 12">
              <a:extLst>
                <a:ext uri="{FF2B5EF4-FFF2-40B4-BE49-F238E27FC236}">
                  <a16:creationId xmlns:a16="http://schemas.microsoft.com/office/drawing/2014/main" id="{9BCB9FD1-2454-A833-D788-382A5956AC0A}"/>
                </a:ext>
              </a:extLst>
            </p:cNvPr>
            <p:cNvSpPr txBox="1"/>
            <p:nvPr/>
          </p:nvSpPr>
          <p:spPr>
            <a:xfrm>
              <a:off x="4372427" y="4345433"/>
              <a:ext cx="929006" cy="226591"/>
            </a:xfrm>
            <a:prstGeom prst="rect">
              <a:avLst/>
            </a:prstGeom>
            <a:noFill/>
          </p:spPr>
          <p:txBody>
            <a:bodyPr wrap="square" lIns="36000" tIns="36000" rIns="36000" bIns="36000" rtlCol="0">
              <a:spAutoFit/>
            </a:bodyPr>
            <a:lstStyle/>
            <a:p>
              <a:pPr algn="ctr">
                <a:spcBef>
                  <a:spcPts val="600"/>
                </a:spcBef>
              </a:pPr>
              <a:r>
                <a:rPr lang="en-US" sz="1000" b="1">
                  <a:latin typeface="+mn-lt"/>
                </a:rPr>
                <a:t>Data Analyst</a:t>
              </a:r>
            </a:p>
          </p:txBody>
        </p:sp>
        <p:sp>
          <p:nvSpPr>
            <p:cNvPr id="14" name="Ellipse 13">
              <a:extLst>
                <a:ext uri="{FF2B5EF4-FFF2-40B4-BE49-F238E27FC236}">
                  <a16:creationId xmlns:a16="http://schemas.microsoft.com/office/drawing/2014/main" id="{3C56F226-C0E6-3EC0-9A5A-9DD0330E8D70}"/>
                </a:ext>
              </a:extLst>
            </p:cNvPr>
            <p:cNvSpPr/>
            <p:nvPr/>
          </p:nvSpPr>
          <p:spPr>
            <a:xfrm>
              <a:off x="4514710" y="3700992"/>
              <a:ext cx="644441" cy="644441"/>
            </a:xfrm>
            <a:prstGeom prst="ellipse">
              <a:avLst/>
            </a:prstGeom>
            <a:solidFill>
              <a:srgbClr val="86D5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endParaRPr>
            </a:p>
          </p:txBody>
        </p:sp>
        <p:pic>
          <p:nvPicPr>
            <p:cNvPr id="15" name="Picture 29" descr="A picture containing clipart&#10;&#10;Description automatically generated">
              <a:extLst>
                <a:ext uri="{FF2B5EF4-FFF2-40B4-BE49-F238E27FC236}">
                  <a16:creationId xmlns:a16="http://schemas.microsoft.com/office/drawing/2014/main" id="{8513422D-9D2E-76B4-E08B-30CDB7B3348B}"/>
                </a:ext>
              </a:extLst>
            </p:cNvPr>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566930" y="3753212"/>
              <a:ext cx="540000" cy="540000"/>
            </a:xfrm>
            <a:prstGeom prst="rect">
              <a:avLst/>
            </a:prstGeom>
          </p:spPr>
        </p:pic>
        <p:sp>
          <p:nvSpPr>
            <p:cNvPr id="16" name="ZoneTexte 15">
              <a:extLst>
                <a:ext uri="{FF2B5EF4-FFF2-40B4-BE49-F238E27FC236}">
                  <a16:creationId xmlns:a16="http://schemas.microsoft.com/office/drawing/2014/main" id="{A69BB2A7-1AF2-EB4B-FC16-4357CC2B5A6D}"/>
                </a:ext>
              </a:extLst>
            </p:cNvPr>
            <p:cNvSpPr txBox="1"/>
            <p:nvPr/>
          </p:nvSpPr>
          <p:spPr>
            <a:xfrm>
              <a:off x="4062930" y="4624663"/>
              <a:ext cx="1548000" cy="707886"/>
            </a:xfrm>
            <a:prstGeom prst="rect">
              <a:avLst/>
            </a:prstGeom>
            <a:noFill/>
          </p:spPr>
          <p:txBody>
            <a:bodyPr wrap="square">
              <a:spAutoFit/>
            </a:bodyPr>
            <a:lstStyle/>
            <a:p>
              <a:pPr algn="just"/>
              <a:r>
                <a:rPr lang="en-US" sz="1000" i="1">
                  <a:latin typeface="+mn-lt"/>
                </a:rPr>
                <a:t>Translates information from data teams into knowledge that can be understood by business users</a:t>
              </a:r>
            </a:p>
          </p:txBody>
        </p:sp>
      </p:grpSp>
      <p:grpSp>
        <p:nvGrpSpPr>
          <p:cNvPr id="17" name="Groupe 16">
            <a:extLst>
              <a:ext uri="{FF2B5EF4-FFF2-40B4-BE49-F238E27FC236}">
                <a16:creationId xmlns:a16="http://schemas.microsoft.com/office/drawing/2014/main" id="{B381D715-E2D7-3EA5-D6C8-103872D77104}"/>
              </a:ext>
            </a:extLst>
          </p:cNvPr>
          <p:cNvGrpSpPr/>
          <p:nvPr/>
        </p:nvGrpSpPr>
        <p:grpSpPr>
          <a:xfrm>
            <a:off x="5343021" y="3507905"/>
            <a:ext cx="1548000" cy="1472721"/>
            <a:chOff x="5692151" y="3700992"/>
            <a:chExt cx="1548000" cy="1472721"/>
          </a:xfrm>
        </p:grpSpPr>
        <p:sp>
          <p:nvSpPr>
            <p:cNvPr id="18" name="ZoneTexte 17">
              <a:extLst>
                <a:ext uri="{FF2B5EF4-FFF2-40B4-BE49-F238E27FC236}">
                  <a16:creationId xmlns:a16="http://schemas.microsoft.com/office/drawing/2014/main" id="{C5DB7A2D-6753-8E9B-3473-A8CCB3B567F4}"/>
                </a:ext>
              </a:extLst>
            </p:cNvPr>
            <p:cNvSpPr txBox="1"/>
            <p:nvPr/>
          </p:nvSpPr>
          <p:spPr>
            <a:xfrm>
              <a:off x="5692151" y="4619715"/>
              <a:ext cx="1548000" cy="553998"/>
            </a:xfrm>
            <a:prstGeom prst="rect">
              <a:avLst/>
            </a:prstGeom>
            <a:noFill/>
          </p:spPr>
          <p:txBody>
            <a:bodyPr wrap="square">
              <a:spAutoFit/>
            </a:bodyPr>
            <a:lstStyle/>
            <a:p>
              <a:pPr algn="just"/>
              <a:r>
                <a:rPr lang="en-US" sz="1000" i="1">
                  <a:latin typeface="+mn-lt"/>
                </a:rPr>
                <a:t>Provides clean, sorted and aggregated data sets for data visualization</a:t>
              </a:r>
            </a:p>
          </p:txBody>
        </p:sp>
        <p:sp>
          <p:nvSpPr>
            <p:cNvPr id="19" name="ZoneTexte 18">
              <a:extLst>
                <a:ext uri="{FF2B5EF4-FFF2-40B4-BE49-F238E27FC236}">
                  <a16:creationId xmlns:a16="http://schemas.microsoft.com/office/drawing/2014/main" id="{B38EBCB5-D1C8-7BB5-3E3C-6A8E85437C98}"/>
                </a:ext>
              </a:extLst>
            </p:cNvPr>
            <p:cNvSpPr txBox="1"/>
            <p:nvPr/>
          </p:nvSpPr>
          <p:spPr>
            <a:xfrm>
              <a:off x="5908025" y="4345432"/>
              <a:ext cx="1116252" cy="226591"/>
            </a:xfrm>
            <a:prstGeom prst="rect">
              <a:avLst/>
            </a:prstGeom>
            <a:noFill/>
          </p:spPr>
          <p:txBody>
            <a:bodyPr wrap="square" lIns="36000" tIns="36000" rIns="36000" bIns="36000" rtlCol="0">
              <a:spAutoFit/>
            </a:bodyPr>
            <a:lstStyle/>
            <a:p>
              <a:pPr algn="ctr">
                <a:spcBef>
                  <a:spcPts val="600"/>
                </a:spcBef>
              </a:pPr>
              <a:r>
                <a:rPr lang="en-US" sz="1000" b="1">
                  <a:latin typeface="+mn-lt"/>
                </a:rPr>
                <a:t>Data Analyst Adv</a:t>
              </a:r>
            </a:p>
          </p:txBody>
        </p:sp>
        <p:sp>
          <p:nvSpPr>
            <p:cNvPr id="20" name="Ellipse 19">
              <a:extLst>
                <a:ext uri="{FF2B5EF4-FFF2-40B4-BE49-F238E27FC236}">
                  <a16:creationId xmlns:a16="http://schemas.microsoft.com/office/drawing/2014/main" id="{883AEE23-FF3D-B74C-0A2A-77BC013FB3D2}"/>
                </a:ext>
              </a:extLst>
            </p:cNvPr>
            <p:cNvSpPr/>
            <p:nvPr/>
          </p:nvSpPr>
          <p:spPr>
            <a:xfrm>
              <a:off x="6143931" y="3700992"/>
              <a:ext cx="644441" cy="644441"/>
            </a:xfrm>
            <a:prstGeom prst="ellipse">
              <a:avLst/>
            </a:prstGeom>
            <a:solidFill>
              <a:srgbClr val="86D5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endParaRPr>
            </a:p>
          </p:txBody>
        </p:sp>
        <p:pic>
          <p:nvPicPr>
            <p:cNvPr id="21" name="Image 20">
              <a:extLst>
                <a:ext uri="{FF2B5EF4-FFF2-40B4-BE49-F238E27FC236}">
                  <a16:creationId xmlns:a16="http://schemas.microsoft.com/office/drawing/2014/main" id="{0B177E09-32D4-9F34-78CE-9E1CA959BD69}"/>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196151" y="3753212"/>
              <a:ext cx="540000" cy="540000"/>
            </a:xfrm>
            <a:prstGeom prst="rect">
              <a:avLst/>
            </a:prstGeom>
            <a:noFill/>
          </p:spPr>
        </p:pic>
      </p:grpSp>
      <p:grpSp>
        <p:nvGrpSpPr>
          <p:cNvPr id="22" name="Groupe 21">
            <a:extLst>
              <a:ext uri="{FF2B5EF4-FFF2-40B4-BE49-F238E27FC236}">
                <a16:creationId xmlns:a16="http://schemas.microsoft.com/office/drawing/2014/main" id="{50306970-14F1-A16B-F451-CB165E5EB069}"/>
              </a:ext>
            </a:extLst>
          </p:cNvPr>
          <p:cNvGrpSpPr/>
          <p:nvPr/>
        </p:nvGrpSpPr>
        <p:grpSpPr>
          <a:xfrm>
            <a:off x="8479081" y="3507905"/>
            <a:ext cx="1548000" cy="1286734"/>
            <a:chOff x="10212639" y="3648772"/>
            <a:chExt cx="1548000" cy="1286734"/>
          </a:xfrm>
        </p:grpSpPr>
        <p:sp>
          <p:nvSpPr>
            <p:cNvPr id="23" name="ZoneTexte 22">
              <a:extLst>
                <a:ext uri="{FF2B5EF4-FFF2-40B4-BE49-F238E27FC236}">
                  <a16:creationId xmlns:a16="http://schemas.microsoft.com/office/drawing/2014/main" id="{2711A08D-9A2F-4F38-8C7F-7E7C2A279115}"/>
                </a:ext>
              </a:extLst>
            </p:cNvPr>
            <p:cNvSpPr txBox="1"/>
            <p:nvPr/>
          </p:nvSpPr>
          <p:spPr>
            <a:xfrm>
              <a:off x="10284367" y="4293213"/>
              <a:ext cx="1404544" cy="226591"/>
            </a:xfrm>
            <a:prstGeom prst="rect">
              <a:avLst/>
            </a:prstGeom>
            <a:noFill/>
          </p:spPr>
          <p:txBody>
            <a:bodyPr wrap="square" lIns="36000" tIns="36000" rIns="36000" bIns="36000" rtlCol="0">
              <a:spAutoFit/>
            </a:bodyPr>
            <a:lstStyle/>
            <a:p>
              <a:pPr algn="ctr">
                <a:spcBef>
                  <a:spcPts val="600"/>
                </a:spcBef>
              </a:pPr>
              <a:r>
                <a:rPr lang="en-US" sz="1000" b="1">
                  <a:latin typeface="+mn-lt"/>
                </a:rPr>
                <a:t>Application Developer</a:t>
              </a:r>
            </a:p>
          </p:txBody>
        </p:sp>
        <p:sp>
          <p:nvSpPr>
            <p:cNvPr id="24" name="ZoneTexte 23">
              <a:extLst>
                <a:ext uri="{FF2B5EF4-FFF2-40B4-BE49-F238E27FC236}">
                  <a16:creationId xmlns:a16="http://schemas.microsoft.com/office/drawing/2014/main" id="{B3C117BF-446E-9CB1-D76C-1B1D42644592}"/>
                </a:ext>
              </a:extLst>
            </p:cNvPr>
            <p:cNvSpPr txBox="1"/>
            <p:nvPr/>
          </p:nvSpPr>
          <p:spPr>
            <a:xfrm>
              <a:off x="10212639" y="4535396"/>
              <a:ext cx="1548000" cy="400110"/>
            </a:xfrm>
            <a:prstGeom prst="rect">
              <a:avLst/>
            </a:prstGeom>
            <a:noFill/>
          </p:spPr>
          <p:txBody>
            <a:bodyPr wrap="square">
              <a:spAutoFit/>
            </a:bodyPr>
            <a:lstStyle/>
            <a:p>
              <a:pPr algn="just"/>
              <a:r>
                <a:rPr lang="en-US" sz="1000" i="1">
                  <a:latin typeface="+mn-lt"/>
                </a:rPr>
                <a:t>Build applications using data from different sources</a:t>
              </a:r>
            </a:p>
          </p:txBody>
        </p:sp>
        <p:grpSp>
          <p:nvGrpSpPr>
            <p:cNvPr id="25" name="Groupe 24">
              <a:extLst>
                <a:ext uri="{FF2B5EF4-FFF2-40B4-BE49-F238E27FC236}">
                  <a16:creationId xmlns:a16="http://schemas.microsoft.com/office/drawing/2014/main" id="{41605C3B-3F15-AF5C-9F7E-7265F24DDE29}"/>
                </a:ext>
              </a:extLst>
            </p:cNvPr>
            <p:cNvGrpSpPr/>
            <p:nvPr/>
          </p:nvGrpSpPr>
          <p:grpSpPr>
            <a:xfrm>
              <a:off x="10664419" y="3648772"/>
              <a:ext cx="644441" cy="644441"/>
              <a:chOff x="9691391" y="4462704"/>
              <a:chExt cx="644441" cy="644441"/>
            </a:xfrm>
          </p:grpSpPr>
          <p:sp>
            <p:nvSpPr>
              <p:cNvPr id="26" name="Ellipse 25">
                <a:extLst>
                  <a:ext uri="{FF2B5EF4-FFF2-40B4-BE49-F238E27FC236}">
                    <a16:creationId xmlns:a16="http://schemas.microsoft.com/office/drawing/2014/main" id="{4DD23D86-2068-8296-A98A-3A02D4E39B25}"/>
                  </a:ext>
                </a:extLst>
              </p:cNvPr>
              <p:cNvSpPr/>
              <p:nvPr/>
            </p:nvSpPr>
            <p:spPr>
              <a:xfrm>
                <a:off x="9691391" y="4462704"/>
                <a:ext cx="644441" cy="644441"/>
              </a:xfrm>
              <a:prstGeom prst="ellipse">
                <a:avLst/>
              </a:prstGeom>
              <a:solidFill>
                <a:srgbClr val="86D5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endParaRPr>
              </a:p>
            </p:txBody>
          </p:sp>
          <p:pic>
            <p:nvPicPr>
              <p:cNvPr id="27" name="Image 26">
                <a:extLst>
                  <a:ext uri="{FF2B5EF4-FFF2-40B4-BE49-F238E27FC236}">
                    <a16:creationId xmlns:a16="http://schemas.microsoft.com/office/drawing/2014/main" id="{CB256161-35F8-38DC-E043-ED1B83A24B28}"/>
                  </a:ext>
                </a:extLst>
              </p:cNvPr>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743611" y="4514924"/>
                <a:ext cx="540000" cy="540000"/>
              </a:xfrm>
              <a:prstGeom prst="rect">
                <a:avLst/>
              </a:prstGeom>
            </p:spPr>
          </p:pic>
        </p:grpSp>
      </p:grpSp>
      <p:grpSp>
        <p:nvGrpSpPr>
          <p:cNvPr id="28" name="Groupe 27">
            <a:extLst>
              <a:ext uri="{FF2B5EF4-FFF2-40B4-BE49-F238E27FC236}">
                <a16:creationId xmlns:a16="http://schemas.microsoft.com/office/drawing/2014/main" id="{824AD9B1-7B97-9259-ADD6-2BD2739C3BC0}"/>
              </a:ext>
            </a:extLst>
          </p:cNvPr>
          <p:cNvGrpSpPr/>
          <p:nvPr/>
        </p:nvGrpSpPr>
        <p:grpSpPr>
          <a:xfrm>
            <a:off x="679770" y="3507905"/>
            <a:ext cx="1548000" cy="1409642"/>
            <a:chOff x="886137" y="3700992"/>
            <a:chExt cx="1548000" cy="1409642"/>
          </a:xfrm>
        </p:grpSpPr>
        <p:sp>
          <p:nvSpPr>
            <p:cNvPr id="29" name="ZoneTexte 28">
              <a:extLst>
                <a:ext uri="{FF2B5EF4-FFF2-40B4-BE49-F238E27FC236}">
                  <a16:creationId xmlns:a16="http://schemas.microsoft.com/office/drawing/2014/main" id="{510CFDC1-E643-44A1-FA75-1DDEAD1BE669}"/>
                </a:ext>
              </a:extLst>
            </p:cNvPr>
            <p:cNvSpPr txBox="1"/>
            <p:nvPr/>
          </p:nvSpPr>
          <p:spPr>
            <a:xfrm>
              <a:off x="1154354" y="4345433"/>
              <a:ext cx="1011567" cy="226591"/>
            </a:xfrm>
            <a:prstGeom prst="rect">
              <a:avLst/>
            </a:prstGeom>
            <a:noFill/>
          </p:spPr>
          <p:txBody>
            <a:bodyPr wrap="square" lIns="36000" tIns="36000" rIns="36000" bIns="36000" rtlCol="0">
              <a:spAutoFit/>
            </a:bodyPr>
            <a:lstStyle/>
            <a:p>
              <a:pPr algn="ctr">
                <a:spcBef>
                  <a:spcPts val="600"/>
                </a:spcBef>
              </a:pPr>
              <a:r>
                <a:rPr lang="en-US" sz="1000" b="1">
                  <a:latin typeface="+mn-lt"/>
                </a:rPr>
                <a:t>Business user</a:t>
              </a:r>
            </a:p>
          </p:txBody>
        </p:sp>
        <p:sp>
          <p:nvSpPr>
            <p:cNvPr id="30" name="ZoneTexte 29">
              <a:extLst>
                <a:ext uri="{FF2B5EF4-FFF2-40B4-BE49-F238E27FC236}">
                  <a16:creationId xmlns:a16="http://schemas.microsoft.com/office/drawing/2014/main" id="{5F88A409-4D41-EDE1-A1C3-CA6AB0C27263}"/>
                </a:ext>
              </a:extLst>
            </p:cNvPr>
            <p:cNvSpPr txBox="1"/>
            <p:nvPr/>
          </p:nvSpPr>
          <p:spPr>
            <a:xfrm>
              <a:off x="886137" y="4556636"/>
              <a:ext cx="1548000" cy="553998"/>
            </a:xfrm>
            <a:prstGeom prst="rect">
              <a:avLst/>
            </a:prstGeom>
            <a:noFill/>
          </p:spPr>
          <p:txBody>
            <a:bodyPr wrap="square">
              <a:spAutoFit/>
            </a:bodyPr>
            <a:lstStyle/>
            <a:p>
              <a:pPr algn="just"/>
              <a:r>
                <a:rPr lang="en-US" sz="1000" i="1">
                  <a:latin typeface="+mn-lt"/>
                </a:rPr>
                <a:t>Search and use the knowledge extracted from the Data Products.</a:t>
              </a:r>
            </a:p>
          </p:txBody>
        </p:sp>
        <p:grpSp>
          <p:nvGrpSpPr>
            <p:cNvPr id="31" name="Groupe 30">
              <a:extLst>
                <a:ext uri="{FF2B5EF4-FFF2-40B4-BE49-F238E27FC236}">
                  <a16:creationId xmlns:a16="http://schemas.microsoft.com/office/drawing/2014/main" id="{18E38294-C475-8A86-9EF6-0EF38AD84644}"/>
                </a:ext>
              </a:extLst>
            </p:cNvPr>
            <p:cNvGrpSpPr/>
            <p:nvPr/>
          </p:nvGrpSpPr>
          <p:grpSpPr>
            <a:xfrm>
              <a:off x="1337917" y="3700992"/>
              <a:ext cx="644441" cy="644441"/>
              <a:chOff x="6002096" y="4679142"/>
              <a:chExt cx="644441" cy="644441"/>
            </a:xfrm>
          </p:grpSpPr>
          <p:sp>
            <p:nvSpPr>
              <p:cNvPr id="32" name="Ellipse 31">
                <a:extLst>
                  <a:ext uri="{FF2B5EF4-FFF2-40B4-BE49-F238E27FC236}">
                    <a16:creationId xmlns:a16="http://schemas.microsoft.com/office/drawing/2014/main" id="{19B4CFC1-22C4-F3FC-3869-F925BBEBB7FF}"/>
                  </a:ext>
                </a:extLst>
              </p:cNvPr>
              <p:cNvSpPr/>
              <p:nvPr/>
            </p:nvSpPr>
            <p:spPr>
              <a:xfrm>
                <a:off x="6002096" y="4679142"/>
                <a:ext cx="644441" cy="644441"/>
              </a:xfrm>
              <a:prstGeom prst="ellipse">
                <a:avLst/>
              </a:prstGeom>
              <a:solidFill>
                <a:srgbClr val="86D5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endParaRPr>
              </a:p>
            </p:txBody>
          </p:sp>
          <p:pic>
            <p:nvPicPr>
              <p:cNvPr id="33" name="Picture 74" descr="A picture containing vector graphics&#10;&#10;Description automatically generated">
                <a:extLst>
                  <a:ext uri="{FF2B5EF4-FFF2-40B4-BE49-F238E27FC236}">
                    <a16:creationId xmlns:a16="http://schemas.microsoft.com/office/drawing/2014/main" id="{D7DB4128-A7EC-C150-17A1-ED86F53A369B}"/>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054316" y="4731362"/>
                <a:ext cx="540000" cy="540000"/>
              </a:xfrm>
              <a:prstGeom prst="rect">
                <a:avLst/>
              </a:prstGeom>
              <a:noFill/>
            </p:spPr>
          </p:pic>
        </p:grpSp>
      </p:grpSp>
      <p:grpSp>
        <p:nvGrpSpPr>
          <p:cNvPr id="34" name="Groupe 33">
            <a:extLst>
              <a:ext uri="{FF2B5EF4-FFF2-40B4-BE49-F238E27FC236}">
                <a16:creationId xmlns:a16="http://schemas.microsoft.com/office/drawing/2014/main" id="{CF1D9583-690F-3BCF-978B-73C410BF7D92}"/>
              </a:ext>
            </a:extLst>
          </p:cNvPr>
          <p:cNvGrpSpPr/>
          <p:nvPr/>
        </p:nvGrpSpPr>
        <p:grpSpPr>
          <a:xfrm>
            <a:off x="2234187" y="3507905"/>
            <a:ext cx="1548000" cy="1748398"/>
            <a:chOff x="2434049" y="3700992"/>
            <a:chExt cx="1548000" cy="1748398"/>
          </a:xfrm>
        </p:grpSpPr>
        <p:sp>
          <p:nvSpPr>
            <p:cNvPr id="35" name="ZoneTexte 34">
              <a:extLst>
                <a:ext uri="{FF2B5EF4-FFF2-40B4-BE49-F238E27FC236}">
                  <a16:creationId xmlns:a16="http://schemas.microsoft.com/office/drawing/2014/main" id="{A64D824B-79A6-4B52-5844-A53493886BA3}"/>
                </a:ext>
              </a:extLst>
            </p:cNvPr>
            <p:cNvSpPr txBox="1"/>
            <p:nvPr/>
          </p:nvSpPr>
          <p:spPr>
            <a:xfrm>
              <a:off x="2610326" y="4345433"/>
              <a:ext cx="1195447" cy="226591"/>
            </a:xfrm>
            <a:prstGeom prst="rect">
              <a:avLst/>
            </a:prstGeom>
            <a:noFill/>
          </p:spPr>
          <p:txBody>
            <a:bodyPr wrap="square" lIns="36000" tIns="36000" rIns="36000" bIns="36000" rtlCol="0">
              <a:spAutoFit/>
            </a:bodyPr>
            <a:lstStyle/>
            <a:p>
              <a:pPr algn="ctr">
                <a:spcBef>
                  <a:spcPts val="600"/>
                </a:spcBef>
              </a:pPr>
              <a:r>
                <a:rPr lang="en-US" sz="1000" b="1">
                  <a:latin typeface="+mn-lt"/>
                </a:rPr>
                <a:t>Citizen Data Analyst</a:t>
              </a:r>
            </a:p>
          </p:txBody>
        </p:sp>
        <p:sp>
          <p:nvSpPr>
            <p:cNvPr id="36" name="ZoneTexte 35">
              <a:extLst>
                <a:ext uri="{FF2B5EF4-FFF2-40B4-BE49-F238E27FC236}">
                  <a16:creationId xmlns:a16="http://schemas.microsoft.com/office/drawing/2014/main" id="{9E10557C-6A6B-68E3-A27C-6815F443F583}"/>
                </a:ext>
              </a:extLst>
            </p:cNvPr>
            <p:cNvSpPr txBox="1"/>
            <p:nvPr/>
          </p:nvSpPr>
          <p:spPr>
            <a:xfrm>
              <a:off x="2434049" y="4587616"/>
              <a:ext cx="1548000" cy="861774"/>
            </a:xfrm>
            <a:prstGeom prst="rect">
              <a:avLst/>
            </a:prstGeom>
            <a:noFill/>
          </p:spPr>
          <p:txBody>
            <a:bodyPr wrap="square">
              <a:spAutoFit/>
            </a:bodyPr>
            <a:lstStyle/>
            <a:p>
              <a:pPr algn="just"/>
              <a:r>
                <a:rPr lang="en-US" sz="1000" i="1">
                  <a:latin typeface="+mn-lt"/>
                </a:rPr>
                <a:t>Business Users with data culture skills, non data specialists, who use Business Intelligence tools to make data analysis. </a:t>
              </a:r>
            </a:p>
          </p:txBody>
        </p:sp>
        <p:grpSp>
          <p:nvGrpSpPr>
            <p:cNvPr id="37" name="Groupe 36">
              <a:extLst>
                <a:ext uri="{FF2B5EF4-FFF2-40B4-BE49-F238E27FC236}">
                  <a16:creationId xmlns:a16="http://schemas.microsoft.com/office/drawing/2014/main" id="{F29FC2FA-E788-DEB4-3C21-438F66827E8C}"/>
                </a:ext>
              </a:extLst>
            </p:cNvPr>
            <p:cNvGrpSpPr/>
            <p:nvPr/>
          </p:nvGrpSpPr>
          <p:grpSpPr>
            <a:xfrm>
              <a:off x="2885829" y="3700992"/>
              <a:ext cx="644441" cy="644441"/>
              <a:chOff x="3157203" y="4376409"/>
              <a:chExt cx="644441" cy="644441"/>
            </a:xfrm>
          </p:grpSpPr>
          <p:sp>
            <p:nvSpPr>
              <p:cNvPr id="38" name="Ellipse 37">
                <a:extLst>
                  <a:ext uri="{FF2B5EF4-FFF2-40B4-BE49-F238E27FC236}">
                    <a16:creationId xmlns:a16="http://schemas.microsoft.com/office/drawing/2014/main" id="{42E0F93D-8A61-1560-47D3-27FACB97DBC4}"/>
                  </a:ext>
                </a:extLst>
              </p:cNvPr>
              <p:cNvSpPr/>
              <p:nvPr/>
            </p:nvSpPr>
            <p:spPr>
              <a:xfrm>
                <a:off x="3157203" y="4376409"/>
                <a:ext cx="644441" cy="644441"/>
              </a:xfrm>
              <a:prstGeom prst="ellipse">
                <a:avLst/>
              </a:prstGeom>
              <a:solidFill>
                <a:srgbClr val="86D5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endParaRPr>
              </a:p>
            </p:txBody>
          </p:sp>
          <p:pic>
            <p:nvPicPr>
              <p:cNvPr id="39" name="Image 38">
                <a:extLst>
                  <a:ext uri="{FF2B5EF4-FFF2-40B4-BE49-F238E27FC236}">
                    <a16:creationId xmlns:a16="http://schemas.microsoft.com/office/drawing/2014/main" id="{3D037528-7043-2D8E-068F-8F337DD65DFC}"/>
                  </a:ext>
                </a:extLst>
              </p:cNvPr>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09423" y="4428629"/>
                <a:ext cx="540000" cy="540000"/>
              </a:xfrm>
              <a:prstGeom prst="rect">
                <a:avLst/>
              </a:prstGeom>
            </p:spPr>
          </p:pic>
        </p:grpSp>
      </p:grpSp>
      <p:grpSp>
        <p:nvGrpSpPr>
          <p:cNvPr id="40" name="Groupe 39">
            <a:extLst>
              <a:ext uri="{FF2B5EF4-FFF2-40B4-BE49-F238E27FC236}">
                <a16:creationId xmlns:a16="http://schemas.microsoft.com/office/drawing/2014/main" id="{28E91830-B881-8682-0E1D-E69E332DB3D4}"/>
              </a:ext>
            </a:extLst>
          </p:cNvPr>
          <p:cNvGrpSpPr/>
          <p:nvPr/>
        </p:nvGrpSpPr>
        <p:grpSpPr>
          <a:xfrm>
            <a:off x="6911051" y="3507905"/>
            <a:ext cx="1548000" cy="1713369"/>
            <a:chOff x="8834936" y="3814286"/>
            <a:chExt cx="1548000" cy="1713369"/>
          </a:xfrm>
        </p:grpSpPr>
        <p:sp>
          <p:nvSpPr>
            <p:cNvPr id="41" name="Ellipse 40">
              <a:extLst>
                <a:ext uri="{FF2B5EF4-FFF2-40B4-BE49-F238E27FC236}">
                  <a16:creationId xmlns:a16="http://schemas.microsoft.com/office/drawing/2014/main" id="{81BDFD9F-DAE6-D5B9-D656-29D971B2CFD7}"/>
                </a:ext>
              </a:extLst>
            </p:cNvPr>
            <p:cNvSpPr/>
            <p:nvPr/>
          </p:nvSpPr>
          <p:spPr>
            <a:xfrm>
              <a:off x="9286716" y="3814286"/>
              <a:ext cx="644441" cy="644441"/>
            </a:xfrm>
            <a:prstGeom prst="ellipse">
              <a:avLst/>
            </a:prstGeom>
            <a:solidFill>
              <a:srgbClr val="86D5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endParaRPr>
            </a:p>
          </p:txBody>
        </p:sp>
        <p:sp>
          <p:nvSpPr>
            <p:cNvPr id="42" name="ZoneTexte 41">
              <a:extLst>
                <a:ext uri="{FF2B5EF4-FFF2-40B4-BE49-F238E27FC236}">
                  <a16:creationId xmlns:a16="http://schemas.microsoft.com/office/drawing/2014/main" id="{0CB46AB8-10B5-5A71-AD73-A05DD4ACB00F}"/>
                </a:ext>
              </a:extLst>
            </p:cNvPr>
            <p:cNvSpPr txBox="1"/>
            <p:nvPr/>
          </p:nvSpPr>
          <p:spPr>
            <a:xfrm>
              <a:off x="9115427" y="4443340"/>
              <a:ext cx="987018" cy="226591"/>
            </a:xfrm>
            <a:prstGeom prst="rect">
              <a:avLst/>
            </a:prstGeom>
            <a:noFill/>
          </p:spPr>
          <p:txBody>
            <a:bodyPr wrap="square" lIns="36000" tIns="36000" rIns="36000" bIns="36000" rtlCol="0">
              <a:spAutoFit/>
            </a:bodyPr>
            <a:lstStyle/>
            <a:p>
              <a:pPr algn="ctr">
                <a:spcBef>
                  <a:spcPts val="600"/>
                </a:spcBef>
              </a:pPr>
              <a:r>
                <a:rPr lang="en-US" sz="1000" b="1">
                  <a:latin typeface="+mn-lt"/>
                </a:rPr>
                <a:t>Data Engineer</a:t>
              </a:r>
            </a:p>
          </p:txBody>
        </p:sp>
        <p:sp>
          <p:nvSpPr>
            <p:cNvPr id="43" name="ZoneTexte 42">
              <a:extLst>
                <a:ext uri="{FF2B5EF4-FFF2-40B4-BE49-F238E27FC236}">
                  <a16:creationId xmlns:a16="http://schemas.microsoft.com/office/drawing/2014/main" id="{87EA0E93-A081-8369-C031-56918B0BF362}"/>
                </a:ext>
              </a:extLst>
            </p:cNvPr>
            <p:cNvSpPr txBox="1"/>
            <p:nvPr/>
          </p:nvSpPr>
          <p:spPr>
            <a:xfrm>
              <a:off x="8834936" y="4665881"/>
              <a:ext cx="1548000" cy="861774"/>
            </a:xfrm>
            <a:prstGeom prst="rect">
              <a:avLst/>
            </a:prstGeom>
            <a:noFill/>
          </p:spPr>
          <p:txBody>
            <a:bodyPr wrap="square">
              <a:spAutoFit/>
            </a:bodyPr>
            <a:lstStyle/>
            <a:p>
              <a:pPr algn="just"/>
              <a:r>
                <a:rPr lang="en-US" sz="1000" i="1">
                  <a:latin typeface="+mn-lt"/>
                </a:rPr>
                <a:t>In charge of building the analysis device and publishing the data sets. Uses the content of the data to extract analytical information. </a:t>
              </a:r>
            </a:p>
          </p:txBody>
        </p:sp>
        <p:pic>
          <p:nvPicPr>
            <p:cNvPr id="44" name="Picture 10" descr="Image result for people icon transparent">
              <a:extLst>
                <a:ext uri="{FF2B5EF4-FFF2-40B4-BE49-F238E27FC236}">
                  <a16:creationId xmlns:a16="http://schemas.microsoft.com/office/drawing/2014/main" id="{DC63304B-AEC3-E8EF-4D7E-364D1F137701}"/>
                </a:ext>
              </a:extLst>
            </p:cNvPr>
            <p:cNvPicPr>
              <a:picLocks noChangeAspect="1" noChangeArrowheads="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338936" y="3866506"/>
              <a:ext cx="540000" cy="540000"/>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45" name="Connecteur droit 44">
            <a:extLst>
              <a:ext uri="{FF2B5EF4-FFF2-40B4-BE49-F238E27FC236}">
                <a16:creationId xmlns:a16="http://schemas.microsoft.com/office/drawing/2014/main" id="{8883050A-2083-30BE-DE2D-3C99693DE2FB}"/>
              </a:ext>
            </a:extLst>
          </p:cNvPr>
          <p:cNvCxnSpPr>
            <a:cxnSpLocks/>
          </p:cNvCxnSpPr>
          <p:nvPr/>
        </p:nvCxnSpPr>
        <p:spPr>
          <a:xfrm>
            <a:off x="5343021" y="3178593"/>
            <a:ext cx="0" cy="2086853"/>
          </a:xfrm>
          <a:prstGeom prst="line">
            <a:avLst/>
          </a:prstGeom>
          <a:ln w="9525">
            <a:solidFill>
              <a:srgbClr val="23A366"/>
            </a:solidFill>
            <a:prstDash val="dash"/>
          </a:ln>
          <a:effectLst/>
        </p:spPr>
        <p:style>
          <a:lnRef idx="2">
            <a:schemeClr val="accent1"/>
          </a:lnRef>
          <a:fillRef idx="0">
            <a:schemeClr val="accent1"/>
          </a:fillRef>
          <a:effectRef idx="1">
            <a:schemeClr val="accent1"/>
          </a:effectRef>
          <a:fontRef idx="minor">
            <a:schemeClr val="tx1"/>
          </a:fontRef>
        </p:style>
      </p:cxnSp>
      <p:sp>
        <p:nvSpPr>
          <p:cNvPr id="46" name="ZoneTexte 45">
            <a:extLst>
              <a:ext uri="{FF2B5EF4-FFF2-40B4-BE49-F238E27FC236}">
                <a16:creationId xmlns:a16="http://schemas.microsoft.com/office/drawing/2014/main" id="{0B6B7CCC-CCEC-7AC8-9BDC-D03D889FE802}"/>
              </a:ext>
            </a:extLst>
          </p:cNvPr>
          <p:cNvSpPr txBox="1"/>
          <p:nvPr/>
        </p:nvSpPr>
        <p:spPr>
          <a:xfrm rot="16200000">
            <a:off x="5000728" y="3235288"/>
            <a:ext cx="545342" cy="215444"/>
          </a:xfrm>
          <a:prstGeom prst="rect">
            <a:avLst/>
          </a:prstGeom>
          <a:noFill/>
        </p:spPr>
        <p:txBody>
          <a:bodyPr wrap="none" rtlCol="0">
            <a:spAutoFit/>
          </a:bodyPr>
          <a:lstStyle/>
          <a:p>
            <a:r>
              <a:rPr lang="en-US" sz="800">
                <a:solidFill>
                  <a:schemeClr val="bg1">
                    <a:lumMod val="50000"/>
                  </a:schemeClr>
                </a:solidFill>
                <a:latin typeface="+mn-lt"/>
              </a:rPr>
              <a:t>Business</a:t>
            </a:r>
          </a:p>
        </p:txBody>
      </p:sp>
      <p:sp>
        <p:nvSpPr>
          <p:cNvPr id="47" name="ZoneTexte 46">
            <a:extLst>
              <a:ext uri="{FF2B5EF4-FFF2-40B4-BE49-F238E27FC236}">
                <a16:creationId xmlns:a16="http://schemas.microsoft.com/office/drawing/2014/main" id="{75CC9F0F-9F68-07AF-223F-926948FC0A6C}"/>
              </a:ext>
            </a:extLst>
          </p:cNvPr>
          <p:cNvSpPr txBox="1"/>
          <p:nvPr/>
        </p:nvSpPr>
        <p:spPr>
          <a:xfrm rot="16200000">
            <a:off x="5296876" y="3244813"/>
            <a:ext cx="260008" cy="215444"/>
          </a:xfrm>
          <a:prstGeom prst="rect">
            <a:avLst/>
          </a:prstGeom>
          <a:noFill/>
        </p:spPr>
        <p:txBody>
          <a:bodyPr wrap="none" rtlCol="0">
            <a:spAutoFit/>
          </a:bodyPr>
          <a:lstStyle/>
          <a:p>
            <a:r>
              <a:rPr lang="en-US" sz="800">
                <a:solidFill>
                  <a:schemeClr val="bg1">
                    <a:lumMod val="50000"/>
                  </a:schemeClr>
                </a:solidFill>
                <a:latin typeface="+mn-lt"/>
              </a:rPr>
              <a:t>IT</a:t>
            </a:r>
          </a:p>
        </p:txBody>
      </p:sp>
      <p:sp>
        <p:nvSpPr>
          <p:cNvPr id="49" name="ZoneTexte 48">
            <a:extLst>
              <a:ext uri="{FF2B5EF4-FFF2-40B4-BE49-F238E27FC236}">
                <a16:creationId xmlns:a16="http://schemas.microsoft.com/office/drawing/2014/main" id="{F8CA055B-012C-875D-5DC1-3DECCB9826F6}"/>
              </a:ext>
            </a:extLst>
          </p:cNvPr>
          <p:cNvSpPr txBox="1"/>
          <p:nvPr/>
        </p:nvSpPr>
        <p:spPr>
          <a:xfrm>
            <a:off x="4884825" y="2212758"/>
            <a:ext cx="3830769" cy="523220"/>
          </a:xfrm>
          <a:prstGeom prst="rect">
            <a:avLst/>
          </a:prstGeom>
          <a:noFill/>
        </p:spPr>
        <p:txBody>
          <a:bodyPr wrap="square" rtlCol="0">
            <a:spAutoFit/>
          </a:bodyPr>
          <a:lstStyle/>
          <a:p>
            <a:pPr algn="ctr"/>
            <a:r>
              <a:rPr lang="en-US" sz="1400">
                <a:latin typeface="+mn-lt"/>
              </a:rPr>
              <a:t>Discover </a:t>
            </a:r>
            <a:r>
              <a:rPr lang="en-US" sz="1400" b="1">
                <a:latin typeface="+mn-lt"/>
              </a:rPr>
              <a:t>Data Products </a:t>
            </a:r>
            <a:r>
              <a:rPr lang="en-US" sz="1400">
                <a:latin typeface="+mn-lt"/>
              </a:rPr>
              <a:t>for their analytical activities and use them in a </a:t>
            </a:r>
            <a:r>
              <a:rPr lang="en-US" sz="1400" b="1">
                <a:latin typeface="+mn-lt"/>
              </a:rPr>
              <a:t>performant and compliant way</a:t>
            </a:r>
            <a:r>
              <a:rPr lang="en-US" sz="1400">
                <a:latin typeface="+mn-lt"/>
              </a:rPr>
              <a:t>. </a:t>
            </a:r>
          </a:p>
        </p:txBody>
      </p:sp>
      <p:grpSp>
        <p:nvGrpSpPr>
          <p:cNvPr id="50" name="Groupe 49">
            <a:extLst>
              <a:ext uri="{FF2B5EF4-FFF2-40B4-BE49-F238E27FC236}">
                <a16:creationId xmlns:a16="http://schemas.microsoft.com/office/drawing/2014/main" id="{AF0C98DB-2D9A-66BC-37C4-6A580175CDCA}"/>
              </a:ext>
            </a:extLst>
          </p:cNvPr>
          <p:cNvGrpSpPr/>
          <p:nvPr/>
        </p:nvGrpSpPr>
        <p:grpSpPr>
          <a:xfrm>
            <a:off x="3212982" y="1897446"/>
            <a:ext cx="2404719" cy="1134922"/>
            <a:chOff x="2567797" y="2129921"/>
            <a:chExt cx="2404719" cy="1134922"/>
          </a:xfrm>
        </p:grpSpPr>
        <p:sp>
          <p:nvSpPr>
            <p:cNvPr id="51" name="Ellipse 50">
              <a:extLst>
                <a:ext uri="{FF2B5EF4-FFF2-40B4-BE49-F238E27FC236}">
                  <a16:creationId xmlns:a16="http://schemas.microsoft.com/office/drawing/2014/main" id="{4CB64A6A-84D4-D798-8A0B-D71B9A623A16}"/>
                </a:ext>
              </a:extLst>
            </p:cNvPr>
            <p:cNvSpPr/>
            <p:nvPr/>
          </p:nvSpPr>
          <p:spPr>
            <a:xfrm>
              <a:off x="3212157" y="2148843"/>
              <a:ext cx="1116000" cy="1116000"/>
            </a:xfrm>
            <a:prstGeom prst="diamond">
              <a:avLst/>
            </a:prstGeom>
            <a:solidFill>
              <a:srgbClr val="86D5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ZoneTexte 51">
              <a:extLst>
                <a:ext uri="{FF2B5EF4-FFF2-40B4-BE49-F238E27FC236}">
                  <a16:creationId xmlns:a16="http://schemas.microsoft.com/office/drawing/2014/main" id="{926135CB-39EA-F4B4-0BF1-F5D04B2361A5}"/>
                </a:ext>
              </a:extLst>
            </p:cNvPr>
            <p:cNvSpPr txBox="1"/>
            <p:nvPr/>
          </p:nvSpPr>
          <p:spPr>
            <a:xfrm>
              <a:off x="2567797" y="2129921"/>
              <a:ext cx="2404719" cy="1039356"/>
            </a:xfrm>
            <a:prstGeom prst="diamond">
              <a:avLst/>
            </a:prstGeom>
            <a:noFill/>
          </p:spPr>
          <p:txBody>
            <a:bodyPr wrap="square" rtlCol="0">
              <a:spAutoFit/>
            </a:bodyPr>
            <a:lstStyle/>
            <a:p>
              <a:pPr algn="ctr">
                <a:spcBef>
                  <a:spcPts val="600"/>
                </a:spcBef>
              </a:pPr>
              <a:r>
                <a:rPr lang="en-US" sz="1400" b="1">
                  <a:latin typeface="+mn-lt"/>
                </a:rPr>
                <a:t>DATA CONSUMERS</a:t>
              </a:r>
              <a:endParaRPr lang="en-US" sz="1400">
                <a:latin typeface="+mn-lt"/>
              </a:endParaRPr>
            </a:p>
          </p:txBody>
        </p:sp>
      </p:grpSp>
      <p:grpSp>
        <p:nvGrpSpPr>
          <p:cNvPr id="4" name="Groupe 3">
            <a:extLst>
              <a:ext uri="{FF2B5EF4-FFF2-40B4-BE49-F238E27FC236}">
                <a16:creationId xmlns:a16="http://schemas.microsoft.com/office/drawing/2014/main" id="{C7EC6D8F-6AC8-FB21-0B45-D3DFCC6E1CA9}"/>
              </a:ext>
            </a:extLst>
          </p:cNvPr>
          <p:cNvGrpSpPr/>
          <p:nvPr/>
        </p:nvGrpSpPr>
        <p:grpSpPr>
          <a:xfrm>
            <a:off x="679770" y="5256019"/>
            <a:ext cx="11050156" cy="312682"/>
            <a:chOff x="674870" y="5713670"/>
            <a:chExt cx="11050156" cy="312682"/>
          </a:xfrm>
        </p:grpSpPr>
        <p:grpSp>
          <p:nvGrpSpPr>
            <p:cNvPr id="6" name="Groupe 5">
              <a:extLst>
                <a:ext uri="{FF2B5EF4-FFF2-40B4-BE49-F238E27FC236}">
                  <a16:creationId xmlns:a16="http://schemas.microsoft.com/office/drawing/2014/main" id="{866EC085-C6BC-6190-F142-6039D2DF72AB}"/>
                </a:ext>
              </a:extLst>
            </p:cNvPr>
            <p:cNvGrpSpPr/>
            <p:nvPr/>
          </p:nvGrpSpPr>
          <p:grpSpPr>
            <a:xfrm>
              <a:off x="674870" y="5713670"/>
              <a:ext cx="11041707" cy="307777"/>
              <a:chOff x="674870" y="5688353"/>
              <a:chExt cx="11041707" cy="307777"/>
            </a:xfrm>
          </p:grpSpPr>
          <p:sp>
            <p:nvSpPr>
              <p:cNvPr id="57" name="Triangle rectangle 56">
                <a:extLst>
                  <a:ext uri="{FF2B5EF4-FFF2-40B4-BE49-F238E27FC236}">
                    <a16:creationId xmlns:a16="http://schemas.microsoft.com/office/drawing/2014/main" id="{954C7D24-8734-5071-5C77-2A69688A4955}"/>
                  </a:ext>
                </a:extLst>
              </p:cNvPr>
              <p:cNvSpPr/>
              <p:nvPr/>
            </p:nvSpPr>
            <p:spPr>
              <a:xfrm>
                <a:off x="674870" y="5688353"/>
                <a:ext cx="11041707" cy="307777"/>
              </a:xfrm>
              <a:prstGeom prst="rtTriangle">
                <a:avLst/>
              </a:prstGeom>
              <a:solidFill>
                <a:srgbClr val="86D5A6">
                  <a:alpha val="52157"/>
                </a:srgbClr>
              </a:solidFill>
              <a:ln w="6350">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a:p>
            </p:txBody>
          </p:sp>
          <p:sp>
            <p:nvSpPr>
              <p:cNvPr id="58" name="ZoneTexte 57">
                <a:extLst>
                  <a:ext uri="{FF2B5EF4-FFF2-40B4-BE49-F238E27FC236}">
                    <a16:creationId xmlns:a16="http://schemas.microsoft.com/office/drawing/2014/main" id="{63B8550F-097C-8871-71D0-0455C0A5FA36}"/>
                  </a:ext>
                </a:extLst>
              </p:cNvPr>
              <p:cNvSpPr txBox="1"/>
              <p:nvPr/>
            </p:nvSpPr>
            <p:spPr>
              <a:xfrm>
                <a:off x="674870" y="5698168"/>
                <a:ext cx="1195447" cy="288147"/>
              </a:xfrm>
              <a:prstGeom prst="rect">
                <a:avLst/>
              </a:prstGeom>
              <a:noFill/>
            </p:spPr>
            <p:txBody>
              <a:bodyPr wrap="square" lIns="36000" tIns="36000" rIns="36000" bIns="36000" rtlCol="0">
                <a:spAutoFit/>
              </a:bodyPr>
              <a:lstStyle/>
              <a:p>
                <a:pPr>
                  <a:spcBef>
                    <a:spcPts val="600"/>
                  </a:spcBef>
                </a:pPr>
                <a:r>
                  <a:rPr lang="en-US" sz="1400" b="1">
                    <a:solidFill>
                      <a:schemeClr val="bg1"/>
                    </a:solidFill>
                    <a:latin typeface="+mn-lt"/>
                  </a:rPr>
                  <a:t>Business skills</a:t>
                </a:r>
              </a:p>
            </p:txBody>
          </p:sp>
        </p:grpSp>
        <p:grpSp>
          <p:nvGrpSpPr>
            <p:cNvPr id="53" name="Groupe 52">
              <a:extLst>
                <a:ext uri="{FF2B5EF4-FFF2-40B4-BE49-F238E27FC236}">
                  <a16:creationId xmlns:a16="http://schemas.microsoft.com/office/drawing/2014/main" id="{F28BEDC0-E848-24D5-7AB6-9B0A87229658}"/>
                </a:ext>
              </a:extLst>
            </p:cNvPr>
            <p:cNvGrpSpPr/>
            <p:nvPr/>
          </p:nvGrpSpPr>
          <p:grpSpPr>
            <a:xfrm>
              <a:off x="683319" y="5718575"/>
              <a:ext cx="11041707" cy="307777"/>
              <a:chOff x="683319" y="5718575"/>
              <a:chExt cx="11041707" cy="307777"/>
            </a:xfrm>
          </p:grpSpPr>
          <p:sp>
            <p:nvSpPr>
              <p:cNvPr id="55" name="Triangle rectangle 54">
                <a:extLst>
                  <a:ext uri="{FF2B5EF4-FFF2-40B4-BE49-F238E27FC236}">
                    <a16:creationId xmlns:a16="http://schemas.microsoft.com/office/drawing/2014/main" id="{D3C0A430-363B-22B0-3E5A-FA83A4200E3E}"/>
                  </a:ext>
                </a:extLst>
              </p:cNvPr>
              <p:cNvSpPr/>
              <p:nvPr/>
            </p:nvSpPr>
            <p:spPr>
              <a:xfrm flipH="1">
                <a:off x="683319" y="5718575"/>
                <a:ext cx="11041707" cy="307777"/>
              </a:xfrm>
              <a:prstGeom prst="rtTriangle">
                <a:avLst/>
              </a:prstGeom>
              <a:solidFill>
                <a:srgbClr val="86D5A6">
                  <a:alpha val="70980"/>
                </a:srgbClr>
              </a:solidFill>
              <a:ln w="63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p>
            </p:txBody>
          </p:sp>
          <p:sp>
            <p:nvSpPr>
              <p:cNvPr id="56" name="ZoneTexte 55">
                <a:extLst>
                  <a:ext uri="{FF2B5EF4-FFF2-40B4-BE49-F238E27FC236}">
                    <a16:creationId xmlns:a16="http://schemas.microsoft.com/office/drawing/2014/main" id="{D17053B9-7DD4-8783-F09F-CCA815D5C7B6}"/>
                  </a:ext>
                </a:extLst>
              </p:cNvPr>
              <p:cNvSpPr txBox="1"/>
              <p:nvPr/>
            </p:nvSpPr>
            <p:spPr>
              <a:xfrm>
                <a:off x="10529579" y="5728390"/>
                <a:ext cx="1195447" cy="288147"/>
              </a:xfrm>
              <a:prstGeom prst="rect">
                <a:avLst/>
              </a:prstGeom>
              <a:noFill/>
            </p:spPr>
            <p:txBody>
              <a:bodyPr wrap="square" lIns="36000" tIns="36000" rIns="36000" bIns="36000" rtlCol="0">
                <a:spAutoFit/>
              </a:bodyPr>
              <a:lstStyle/>
              <a:p>
                <a:pPr algn="r">
                  <a:spcBef>
                    <a:spcPts val="600"/>
                  </a:spcBef>
                </a:pPr>
                <a:r>
                  <a:rPr lang="en-US" sz="1400" b="1">
                    <a:solidFill>
                      <a:schemeClr val="bg1"/>
                    </a:solidFill>
                    <a:latin typeface="+mn-lt"/>
                  </a:rPr>
                  <a:t>IT skills</a:t>
                </a:r>
              </a:p>
            </p:txBody>
          </p:sp>
        </p:grpSp>
      </p:grpSp>
      <p:sp>
        <p:nvSpPr>
          <p:cNvPr id="59" name="Rectangle : coins arrondis 58">
            <a:extLst>
              <a:ext uri="{FF2B5EF4-FFF2-40B4-BE49-F238E27FC236}">
                <a16:creationId xmlns:a16="http://schemas.microsoft.com/office/drawing/2014/main" id="{092AA5DF-59D8-7FDE-AFDE-7E029F38EEBE}"/>
              </a:ext>
            </a:extLst>
          </p:cNvPr>
          <p:cNvSpPr/>
          <p:nvPr/>
        </p:nvSpPr>
        <p:spPr>
          <a:xfrm>
            <a:off x="679770" y="5595463"/>
            <a:ext cx="4327911" cy="180000"/>
          </a:xfrm>
          <a:prstGeom prst="roundRect">
            <a:avLst/>
          </a:prstGeom>
          <a:solidFill>
            <a:srgbClr val="23A366">
              <a:alpha val="76000"/>
            </a:srgbClr>
          </a:solidFill>
          <a:ln w="31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400">
                <a:solidFill>
                  <a:schemeClr val="bg1"/>
                </a:solidFill>
              </a:rPr>
              <a:t>EXCEL - AFO</a:t>
            </a:r>
          </a:p>
        </p:txBody>
      </p:sp>
      <p:sp>
        <p:nvSpPr>
          <p:cNvPr id="60" name="Rectangle : coins arrondis 59">
            <a:extLst>
              <a:ext uri="{FF2B5EF4-FFF2-40B4-BE49-F238E27FC236}">
                <a16:creationId xmlns:a16="http://schemas.microsoft.com/office/drawing/2014/main" id="{3D73D8AA-1E7C-CE3C-B914-B9F77BF1932B}"/>
              </a:ext>
            </a:extLst>
          </p:cNvPr>
          <p:cNvSpPr/>
          <p:nvPr/>
        </p:nvSpPr>
        <p:spPr>
          <a:xfrm>
            <a:off x="2410464" y="5794385"/>
            <a:ext cx="6034974" cy="180000"/>
          </a:xfrm>
          <a:prstGeom prst="roundRect">
            <a:avLst/>
          </a:prstGeom>
          <a:solidFill>
            <a:srgbClr val="F1C93B"/>
          </a:solidFill>
          <a:ln w="31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400">
                <a:solidFill>
                  <a:schemeClr val="bg1"/>
                </a:solidFill>
              </a:rPr>
              <a:t>POWER BI, SAP, SAP Analytic Cloud, …</a:t>
            </a:r>
          </a:p>
        </p:txBody>
      </p:sp>
      <p:sp>
        <p:nvSpPr>
          <p:cNvPr id="63" name="Rectangle : coins arrondis 62">
            <a:extLst>
              <a:ext uri="{FF2B5EF4-FFF2-40B4-BE49-F238E27FC236}">
                <a16:creationId xmlns:a16="http://schemas.microsoft.com/office/drawing/2014/main" id="{58E0FF16-C287-FD32-964A-7DF40DA85B89}"/>
              </a:ext>
            </a:extLst>
          </p:cNvPr>
          <p:cNvSpPr/>
          <p:nvPr/>
        </p:nvSpPr>
        <p:spPr>
          <a:xfrm>
            <a:off x="5501640" y="5992048"/>
            <a:ext cx="6230481" cy="180000"/>
          </a:xfrm>
          <a:prstGeom prst="roundRect">
            <a:avLst/>
          </a:prstGeom>
          <a:solidFill>
            <a:schemeClr val="accent1">
              <a:lumMod val="60000"/>
              <a:lumOff val="40000"/>
              <a:alpha val="76000"/>
            </a:schemeClr>
          </a:solidFill>
          <a:ln w="31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400">
                <a:solidFill>
                  <a:schemeClr val="bg1"/>
                </a:solidFill>
              </a:rPr>
              <a:t>CODE (Python, C#, ABAP, SPARK, … ), Database </a:t>
            </a:r>
            <a:r>
              <a:rPr lang="en-US" sz="1400" err="1">
                <a:solidFill>
                  <a:schemeClr val="bg1"/>
                </a:solidFill>
              </a:rPr>
              <a:t>langage</a:t>
            </a:r>
            <a:r>
              <a:rPr lang="en-US" sz="1400">
                <a:solidFill>
                  <a:schemeClr val="bg1"/>
                </a:solidFill>
              </a:rPr>
              <a:t> (SQL, SAP Hana, …)</a:t>
            </a:r>
          </a:p>
        </p:txBody>
      </p:sp>
      <p:sp>
        <p:nvSpPr>
          <p:cNvPr id="54" name="ZoneTexte 53">
            <a:extLst>
              <a:ext uri="{FF2B5EF4-FFF2-40B4-BE49-F238E27FC236}">
                <a16:creationId xmlns:a16="http://schemas.microsoft.com/office/drawing/2014/main" id="{A5D99312-D280-3AB6-5C4A-CAD44BE069F2}"/>
              </a:ext>
            </a:extLst>
          </p:cNvPr>
          <p:cNvSpPr txBox="1"/>
          <p:nvPr/>
        </p:nvSpPr>
        <p:spPr>
          <a:xfrm>
            <a:off x="2455735" y="3191866"/>
            <a:ext cx="1005403" cy="215444"/>
          </a:xfrm>
          <a:prstGeom prst="rect">
            <a:avLst/>
          </a:prstGeom>
          <a:noFill/>
        </p:spPr>
        <p:txBody>
          <a:bodyPr wrap="none" rtlCol="0">
            <a:spAutoFit/>
          </a:bodyPr>
          <a:lstStyle/>
          <a:p>
            <a:r>
              <a:rPr lang="en-US" sz="800">
                <a:solidFill>
                  <a:schemeClr val="bg1">
                    <a:lumMod val="50000"/>
                  </a:schemeClr>
                </a:solidFill>
                <a:latin typeface="+mn-lt"/>
              </a:rPr>
              <a:t>Main data consumer</a:t>
            </a:r>
          </a:p>
        </p:txBody>
      </p:sp>
    </p:spTree>
    <p:extLst>
      <p:ext uri="{BB962C8B-B14F-4D97-AF65-F5344CB8AC3E}">
        <p14:creationId xmlns:p14="http://schemas.microsoft.com/office/powerpoint/2010/main" val="977439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4DD7DE05_10BF_4E76_9015_96C5AB1047EA&quot;,&quot;SourceFullName&quot;:&quot;&quot;,&quot;LastUpdate&quot;:&quot;2024-01-10 11:04 AM&quot;,&quot;UpdatedBy&quot;:&quot;alexis.coignet&quot;,&quot;IsLinked&quot;:false,&quot;IsBrokenLink&quot;:false,&quot;Type&quot;:2}"/>
</p:tagLst>
</file>

<file path=ppt/tags/tag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4E3C40D9_5440_4284_9B02_AE4F80351583&quot;,&quot;SourceFullName&quot;:&quot;&quot;,&quot;LastUpdate&quot;:&quot;2024-01-10 10:56 AM&quot;,&quot;UpdatedBy&quot;:&quot;alexis.coignet&quot;,&quot;IsLinked&quot;:false,&quot;IsBrokenLink&quot;:false,&quot;Type&quot;:2}"/>
</p:tagLst>
</file>

<file path=ppt/theme/theme1.xml><?xml version="1.0" encoding="utf-8"?>
<a:theme xmlns:a="http://schemas.openxmlformats.org/drawingml/2006/main" name="Thème Vinci Conctruction">
  <a:themeElements>
    <a:clrScheme name="Eurovia+">
      <a:dk1>
        <a:srgbClr val="3F3F3F"/>
      </a:dk1>
      <a:lt1>
        <a:sysClr val="window" lastClr="FFFFFF"/>
      </a:lt1>
      <a:dk2>
        <a:srgbClr val="4DABE1"/>
      </a:dk2>
      <a:lt2>
        <a:srgbClr val="7F7F7F"/>
      </a:lt2>
      <a:accent1>
        <a:srgbClr val="004489"/>
      </a:accent1>
      <a:accent2>
        <a:srgbClr val="4DABE1"/>
      </a:accent2>
      <a:accent3>
        <a:srgbClr val="E20025"/>
      </a:accent3>
      <a:accent4>
        <a:srgbClr val="00B0AD"/>
      </a:accent4>
      <a:accent5>
        <a:srgbClr val="D0CECE"/>
      </a:accent5>
      <a:accent6>
        <a:srgbClr val="E0DCD3"/>
      </a:accent6>
      <a:hlink>
        <a:srgbClr val="0563C1"/>
      </a:hlink>
      <a:folHlink>
        <a:srgbClr val="954F72"/>
      </a:folHlink>
    </a:clrScheme>
    <a:fontScheme name="Vinci Sans">
      <a:majorFont>
        <a:latin typeface="Vinci Sans"/>
        <a:ea typeface=""/>
        <a:cs typeface=""/>
      </a:majorFont>
      <a:minorFont>
        <a:latin typeface="Vinci Sans Light"/>
        <a:ea typeface=""/>
        <a:cs typeface=""/>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6350">
          <a:solidFill>
            <a:schemeClr val="accent6"/>
          </a:solidFill>
        </a:ln>
        <a:effectLst>
          <a:outerShdw blurRad="63500" algn="ctr" rotWithShape="0">
            <a:prstClr val="black">
              <a:alpha val="40000"/>
            </a:prstClr>
          </a:outerShdw>
        </a:effectLst>
      </a:spPr>
      <a:bodyPr/>
      <a:lstStyle>
        <a:defPPr algn="l">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Thème Vinci Conctruction" id="{73FFE1A7-3B83-4D04-9E98-236EA2379C24}" vid="{B0B59442-E6B5-4489-96AD-B64897BE7B19}"/>
    </a:ext>
  </a:extLst>
</a:theme>
</file>

<file path=ppt/theme/theme2.xml><?xml version="1.0" encoding="utf-8"?>
<a:theme xmlns:a="http://schemas.openxmlformats.org/drawingml/2006/main" name="1_Thème Vinci Conctruction">
  <a:themeElements>
    <a:clrScheme name="Eurovia+">
      <a:dk1>
        <a:srgbClr val="3F3F3F"/>
      </a:dk1>
      <a:lt1>
        <a:sysClr val="window" lastClr="FFFFFF"/>
      </a:lt1>
      <a:dk2>
        <a:srgbClr val="4DABE1"/>
      </a:dk2>
      <a:lt2>
        <a:srgbClr val="7F7F7F"/>
      </a:lt2>
      <a:accent1>
        <a:srgbClr val="004489"/>
      </a:accent1>
      <a:accent2>
        <a:srgbClr val="4DABE1"/>
      </a:accent2>
      <a:accent3>
        <a:srgbClr val="E20025"/>
      </a:accent3>
      <a:accent4>
        <a:srgbClr val="00B0AD"/>
      </a:accent4>
      <a:accent5>
        <a:srgbClr val="D0CECE"/>
      </a:accent5>
      <a:accent6>
        <a:srgbClr val="E0DCD3"/>
      </a:accent6>
      <a:hlink>
        <a:srgbClr val="0563C1"/>
      </a:hlink>
      <a:folHlink>
        <a:srgbClr val="954F72"/>
      </a:folHlink>
    </a:clrScheme>
    <a:fontScheme name="Vinci Sans">
      <a:majorFont>
        <a:latin typeface="Vinci Sans"/>
        <a:ea typeface=""/>
        <a:cs typeface=""/>
      </a:majorFont>
      <a:minorFont>
        <a:latin typeface="Vinci Sans Light"/>
        <a:ea typeface=""/>
        <a:cs typeface=""/>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6350">
          <a:solidFill>
            <a:schemeClr val="accent6"/>
          </a:solidFill>
        </a:ln>
        <a:effectLst>
          <a:outerShdw blurRad="63500" algn="ctr" rotWithShape="0">
            <a:prstClr val="black">
              <a:alpha val="40000"/>
            </a:prstClr>
          </a:outerShdw>
        </a:effectLst>
      </a:spPr>
      <a:bodyPr/>
      <a:lstStyle>
        <a:defPPr algn="l">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Thème Vinci Conctruction" id="{73FFE1A7-3B83-4D04-9E98-236EA2379C24}" vid="{B0B59442-E6B5-4489-96AD-B64897BE7B19}"/>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B10BC6554ED7643ABD7AE498DAE2AA7" ma:contentTypeVersion="16" ma:contentTypeDescription="Crée un document." ma:contentTypeScope="" ma:versionID="8d7543a4a78279ac8e9db301025d607d">
  <xsd:schema xmlns:xsd="http://www.w3.org/2001/XMLSchema" xmlns:xs="http://www.w3.org/2001/XMLSchema" xmlns:p="http://schemas.microsoft.com/office/2006/metadata/properties" xmlns:ns2="3267a3d6-9629-4081-b787-7708d4a59c6d" xmlns:ns3="4899c0a2-ebd7-489f-b8ca-ff3c4c8ce20a" targetNamespace="http://schemas.microsoft.com/office/2006/metadata/properties" ma:root="true" ma:fieldsID="4c2f38ad8bd985f9b2353778f2fde4d1" ns2:_="" ns3:_="">
    <xsd:import namespace="3267a3d6-9629-4081-b787-7708d4a59c6d"/>
    <xsd:import namespace="4899c0a2-ebd7-489f-b8ca-ff3c4c8ce20a"/>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LengthInSeconds" minOccurs="0"/>
                <xsd:element ref="ns2:_Flow_SignoffStatus" minOccurs="0"/>
                <xsd:element ref="ns2:MediaServiceObjectDetectorVersions" minOccurs="0"/>
                <xsd:element ref="ns2:MediaServiceSearchProperties" minOccurs="0"/>
                <xsd:element ref="ns2:Com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267a3d6-9629-4081-b787-7708d4a59c6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Balises d’images" ma:readOnly="false" ma:fieldId="{5cf76f15-5ced-4ddc-b409-7134ff3c332f}" ma:taxonomyMulti="true" ma:sspId="635b3bba-2198-47c6-9ccb-53d97700fa87"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_Flow_SignoffStatus" ma:index="20" nillable="true" ma:displayName="État de validation" ma:internalName="_x00c9_tat_x0020_de_x0020_validation">
      <xsd:simpleType>
        <xsd:restriction base="dms:Text"/>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Comment" ma:index="23" nillable="true" ma:displayName="Commentaire" ma:format="Dropdown" ma:internalName="Comment">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899c0a2-ebd7-489f-b8ca-ff3c4c8ce20a"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2f5141b0-6e96-4338-96a6-d63b29001144}" ma:internalName="TaxCatchAll" ma:showField="CatchAllData" ma:web="4899c0a2-ebd7-489f-b8ca-ff3c4c8ce20a">
      <xsd:complexType>
        <xsd:complexContent>
          <xsd:extension base="dms:MultiChoiceLookup">
            <xsd:sequence>
              <xsd:element name="Value" type="dms:Lookup" maxOccurs="unbounded" minOccurs="0" nillable="true"/>
            </xsd:sequence>
          </xsd:extension>
        </xsd:complexContent>
      </xsd:complexType>
    </xsd:element>
    <xsd:element name="SharedWithUsers" ma:index="16"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4899c0a2-ebd7-489f-b8ca-ff3c4c8ce20a" xsi:nil="true"/>
    <lcf76f155ced4ddcb4097134ff3c332f xmlns="3267a3d6-9629-4081-b787-7708d4a59c6d">
      <Terms xmlns="http://schemas.microsoft.com/office/infopath/2007/PartnerControls"/>
    </lcf76f155ced4ddcb4097134ff3c332f>
    <SharedWithUsers xmlns="4899c0a2-ebd7-489f-b8ca-ff3c4c8ce20a">
      <UserInfo>
        <DisplayName>TOURET Remy</DisplayName>
        <AccountId>50</AccountId>
        <AccountType/>
      </UserInfo>
      <UserInfo>
        <DisplayName>SORET Sandra</DisplayName>
        <AccountId>42</AccountId>
        <AccountType/>
      </UserInfo>
      <UserInfo>
        <DisplayName>VERMONT Olivier</DisplayName>
        <AccountId>16</AccountId>
        <AccountType/>
      </UserInfo>
      <UserInfo>
        <DisplayName>VANEENOGE Camille</DisplayName>
        <AccountId>9</AccountId>
        <AccountType/>
      </UserInfo>
      <UserInfo>
        <DisplayName>COIGNET Alexis</DisplayName>
        <AccountId>60</AccountId>
        <AccountType/>
      </UserInfo>
      <UserInfo>
        <DisplayName>BRET Pierre</DisplayName>
        <AccountId>53</AccountId>
        <AccountType/>
      </UserInfo>
      <UserInfo>
        <DisplayName>Stéphanie Chatagner</DisplayName>
        <AccountId>31</AccountId>
        <AccountType/>
      </UserInfo>
    </SharedWithUsers>
    <_Flow_SignoffStatus xmlns="3267a3d6-9629-4081-b787-7708d4a59c6d" xsi:nil="true"/>
    <Comment xmlns="3267a3d6-9629-4081-b787-7708d4a59c6d" xsi:nil="true"/>
  </documentManagement>
</p:properties>
</file>

<file path=customXml/itemProps1.xml><?xml version="1.0" encoding="utf-8"?>
<ds:datastoreItem xmlns:ds="http://schemas.openxmlformats.org/officeDocument/2006/customXml" ds:itemID="{0FCBA2ED-6199-4BBE-8786-A7693DD5687D}">
  <ds:schemaRefs>
    <ds:schemaRef ds:uri="http://schemas.microsoft.com/sharepoint/v3/contenttype/forms"/>
  </ds:schemaRefs>
</ds:datastoreItem>
</file>

<file path=customXml/itemProps2.xml><?xml version="1.0" encoding="utf-8"?>
<ds:datastoreItem xmlns:ds="http://schemas.openxmlformats.org/officeDocument/2006/customXml" ds:itemID="{BD83058E-3854-4F79-8F94-394ABDBAB74D}">
  <ds:schemaRefs>
    <ds:schemaRef ds:uri="3267a3d6-9629-4081-b787-7708d4a59c6d"/>
    <ds:schemaRef ds:uri="4899c0a2-ebd7-489f-b8ca-ff3c4c8ce20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735D292-59B2-4C83-A373-CA57A2CB6A4A}">
  <ds:schemaRefs>
    <ds:schemaRef ds:uri="3267a3d6-9629-4081-b787-7708d4a59c6d"/>
    <ds:schemaRef ds:uri="4899c0a2-ebd7-489f-b8ca-ff3c4c8ce20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0</TotalTime>
  <Words>3854</Words>
  <Application>Microsoft Office PowerPoint</Application>
  <PresentationFormat>Grand écran</PresentationFormat>
  <Paragraphs>888</Paragraphs>
  <Slides>37</Slides>
  <Notes>27</Notes>
  <HiddenSlides>0</HiddenSlides>
  <MMClips>0</MMClips>
  <ScaleCrop>false</ScaleCrop>
  <HeadingPairs>
    <vt:vector size="6" baseType="variant">
      <vt:variant>
        <vt:lpstr>Polices utilisées</vt:lpstr>
      </vt:variant>
      <vt:variant>
        <vt:i4>13</vt:i4>
      </vt:variant>
      <vt:variant>
        <vt:lpstr>Thème</vt:lpstr>
      </vt:variant>
      <vt:variant>
        <vt:i4>2</vt:i4>
      </vt:variant>
      <vt:variant>
        <vt:lpstr>Titres des diapositives</vt:lpstr>
      </vt:variant>
      <vt:variant>
        <vt:i4>37</vt:i4>
      </vt:variant>
    </vt:vector>
  </HeadingPairs>
  <TitlesOfParts>
    <vt:vector size="52" baseType="lpstr">
      <vt:lpstr>Arial</vt:lpstr>
      <vt:lpstr>Calibri</vt:lpstr>
      <vt:lpstr>Graphik</vt:lpstr>
      <vt:lpstr>Lato Light</vt:lpstr>
      <vt:lpstr>Poppins</vt:lpstr>
      <vt:lpstr>Segoe UI</vt:lpstr>
      <vt:lpstr>Segoe UI Light</vt:lpstr>
      <vt:lpstr>Vinci Sans</vt:lpstr>
      <vt:lpstr>Vinci Sans Light</vt:lpstr>
      <vt:lpstr>Vinci Sans Medium</vt:lpstr>
      <vt:lpstr>Wingdings</vt:lpstr>
      <vt:lpstr>Wingdings 2</vt:lpstr>
      <vt:lpstr>Wingdings 3</vt:lpstr>
      <vt:lpstr>Thème Vinci Conctruction</vt:lpstr>
      <vt:lpstr>1_Thème Vinci Conctruction</vt:lpstr>
      <vt:lpstr>Data Governance Principles</vt:lpstr>
      <vt:lpstr>Versionning follow-up</vt:lpstr>
      <vt:lpstr>Summary</vt:lpstr>
      <vt:lpstr>INTRODUCTION</vt:lpstr>
      <vt:lpstr>The Data Program provides access to data to business</vt:lpstr>
      <vt:lpstr>2. The Data Program enables to customize by entity based on trustworthy source</vt:lpstr>
      <vt:lpstr>People</vt:lpstr>
      <vt:lpstr>People overview</vt:lpstr>
      <vt:lpstr>Data consumers overview</vt:lpstr>
      <vt:lpstr>Data producers overview</vt:lpstr>
      <vt:lpstr>Central teams overview</vt:lpstr>
      <vt:lpstr>Roles - Recap</vt:lpstr>
      <vt:lpstr>Data Program activities</vt:lpstr>
      <vt:lpstr>Présentation PowerPoint</vt:lpstr>
      <vt:lpstr>Data Factories across VINCI Construction</vt:lpstr>
      <vt:lpstr>Data office and data factories/producers interactions</vt:lpstr>
      <vt:lpstr>Example : Procurement diagnosis Use Case</vt:lpstr>
      <vt:lpstr>Example : HS Board use case</vt:lpstr>
      <vt:lpstr>TOOLS</vt:lpstr>
      <vt:lpstr>Tools overview</vt:lpstr>
      <vt:lpstr>Présentation PowerPoint</vt:lpstr>
      <vt:lpstr>SCENARIOS &amp; PROCESSES</vt:lpstr>
      <vt:lpstr>Data consumption scenarios</vt:lpstr>
      <vt:lpstr>Data consumption scenarios</vt:lpstr>
      <vt:lpstr>Processes</vt:lpstr>
      <vt:lpstr>Use the data Marketplace</vt:lpstr>
      <vt:lpstr>Onboard data producers</vt:lpstr>
      <vt:lpstr>Scan Data Sources / Schedule Jobs</vt:lpstr>
      <vt:lpstr>Document Metadata in Data Catalog</vt:lpstr>
      <vt:lpstr>Create Data Product in the Data Marketplace</vt:lpstr>
      <vt:lpstr>Request a dataproduct variation in data marketplace</vt:lpstr>
      <vt:lpstr>Give Access to Data Product in Data Marketplace</vt:lpstr>
      <vt:lpstr>   The catalog of services proposed by the Data Office and the Data Platform teams enables domains to quickly increase the business value derived from enterprise data</vt:lpstr>
      <vt:lpstr>APPENDIX</vt:lpstr>
      <vt:lpstr>Glossary Data Marketplace</vt:lpstr>
      <vt:lpstr>Glossary Data Catalog</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 Limerville, Charles</dc:creator>
  <cp:lastModifiedBy>VANEENOGE Camille</cp:lastModifiedBy>
  <cp:revision>1</cp:revision>
  <dcterms:created xsi:type="dcterms:W3CDTF">2022-08-31T06:49:39Z</dcterms:created>
  <dcterms:modified xsi:type="dcterms:W3CDTF">2025-01-31T18:37: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B10BC6554ED7643ABD7AE498DAE2AA7</vt:lpwstr>
  </property>
  <property fmtid="{D5CDD505-2E9C-101B-9397-08002B2CF9AE}" pid="3" name="MediaServiceImageTags">
    <vt:lpwstr/>
  </property>
  <property fmtid="{D5CDD505-2E9C-101B-9397-08002B2CF9AE}" pid="4" name="MSIP_Label_e22aa37b-9a11-4c0a-82bc-9e3b9da89a8d_Enabled">
    <vt:lpwstr>true</vt:lpwstr>
  </property>
  <property fmtid="{D5CDD505-2E9C-101B-9397-08002B2CF9AE}" pid="5" name="MSIP_Label_e22aa37b-9a11-4c0a-82bc-9e3b9da89a8d_SetDate">
    <vt:lpwstr>2024-09-03T09:56:28Z</vt:lpwstr>
  </property>
  <property fmtid="{D5CDD505-2E9C-101B-9397-08002B2CF9AE}" pid="6" name="MSIP_Label_e22aa37b-9a11-4c0a-82bc-9e3b9da89a8d_Method">
    <vt:lpwstr>Privileged</vt:lpwstr>
  </property>
  <property fmtid="{D5CDD505-2E9C-101B-9397-08002B2CF9AE}" pid="7" name="MSIP_Label_e22aa37b-9a11-4c0a-82bc-9e3b9da89a8d_Name">
    <vt:lpwstr>C1 - Internal use</vt:lpwstr>
  </property>
  <property fmtid="{D5CDD505-2E9C-101B-9397-08002B2CF9AE}" pid="8" name="MSIP_Label_e22aa37b-9a11-4c0a-82bc-9e3b9da89a8d_SiteId">
    <vt:lpwstr>98731832-40da-4546-9203-f68390800051</vt:lpwstr>
  </property>
  <property fmtid="{D5CDD505-2E9C-101B-9397-08002B2CF9AE}" pid="9" name="MSIP_Label_e22aa37b-9a11-4c0a-82bc-9e3b9da89a8d_ActionId">
    <vt:lpwstr>6fd6c173-14e6-424e-924c-dc35100d3419</vt:lpwstr>
  </property>
  <property fmtid="{D5CDD505-2E9C-101B-9397-08002B2CF9AE}" pid="10" name="MSIP_Label_e22aa37b-9a11-4c0a-82bc-9e3b9da89a8d_ContentBits">
    <vt:lpwstr>0</vt:lpwstr>
  </property>
</Properties>
</file>